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1.xml" ContentType="application/vnd.openxmlformats-officedocument.drawingml.chart+xml"/>
  <Override PartName="/ppt/notesSlides/notesSlide22.xml" ContentType="application/vnd.openxmlformats-officedocument.presentationml.notesSlide+xml"/>
  <Override PartName="/ppt/charts/chart12.xml" ContentType="application/vnd.openxmlformats-officedocument.drawingml.chart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.xml" ContentType="application/vnd.openxmlformats-officedocument.presentationml.tags+xml"/>
  <Override PartName="/ppt/notesSlides/notesSlide2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2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  <Override PartName="/ppt/charts/colors8.xml" ContentType="application/vnd.ms-office.chartcolorstyle+xml"/>
  <Override PartName="/ppt/charts/style8.xml" ContentType="application/vnd.ms-office.chartstyle+xml"/>
  <Override PartName="/ppt/charts/colors9.xml" ContentType="application/vnd.ms-office.chartcolorstyle+xml"/>
  <Override PartName="/ppt/charts/style9.xml" ContentType="application/vnd.ms-office.chartstyle+xml"/>
  <Override PartName="/ppt/charts/colors10.xml" ContentType="application/vnd.ms-office.chartcolorstyle+xml"/>
  <Override PartName="/ppt/charts/style10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4"/>
  </p:notesMasterIdLst>
  <p:sldIdLst>
    <p:sldId id="2147375958" r:id="rId3"/>
    <p:sldId id="2147376213" r:id="rId4"/>
    <p:sldId id="2147375959" r:id="rId5"/>
    <p:sldId id="2147375960" r:id="rId6"/>
    <p:sldId id="274" r:id="rId7"/>
    <p:sldId id="2147376005" r:id="rId8"/>
    <p:sldId id="2147376216" r:id="rId9"/>
    <p:sldId id="2147376217" r:id="rId10"/>
    <p:sldId id="2147375899" r:id="rId11"/>
    <p:sldId id="2147375890" r:id="rId12"/>
    <p:sldId id="2147375891" r:id="rId13"/>
    <p:sldId id="2147375892" r:id="rId14"/>
    <p:sldId id="7341" r:id="rId15"/>
    <p:sldId id="2147375875" r:id="rId16"/>
    <p:sldId id="2147375876" r:id="rId17"/>
    <p:sldId id="2147375878" r:id="rId18"/>
    <p:sldId id="2147375969" r:id="rId19"/>
    <p:sldId id="2147376214" r:id="rId20"/>
    <p:sldId id="2147376215" r:id="rId21"/>
    <p:sldId id="2147376177" r:id="rId22"/>
    <p:sldId id="2147376178" r:id="rId23"/>
    <p:sldId id="2147376179" r:id="rId24"/>
    <p:sldId id="2147376180" r:id="rId25"/>
    <p:sldId id="2147376181" r:id="rId26"/>
    <p:sldId id="2147376182" r:id="rId27"/>
    <p:sldId id="2147376183" r:id="rId28"/>
    <p:sldId id="2147376184" r:id="rId29"/>
    <p:sldId id="2147376185" r:id="rId30"/>
    <p:sldId id="2147376186" r:id="rId31"/>
    <p:sldId id="2147376187" r:id="rId32"/>
    <p:sldId id="2147376188" r:id="rId33"/>
    <p:sldId id="2147376189" r:id="rId34"/>
    <p:sldId id="2147376190" r:id="rId35"/>
    <p:sldId id="2147376191" r:id="rId36"/>
    <p:sldId id="2147376192" r:id="rId37"/>
    <p:sldId id="2147376193" r:id="rId38"/>
    <p:sldId id="2147376194" r:id="rId39"/>
    <p:sldId id="2147376195" r:id="rId40"/>
    <p:sldId id="2147376196" r:id="rId41"/>
    <p:sldId id="2147376197" r:id="rId42"/>
    <p:sldId id="2147376198" r:id="rId43"/>
    <p:sldId id="2147376199" r:id="rId44"/>
    <p:sldId id="2147376200" r:id="rId45"/>
    <p:sldId id="2147376201" r:id="rId46"/>
    <p:sldId id="2147376202" r:id="rId47"/>
    <p:sldId id="2147376203" r:id="rId48"/>
    <p:sldId id="2147376204" r:id="rId49"/>
    <p:sldId id="2147376209" r:id="rId50"/>
    <p:sldId id="2147376210" r:id="rId51"/>
    <p:sldId id="2147376211" r:id="rId52"/>
    <p:sldId id="2147376212" r:id="rId5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97A"/>
    <a:srgbClr val="766000"/>
    <a:srgbClr val="C8A200"/>
    <a:srgbClr val="FFF3C1"/>
    <a:srgbClr val="FFE36D"/>
    <a:srgbClr val="FFD72D"/>
    <a:srgbClr val="B08E00"/>
    <a:srgbClr val="233758"/>
    <a:srgbClr val="FFDE59"/>
    <a:srgbClr val="FFE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70" d="100"/>
          <a:sy n="70" d="100"/>
        </p:scale>
        <p:origin x="-508" y="1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Style" Target="style10.xml"/><Relationship Id="rId2" Type="http://schemas.microsoft.com/office/2011/relationships/chartColorStyle" Target="colors10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HP\AppData\Local\Microsoft\Windows\INetCache\IE\UQRUR0PG\data%20PKB%2020122023%5b1%5d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9.xml"/><Relationship Id="rId2" Type="http://schemas.microsoft.com/office/2011/relationships/chartColorStyle" Target="colors9.xml"/><Relationship Id="rId1" Type="http://schemas.openxmlformats.org/officeDocument/2006/relationships/oleObject" Target="https://puprtes.sharepoint.com/sites/SHAREDDRIVE-BIDANG6LPJK/Dokumen%20Berbagi/2024/Iqrar%20-%20Monev%20LSP/Update%20Data%20LSP/4.%20April/01042024%20-%20Sertifikat,%20TKK,%20dan%20Skema%20(1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33</c:name>
    <c:fmtId val="-1"/>
  </c:pivotSource>
  <c:chart>
    <c:title>
      <c:tx>
        <c:rich>
          <a:bodyPr rot="0" spcFirstLastPara="1" vertOverflow="ellipsis" vert="horz" wrap="square" anchor="t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/>
              <a:t>Jumlah Sertifikat Berdasarkan Kategori</a:t>
            </a:r>
          </a:p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5">
              <a:lumMod val="75000"/>
            </a:schemeClr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5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23158794601214999"/>
              <c:y val="-5.4954112551133402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67455E79-D5B5-4A32-BA51-DF06795F8BBF}" type="VALUE">
                  <a:rPr lang="en-US" sz="120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 sz="1200"/>
                  <a:t> sertifikat</a:t>
                </a:r>
                <a:endParaRPr lang="en-US" sz="1200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200" b="0"/>
                  <a:t>(</a:t>
                </a:r>
                <a:fld id="{A803F336-FBEB-42E3-A748-38498A041F1C}" type="PERCENTAGE">
                  <a:rPr lang="en-US" sz="120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20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layout>
                <c:manualLayout>
                  <c:w val="0.187283494374514"/>
                  <c:h val="0.20352711268573201"/>
                </c:manualLayout>
              </c15:layout>
              <c15:dlblFieldTable/>
              <c15:showDataLabelsRange val="0"/>
            </c:ext>
          </c:extLst>
        </c:dLbl>
      </c:pivotFmt>
      <c:pivotFmt>
        <c:idx val="2"/>
        <c:dLbl>
          <c:idx val="0"/>
          <c:layout>
            <c:manualLayout>
              <c:x val="-0.21479951841898101"/>
              <c:y val="7.2791712278912402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67455E79-D5B5-4A32-BA51-DF06795F8BBF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sertifikat</a:t>
                </a:r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A803F336-FBEB-42E3-A748-38498A041F1C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layout>
                <c:manualLayout>
                  <c:w val="0.189944687350599"/>
                  <c:h val="0.23114432896797801"/>
                </c:manualLayout>
              </c15:layout>
              <c15:dlblFieldTable/>
              <c15:showDataLabelsRange val="0"/>
            </c:ext>
          </c:extLst>
        </c:dLbl>
      </c:pivotFmt>
      <c:pivotFmt>
        <c:idx val="3"/>
        <c:spPr>
          <a:solidFill>
            <a:schemeClr val="accent6">
              <a:lumMod val="60000"/>
              <a:lumOff val="40000"/>
            </a:schemeClr>
          </a:solidFill>
          <a:ln w="19050">
            <a:solidFill>
              <a:schemeClr val="lt1"/>
            </a:solidFill>
          </a:ln>
          <a:effectLst/>
        </c:spPr>
        <c:dLbl>
          <c:idx val="0"/>
          <c:layout>
            <c:manualLayout>
              <c:x val="-0.19203845103068001"/>
              <c:y val="-3.8204382012534599E-3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67455E79-D5B5-4A32-BA51-DF06795F8BBF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sertifikat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000" b="0"/>
                  <a:t>(</a:t>
                </a:r>
                <a:fld id="{A803F336-FBEB-42E3-A748-38498A041F1C}" type="PERCENTAGE">
                  <a:rPr lang="en-US" sz="100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00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layout>
                <c:manualLayout>
                  <c:w val="0.177298296684648"/>
                  <c:h val="0.385100170686349"/>
                </c:manualLayout>
              </c15:layout>
              <c15:dlblFieldTable/>
              <c15:showDataLabelsRange val="0"/>
            </c:ext>
          </c:extLst>
        </c:dLbl>
      </c:pivotFmt>
      <c:pivotFmt>
        <c:idx val="4"/>
        <c:spPr>
          <a:solidFill>
            <a:schemeClr val="accent5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7219252787001799"/>
              <c:y val="9.1040836187857702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67455E79-D5B5-4A32-BA51-DF06795F8BBF}" type="VALUE">
                  <a:rPr lang="en-US" sz="120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 sz="1200"/>
                  <a:t> sertifikat</a:t>
                </a:r>
                <a:endParaRPr lang="en-US" sz="1200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200" b="0"/>
                  <a:t>(</a:t>
                </a:r>
                <a:fld id="{A803F336-FBEB-42E3-A748-38498A041F1C}" type="PERCENTAGE">
                  <a:rPr lang="en-US" sz="120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20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5"/>
        <c:spPr>
          <a:solidFill>
            <a:schemeClr val="accent5">
              <a:lumMod val="75000"/>
            </a:schemeClr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spPr>
          <a:solidFill>
            <a:schemeClr val="accent5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23158794601214999"/>
              <c:y val="-5.4954112551133402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67455E79-D5B5-4A32-BA51-DF06795F8BBF}" type="VALUE">
                  <a:rPr lang="en-US" sz="120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 sz="1200"/>
                  <a:t> sertifikat</a:t>
                </a:r>
                <a:endParaRPr lang="en-US" sz="1200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200" b="0"/>
                  <a:t>(</a:t>
                </a:r>
                <a:fld id="{A803F336-FBEB-42E3-A748-38498A041F1C}" type="PERCENTAGE">
                  <a:rPr lang="en-US" sz="120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20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layout>
                <c:manualLayout>
                  <c:w val="0.187283494374514"/>
                  <c:h val="0.20352711268573201"/>
                </c:manualLayout>
              </c15:layout>
              <c15:dlblFieldTable/>
              <c15:showDataLabelsRange val="0"/>
            </c:ext>
          </c:extLst>
        </c:dLbl>
      </c:pivotFmt>
      <c:pivotFmt>
        <c:idx val="7"/>
        <c:spPr>
          <a:solidFill>
            <a:schemeClr val="accent5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7219252787001799"/>
              <c:y val="9.1040836187857702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67455E79-D5B5-4A32-BA51-DF06795F8BBF}" type="VALUE">
                  <a:rPr lang="en-US" sz="120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 sz="1200"/>
                  <a:t> sertifikat</a:t>
                </a:r>
                <a:endParaRPr lang="en-US" sz="1200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200" b="0"/>
                  <a:t>(</a:t>
                </a:r>
                <a:fld id="{A803F336-FBEB-42E3-A748-38498A041F1C}" type="PERCENTAGE">
                  <a:rPr lang="en-US" sz="120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20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8"/>
        <c:spPr>
          <a:solidFill>
            <a:schemeClr val="accent5">
              <a:lumMod val="75000"/>
            </a:schemeClr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spPr>
          <a:solidFill>
            <a:schemeClr val="accent5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23158794601214999"/>
              <c:y val="-5.4954112551133402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67455E79-D5B5-4A32-BA51-DF06795F8BBF}" type="VALUE">
                  <a:rPr lang="en-US" sz="120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 sz="1200"/>
                  <a:t> sertifikat</a:t>
                </a:r>
                <a:endParaRPr lang="en-US" sz="1200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200" b="0"/>
                  <a:t>(</a:t>
                </a:r>
                <a:fld id="{A803F336-FBEB-42E3-A748-38498A041F1C}" type="PERCENTAGE">
                  <a:rPr lang="en-US" sz="120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20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layout>
                <c:manualLayout>
                  <c:w val="0.187283494374514"/>
                  <c:h val="0.20352711268573201"/>
                </c:manualLayout>
              </c15:layout>
              <c15:dlblFieldTable/>
              <c15:showDataLabelsRange val="0"/>
            </c:ext>
          </c:extLst>
        </c:dLbl>
      </c:pivotFmt>
      <c:pivotFmt>
        <c:idx val="10"/>
        <c:spPr>
          <a:solidFill>
            <a:schemeClr val="accent5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7219252787001799"/>
              <c:y val="9.1040836187857702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67455E79-D5B5-4A32-BA51-DF06795F8BBF}" type="VALUE">
                  <a:rPr lang="en-US" sz="120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 sz="1200"/>
                  <a:t> sertifikat</a:t>
                </a:r>
                <a:endParaRPr lang="en-US" sz="1200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200" b="0"/>
                  <a:t>(</a:t>
                </a:r>
                <a:fld id="{A803F336-FBEB-42E3-A748-38498A041F1C}" type="PERCENTAGE">
                  <a:rPr lang="en-US" sz="120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20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</c:pivotFmts>
    <c:plotArea>
      <c:layout>
        <c:manualLayout>
          <c:layoutTarget val="inner"/>
          <c:xMode val="edge"/>
          <c:yMode val="edge"/>
          <c:x val="0.24977670429597301"/>
          <c:y val="0.29918353718296198"/>
          <c:w val="0.29118784261208702"/>
          <c:h val="0.66142688065962096"/>
        </c:manualLayout>
      </c:layout>
      <c:doughnutChart>
        <c:varyColors val="1"/>
        <c:ser>
          <c:idx val="0"/>
          <c:order val="0"/>
          <c:tx>
            <c:strRef>
              <c:f>'per JENJANG'!$B$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</c:spPr>
          <c:dPt>
            <c:idx val="0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FEF-4835-98EB-80540137EA29}"/>
              </c:ext>
            </c:extLst>
          </c:dPt>
          <c:dPt>
            <c:idx val="1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FEF-4835-98EB-80540137EA29}"/>
              </c:ext>
            </c:extLst>
          </c:dPt>
          <c:dLbls>
            <c:dLbl>
              <c:idx val="0"/>
              <c:layout>
                <c:manualLayout>
                  <c:x val="0.18771503155920599"/>
                  <c:y val="-2.0590156446766001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lus Jakarta Sans" pitchFamily="2" charset="0"/>
                        <a:ea typeface="+mn-ea"/>
                        <a:cs typeface="Plus Jakarta Sans" pitchFamily="2" charset="0"/>
                      </a:defRPr>
                    </a:pPr>
                    <a:fld id="{67455E79-D5B5-4A32-BA51-DF06795F8BBF}" type="VALUE">
                      <a:rPr lang="en-US" sz="800"/>
                      <a:pPr>
                        <a:defRPr sz="8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lus Jakarta Sans" pitchFamily="2" charset="0"/>
                          <a:ea typeface="+mn-ea"/>
                          <a:cs typeface="Plus Jakarta Sans" pitchFamily="2" charset="0"/>
                        </a:defRPr>
                      </a:pPr>
                      <a:t>[VALUE]</a:t>
                    </a:fld>
                    <a:r>
                      <a:rPr lang="en-US" sz="800"/>
                      <a:t> sertifikat</a:t>
                    </a:r>
                    <a:endParaRPr lang="en-US" sz="800" baseline="0"/>
                  </a:p>
                  <a:p>
                    <a:pPr>
                      <a:defRPr sz="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lus Jakarta Sans" pitchFamily="2" charset="0"/>
                        <a:ea typeface="+mn-ea"/>
                        <a:cs typeface="Plus Jakarta Sans" pitchFamily="2" charset="0"/>
                      </a:defRPr>
                    </a:pPr>
                    <a:r>
                      <a:rPr lang="en-US" sz="800" b="0"/>
                      <a:t>(</a:t>
                    </a:r>
                    <a:fld id="{A803F336-FBEB-42E3-A748-38498A041F1C}" type="PERCENTAGE">
                      <a:rPr lang="en-US" sz="800" b="0"/>
                      <a:pPr>
                        <a:defRPr sz="8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lus Jakarta Sans" pitchFamily="2" charset="0"/>
                          <a:ea typeface="+mn-ea"/>
                          <a:cs typeface="Plus Jakarta Sans" pitchFamily="2" charset="0"/>
                        </a:defRPr>
                      </a:pPr>
                      <a:t>[PERCENTAGE]</a:t>
                    </a:fld>
                    <a:r>
                      <a:rPr lang="en-US" sz="800" b="0"/>
                      <a:t>)</a:t>
                    </a:r>
                  </a:p>
                </c:rich>
              </c:tx>
              <c:numFmt formatCode="#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72154852979821"/>
                      <c:h val="0.2860011829970949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FEF-4835-98EB-80540137EA29}"/>
                </c:ext>
              </c:extLst>
            </c:dLbl>
            <c:dLbl>
              <c:idx val="1"/>
              <c:layout>
                <c:manualLayout>
                  <c:x val="-0.19639825041949099"/>
                  <c:y val="1.8368925166504398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lus Jakarta Sans" pitchFamily="2" charset="0"/>
                        <a:ea typeface="+mn-ea"/>
                        <a:cs typeface="Plus Jakarta Sans" pitchFamily="2" charset="0"/>
                      </a:defRPr>
                    </a:pPr>
                    <a:fld id="{67455E79-D5B5-4A32-BA51-DF06795F8BBF}" type="VALUE">
                      <a:rPr lang="en-US" sz="800"/>
                      <a:pPr>
                        <a:defRPr sz="8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lus Jakarta Sans" pitchFamily="2" charset="0"/>
                          <a:ea typeface="+mn-ea"/>
                          <a:cs typeface="Plus Jakarta Sans" pitchFamily="2" charset="0"/>
                        </a:defRPr>
                      </a:pPr>
                      <a:t>[VALUE]</a:t>
                    </a:fld>
                    <a:r>
                      <a:rPr lang="en-US" sz="800"/>
                      <a:t> sertifikat</a:t>
                    </a:r>
                    <a:endParaRPr lang="en-US" sz="800" baseline="0"/>
                  </a:p>
                  <a:p>
                    <a:pPr>
                      <a:defRPr sz="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lus Jakarta Sans" pitchFamily="2" charset="0"/>
                        <a:ea typeface="+mn-ea"/>
                        <a:cs typeface="Plus Jakarta Sans" pitchFamily="2" charset="0"/>
                      </a:defRPr>
                    </a:pPr>
                    <a:r>
                      <a:rPr lang="en-US" sz="800" b="0"/>
                      <a:t>(</a:t>
                    </a:r>
                    <a:fld id="{A803F336-FBEB-42E3-A748-38498A041F1C}" type="PERCENTAGE">
                      <a:rPr lang="en-US" sz="800" b="0"/>
                      <a:pPr>
                        <a:defRPr sz="8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lus Jakarta Sans" pitchFamily="2" charset="0"/>
                          <a:ea typeface="+mn-ea"/>
                          <a:cs typeface="Plus Jakarta Sans" pitchFamily="2" charset="0"/>
                        </a:defRPr>
                      </a:pPr>
                      <a:t>[PERCENTAGE]</a:t>
                    </a:fld>
                    <a:r>
                      <a:rPr lang="en-US" sz="800" b="0"/>
                      <a:t>)</a:t>
                    </a:r>
                  </a:p>
                </c:rich>
              </c:tx>
              <c:numFmt formatCode="#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8620276750872999"/>
                      <c:h val="0.2432991007382100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FEF-4835-98EB-80540137EA29}"/>
                </c:ext>
              </c:extLst>
            </c:dLbl>
            <c:numFmt formatCode="#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19050" cap="flat" cmpd="sng" algn="ctr">
                  <a:solidFill>
                    <a:schemeClr val="bg1">
                      <a:lumMod val="7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per JENJANG'!$A$5:$A$7</c:f>
              <c:strCache>
                <c:ptCount val="2"/>
                <c:pt idx="0">
                  <c:v>SKA</c:v>
                </c:pt>
                <c:pt idx="1">
                  <c:v>SKK-K Ahli</c:v>
                </c:pt>
              </c:strCache>
            </c:strRef>
          </c:cat>
          <c:val>
            <c:numRef>
              <c:f>'per JENJANG'!$B$5:$B$7</c:f>
              <c:numCache>
                <c:formatCode>#,##0</c:formatCode>
                <c:ptCount val="2"/>
                <c:pt idx="0">
                  <c:v>31202</c:v>
                </c:pt>
                <c:pt idx="1">
                  <c:v>1422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EFEF-4835-98EB-80540137EA2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lus Jakarta Sans" pitchFamily="2" charset="0"/>
              <a:ea typeface="+mn-ea"/>
              <a:cs typeface="Plus Jakarta Sans" pitchFamily="2" charset="0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40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/>
              <a:t>Jumlah TKK T/A/Op Berdasarkan Jenjang</a:t>
            </a:r>
          </a:p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id-ID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6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6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6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er JENJANG'!$E$5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r JENJANG'!$D$54:$D$60</c:f>
              <c:strCache>
                <c:ptCount val="6"/>
                <c:pt idx="0">
                  <c:v>Jenjang 4</c:v>
                </c:pt>
                <c:pt idx="1">
                  <c:v>Jenjang 6</c:v>
                </c:pt>
                <c:pt idx="2">
                  <c:v>Jenjang 5</c:v>
                </c:pt>
                <c:pt idx="3">
                  <c:v>Jenjang 1</c:v>
                </c:pt>
                <c:pt idx="4">
                  <c:v>Jenjang 3</c:v>
                </c:pt>
                <c:pt idx="5">
                  <c:v>Jenjang 2</c:v>
                </c:pt>
              </c:strCache>
            </c:strRef>
          </c:cat>
          <c:val>
            <c:numRef>
              <c:f>'per JENJANG'!$E$54:$E$60</c:f>
              <c:numCache>
                <c:formatCode>#,##0</c:formatCode>
                <c:ptCount val="6"/>
                <c:pt idx="0">
                  <c:v>52826</c:v>
                </c:pt>
                <c:pt idx="1">
                  <c:v>41935</c:v>
                </c:pt>
                <c:pt idx="2">
                  <c:v>34470</c:v>
                </c:pt>
                <c:pt idx="3">
                  <c:v>23164</c:v>
                </c:pt>
                <c:pt idx="4">
                  <c:v>12893</c:v>
                </c:pt>
                <c:pt idx="5">
                  <c:v>124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A0E-4BA6-9EA5-FC575C158D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326702592"/>
        <c:axId val="326704128"/>
      </c:barChart>
      <c:catAx>
        <c:axId val="326702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326704128"/>
        <c:crosses val="autoZero"/>
        <c:auto val="1"/>
        <c:lblAlgn val="ctr"/>
        <c:lblOffset val="100"/>
        <c:noMultiLvlLbl val="0"/>
      </c:catAx>
      <c:valAx>
        <c:axId val="32670412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26702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767067765189257"/>
          <c:y val="3.8253304393848234E-2"/>
          <c:w val="0.80923770716826093"/>
          <c:h val="0.8695171714698971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umlah kegiatan PKB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1EB6-4560-96F2-E2845D912258}"/>
              </c:ext>
            </c:extLst>
          </c:dPt>
          <c:dPt>
            <c:idx val="1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EB6-4560-96F2-E2845D912258}"/>
              </c:ext>
            </c:extLst>
          </c:dPt>
          <c:dLbls>
            <c:dLbl>
              <c:idx val="2"/>
              <c:layout>
                <c:manualLayout>
                  <c:x val="0"/>
                  <c:y val="1.094712452655841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EB6-4560-96F2-E2845D9122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Poppins" panose="00000500000000000000" pitchFamily="2" charset="0"/>
                    <a:ea typeface="+mn-ea"/>
                    <a:cs typeface="Poppins" panose="00000500000000000000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162</c:v>
                </c:pt>
                <c:pt idx="1">
                  <c:v>306</c:v>
                </c:pt>
                <c:pt idx="2">
                  <c:v>6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EB6-4560-96F2-E2845D91225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389879680"/>
        <c:axId val="389883392"/>
      </c:barChart>
      <c:catAx>
        <c:axId val="389879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pPr>
            <a:endParaRPr lang="en-US"/>
          </a:p>
        </c:txPr>
        <c:crossAx val="389883392"/>
        <c:crosses val="autoZero"/>
        <c:auto val="1"/>
        <c:lblAlgn val="ctr"/>
        <c:lblOffset val="100"/>
        <c:noMultiLvlLbl val="0"/>
      </c:catAx>
      <c:valAx>
        <c:axId val="38988339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Poppins" panose="00000500000000000000" pitchFamily="2" charset="0"/>
                <a:ea typeface="+mn-ea"/>
                <a:cs typeface="Poppins" panose="00000500000000000000" pitchFamily="2" charset="0"/>
              </a:defRPr>
            </a:pPr>
            <a:endParaRPr lang="en-US"/>
          </a:p>
        </c:txPr>
        <c:crossAx val="389879680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accent2">
        <a:lumMod val="20000"/>
        <a:lumOff val="80000"/>
      </a:schemeClr>
    </a:solidFill>
    <a:ln>
      <a:noFill/>
    </a:ln>
    <a:effectLst/>
  </c:spPr>
  <c:txPr>
    <a:bodyPr/>
    <a:lstStyle/>
    <a:p>
      <a:pPr>
        <a:defRPr>
          <a:latin typeface="Poppins" panose="00000500000000000000" pitchFamily="2" charset="0"/>
          <a:cs typeface="Poppins" panose="00000500000000000000" pitchFamily="2" charset="0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320" b="1" i="0" u="none" strike="noStrike" kern="1200" spc="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b="1" dirty="0"/>
              <a:t>Jumlah Kegiatan PKB oleh </a:t>
            </a:r>
            <a:r>
              <a:rPr lang="en-US" b="1" dirty="0" err="1"/>
              <a:t>Penyelenggara</a:t>
            </a:r>
            <a:r>
              <a:rPr lang="en-US" b="1" dirty="0"/>
              <a:t> </a:t>
            </a:r>
            <a:r>
              <a:rPr lang="en-US" b="1" dirty="0" err="1"/>
              <a:t>dari</a:t>
            </a:r>
            <a:r>
              <a:rPr lang="en-US" b="1" dirty="0"/>
              <a:t> Unsur </a:t>
            </a:r>
            <a:r>
              <a:rPr lang="en-US" b="1" dirty="0" err="1"/>
              <a:t>Pemerintah</a:t>
            </a:r>
            <a:endParaRPr lang="en-US" b="1" dirty="0"/>
          </a:p>
        </c:rich>
      </c:tx>
      <c:layout>
        <c:manualLayout>
          <c:xMode val="edge"/>
          <c:yMode val="edge"/>
          <c:x val="0.14682094472658033"/>
          <c:y val="4.1682649046788289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6008668391360336"/>
          <c:y val="0.12321742685635532"/>
          <c:w val="0.50892330251063778"/>
          <c:h val="0.7983483620354316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PROVE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523-49EF-95C2-686224BCC9B1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23-49EF-95C2-686224BCC9B1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523-49EF-95C2-686224BCC9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Dinas PUPR Prov.Banten</c:v>
                </c:pt>
                <c:pt idx="1">
                  <c:v>Dinas PUPR Prov.SumUt</c:v>
                </c:pt>
                <c:pt idx="2">
                  <c:v>Dinas SDA dan Binkon Prov.SumBar</c:v>
                </c:pt>
                <c:pt idx="3">
                  <c:v>Dinas PUPR Prov.Bengkulu</c:v>
                </c:pt>
                <c:pt idx="4">
                  <c:v>Dinas PUPR Prov.NTT</c:v>
                </c:pt>
                <c:pt idx="5">
                  <c:v>Dinas PU BM Prov.Jatim</c:v>
                </c:pt>
                <c:pt idx="6">
                  <c:v>Dinas PUPP Prov.KepRi</c:v>
                </c:pt>
                <c:pt idx="7">
                  <c:v>Dinas PUPR Prov.KalSel</c:v>
                </c:pt>
                <c:pt idx="8">
                  <c:v>Dinas PR dan CK Prov.JaTim</c:v>
                </c:pt>
                <c:pt idx="9">
                  <c:v>DJBK PUPR</c:v>
                </c:pt>
                <c:pt idx="10">
                  <c:v>LPJK</c:v>
                </c:pt>
                <c:pt idx="11">
                  <c:v>Dinas BM dan PR Prov.JaBa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  <c:pt idx="6">
                  <c:v>1</c:v>
                </c:pt>
                <c:pt idx="7">
                  <c:v>0</c:v>
                </c:pt>
                <c:pt idx="8">
                  <c:v>2</c:v>
                </c:pt>
                <c:pt idx="9">
                  <c:v>2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523-49EF-95C2-686224BCC9B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LAPORA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Dinas PUPR Prov.Banten</c:v>
                </c:pt>
                <c:pt idx="1">
                  <c:v>Dinas PUPR Prov.SumUt</c:v>
                </c:pt>
                <c:pt idx="2">
                  <c:v>Dinas SDA dan Binkon Prov.SumBar</c:v>
                </c:pt>
                <c:pt idx="3">
                  <c:v>Dinas PUPR Prov.Bengkulu</c:v>
                </c:pt>
                <c:pt idx="4">
                  <c:v>Dinas PUPR Prov.NTT</c:v>
                </c:pt>
                <c:pt idx="5">
                  <c:v>Dinas PU BM Prov.Jatim</c:v>
                </c:pt>
                <c:pt idx="6">
                  <c:v>Dinas PUPP Prov.KepRi</c:v>
                </c:pt>
                <c:pt idx="7">
                  <c:v>Dinas PUPR Prov.KalSel</c:v>
                </c:pt>
                <c:pt idx="8">
                  <c:v>Dinas PR dan CK Prov.JaTim</c:v>
                </c:pt>
                <c:pt idx="9">
                  <c:v>DJBK PUPR</c:v>
                </c:pt>
                <c:pt idx="10">
                  <c:v>LPJK</c:v>
                </c:pt>
                <c:pt idx="11">
                  <c:v>Dinas BM dan PR Prov.JaBar</c:v>
                </c:pt>
              </c:strCache>
            </c:strRef>
          </c:cat>
          <c:val>
            <c:numRef>
              <c:f>Sheet1!$C$2:$C$13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523-49EF-95C2-686224BCC9B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ENGESAHAN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523-49EF-95C2-686224BCC9B1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523-49EF-95C2-686224BCC9B1}"/>
                </c:ext>
              </c:extLst>
            </c:dLbl>
            <c:dLbl>
              <c:idx val="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523-49EF-95C2-686224BCC9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Dinas PUPR Prov.Banten</c:v>
                </c:pt>
                <c:pt idx="1">
                  <c:v>Dinas PUPR Prov.SumUt</c:v>
                </c:pt>
                <c:pt idx="2">
                  <c:v>Dinas SDA dan Binkon Prov.SumBar</c:v>
                </c:pt>
                <c:pt idx="3">
                  <c:v>Dinas PUPR Prov.Bengkulu</c:v>
                </c:pt>
                <c:pt idx="4">
                  <c:v>Dinas PUPR Prov.NTT</c:v>
                </c:pt>
                <c:pt idx="5">
                  <c:v>Dinas PU BM Prov.Jatim</c:v>
                </c:pt>
                <c:pt idx="6">
                  <c:v>Dinas PUPP Prov.KepRi</c:v>
                </c:pt>
                <c:pt idx="7">
                  <c:v>Dinas PUPR Prov.KalSel</c:v>
                </c:pt>
                <c:pt idx="8">
                  <c:v>Dinas PR dan CK Prov.JaTim</c:v>
                </c:pt>
                <c:pt idx="9">
                  <c:v>DJBK PUPR</c:v>
                </c:pt>
                <c:pt idx="10">
                  <c:v>LPJK</c:v>
                </c:pt>
                <c:pt idx="11">
                  <c:v>Dinas BM dan PR Prov.JaBa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3</c:v>
                </c:pt>
                <c:pt idx="6">
                  <c:v>3</c:v>
                </c:pt>
                <c:pt idx="7">
                  <c:v>6</c:v>
                </c:pt>
                <c:pt idx="8">
                  <c:v>7</c:v>
                </c:pt>
                <c:pt idx="9">
                  <c:v>10</c:v>
                </c:pt>
                <c:pt idx="10">
                  <c:v>17</c:v>
                </c:pt>
                <c:pt idx="11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523-49EF-95C2-686224BCC9B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82"/>
        <c:axId val="327357184"/>
        <c:axId val="327358720"/>
      </c:barChart>
      <c:catAx>
        <c:axId val="3273571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200" b="0" i="0" u="none" strike="noStrike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327358720"/>
        <c:crosses val="autoZero"/>
        <c:auto val="1"/>
        <c:lblAlgn val="ctr"/>
        <c:lblOffset val="100"/>
        <c:noMultiLvlLbl val="0"/>
      </c:catAx>
      <c:valAx>
        <c:axId val="327358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327357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2253657509034741"/>
          <c:y val="0.79666569830066403"/>
          <c:w val="0.24488190189220907"/>
          <c:h val="7.4301110394929717E-2"/>
        </c:manualLayout>
      </c:layout>
      <c:overlay val="0"/>
      <c:spPr>
        <a:solidFill>
          <a:schemeClr val="bg1">
            <a:lumMod val="50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bg1"/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100">
          <a:solidFill>
            <a:schemeClr val="bg1"/>
          </a:solidFill>
          <a:latin typeface="Century Gothic" panose="020B0502020202020204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36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/>
              <a:t>Jumlah Tenaga Kerja Berdasarkan Kategori</a:t>
            </a:r>
          </a:p>
          <a:p>
            <a:pPr algn="ctr" rtl="0"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1"/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8836706187982299"/>
              <c:y val="-9.0290558274810195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960F270C-3AF3-4E0B-99A9-C617CFA3EEEB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88DFE3B5-7A49-4792-A0B6-3D8A28183966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layout>
                <c:manualLayout>
                  <c:w val="0.17117781033327201"/>
                  <c:h val="0.175855855855856"/>
                </c:manualLayout>
              </c15:layout>
              <c15:dlblFieldTable/>
              <c15:showDataLabelsRange val="0"/>
            </c:ext>
          </c:extLst>
        </c:dLbl>
      </c:pivotFmt>
      <c:pivotFmt>
        <c:idx val="2"/>
        <c:spPr>
          <a:solidFill>
            <a:schemeClr val="accent4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7970793470975899"/>
              <c:y val="8.9539618358515996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960F270C-3AF3-4E0B-99A9-C617CFA3EEEB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88DFE3B5-7A49-4792-A0B6-3D8A28183966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3"/>
        <c:spPr>
          <a:solidFill>
            <a:schemeClr val="accent1"/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8836706187982299"/>
              <c:y val="-9.0290558274810195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960F270C-3AF3-4E0B-99A9-C617CFA3EEEB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88DFE3B5-7A49-4792-A0B6-3D8A28183966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layout>
                <c:manualLayout>
                  <c:w val="0.17117781033327201"/>
                  <c:h val="0.175855855855856"/>
                </c:manualLayout>
              </c15:layout>
              <c15:dlblFieldTable/>
              <c15:showDataLabelsRange val="0"/>
            </c:ext>
          </c:extLst>
        </c:dLbl>
      </c:pivotFmt>
      <c:pivotFmt>
        <c:idx val="5"/>
        <c:spPr>
          <a:solidFill>
            <a:schemeClr val="accent4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7970793470975899"/>
              <c:y val="8.9539618358515996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960F270C-3AF3-4E0B-99A9-C617CFA3EEEB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88DFE3B5-7A49-4792-A0B6-3D8A28183966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6"/>
        <c:spPr>
          <a:solidFill>
            <a:schemeClr val="accent1"/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4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8836706187982299"/>
              <c:y val="-9.0290558274810195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960F270C-3AF3-4E0B-99A9-C617CFA3EEEB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88DFE3B5-7A49-4792-A0B6-3D8A28183966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layout>
                <c:manualLayout>
                  <c:w val="0.17117781033327201"/>
                  <c:h val="0.175855855855856"/>
                </c:manualLayout>
              </c15:layout>
              <c15:dlblFieldTable/>
              <c15:showDataLabelsRange val="0"/>
            </c:ext>
          </c:extLst>
        </c:dLbl>
      </c:pivotFmt>
      <c:pivotFmt>
        <c:idx val="8"/>
        <c:spPr>
          <a:solidFill>
            <a:schemeClr val="accent4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7970793470975899"/>
              <c:y val="8.9539618358515996E-2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960F270C-3AF3-4E0B-99A9-C617CFA3EEEB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88DFE3B5-7A49-4792-A0B6-3D8A28183966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</c:pivotFmts>
    <c:plotArea>
      <c:layout>
        <c:manualLayout>
          <c:layoutTarget val="inner"/>
          <c:xMode val="edge"/>
          <c:yMode val="edge"/>
          <c:x val="0.25223260020374799"/>
          <c:y val="0.30364284174623102"/>
          <c:w val="0.29884703388901801"/>
          <c:h val="0.636192577377103"/>
        </c:manualLayout>
      </c:layout>
      <c:doughnutChart>
        <c:varyColors val="1"/>
        <c:ser>
          <c:idx val="0"/>
          <c:order val="0"/>
          <c:tx>
            <c:strRef>
              <c:f>'per JENJANG'!$E$4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E65-41EB-A67A-B62CA423C100}"/>
              </c:ext>
            </c:extLst>
          </c:dPt>
          <c:dPt>
            <c:idx val="1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E65-41EB-A67A-B62CA423C100}"/>
              </c:ext>
            </c:extLst>
          </c:dPt>
          <c:dLbls>
            <c:dLbl>
              <c:idx val="0"/>
              <c:layout>
                <c:manualLayout>
                  <c:x val="0.237045241897828"/>
                  <c:y val="-6.1304979125835803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lus Jakarta Sans" pitchFamily="2" charset="0"/>
                        <a:ea typeface="+mn-ea"/>
                        <a:cs typeface="Plus Jakarta Sans" pitchFamily="2" charset="0"/>
                      </a:defRPr>
                    </a:pPr>
                    <a:fld id="{960F270C-3AF3-4E0B-99A9-C617CFA3EEEB}" type="VALUE">
                      <a:rPr lang="en-US" sz="800"/>
                      <a:pPr>
                        <a:defRPr sz="8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lus Jakarta Sans" pitchFamily="2" charset="0"/>
                          <a:ea typeface="+mn-ea"/>
                          <a:cs typeface="Plus Jakarta Sans" pitchFamily="2" charset="0"/>
                        </a:defRPr>
                      </a:pPr>
                      <a:t>[VALUE]</a:t>
                    </a:fld>
                    <a:r>
                      <a:rPr lang="en-US" sz="800"/>
                      <a:t> orang</a:t>
                    </a:r>
                    <a:endParaRPr lang="en-US" sz="800" baseline="0"/>
                  </a:p>
                  <a:p>
                    <a:pPr>
                      <a:defRPr sz="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lus Jakarta Sans" pitchFamily="2" charset="0"/>
                        <a:ea typeface="+mn-ea"/>
                        <a:cs typeface="Plus Jakarta Sans" pitchFamily="2" charset="0"/>
                      </a:defRPr>
                    </a:pPr>
                    <a:r>
                      <a:rPr lang="en-US" sz="800" b="0"/>
                      <a:t>(</a:t>
                    </a:r>
                    <a:fld id="{88DFE3B5-7A49-4792-A0B6-3D8A28183966}" type="PERCENTAGE">
                      <a:rPr lang="en-US" sz="800" b="0"/>
                      <a:pPr>
                        <a:defRPr sz="8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lus Jakarta Sans" pitchFamily="2" charset="0"/>
                          <a:ea typeface="+mn-ea"/>
                          <a:cs typeface="Plus Jakarta Sans" pitchFamily="2" charset="0"/>
                        </a:defRPr>
                      </a:pPr>
                      <a:t>[PERCENTAGE]</a:t>
                    </a:fld>
                    <a:r>
                      <a:rPr lang="en-US" sz="800" b="0"/>
                      <a:t>)</a:t>
                    </a:r>
                  </a:p>
                </c:rich>
              </c:tx>
              <c:numFmt formatCode="#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8381382335357099"/>
                      <c:h val="0.24670932337161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E65-41EB-A67A-B62CA423C100}"/>
                </c:ext>
              </c:extLst>
            </c:dLbl>
            <c:dLbl>
              <c:idx val="1"/>
              <c:layout>
                <c:manualLayout>
                  <c:x val="-0.17970793470975899"/>
                  <c:y val="8.9539618358515996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lus Jakarta Sans" pitchFamily="2" charset="0"/>
                        <a:ea typeface="+mn-ea"/>
                        <a:cs typeface="Plus Jakarta Sans" pitchFamily="2" charset="0"/>
                      </a:defRPr>
                    </a:pPr>
                    <a:fld id="{960F270C-3AF3-4E0B-99A9-C617CFA3EEEB}" type="VALUE">
                      <a:rPr lang="en-US" sz="800"/>
                      <a:pPr>
                        <a:defRPr sz="8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lus Jakarta Sans" pitchFamily="2" charset="0"/>
                          <a:ea typeface="+mn-ea"/>
                          <a:cs typeface="Plus Jakarta Sans" pitchFamily="2" charset="0"/>
                        </a:defRPr>
                      </a:pPr>
                      <a:t>[VALUE]</a:t>
                    </a:fld>
                    <a:r>
                      <a:rPr lang="en-US" sz="800"/>
                      <a:t> orang</a:t>
                    </a:r>
                    <a:endParaRPr lang="en-US" sz="800" baseline="0"/>
                  </a:p>
                  <a:p>
                    <a:pPr>
                      <a:defRPr sz="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Plus Jakarta Sans" pitchFamily="2" charset="0"/>
                        <a:ea typeface="+mn-ea"/>
                        <a:cs typeface="Plus Jakarta Sans" pitchFamily="2" charset="0"/>
                      </a:defRPr>
                    </a:pPr>
                    <a:r>
                      <a:rPr lang="en-US" sz="800" b="0"/>
                      <a:t>(</a:t>
                    </a:r>
                    <a:fld id="{88DFE3B5-7A49-4792-A0B6-3D8A28183966}" type="PERCENTAGE">
                      <a:rPr lang="en-US" sz="800" b="0"/>
                      <a:pPr>
                        <a:defRPr sz="800" b="1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Plus Jakarta Sans" pitchFamily="2" charset="0"/>
                          <a:ea typeface="+mn-ea"/>
                          <a:cs typeface="Plus Jakarta Sans" pitchFamily="2" charset="0"/>
                        </a:defRPr>
                      </a:pPr>
                      <a:t>[PERCENTAGE]</a:t>
                    </a:fld>
                    <a:r>
                      <a:rPr lang="en-US" sz="800" b="0"/>
                      <a:t>)</a:t>
                    </a:r>
                  </a:p>
                </c:rich>
              </c:tx>
              <c:numFmt formatCode="#.00%" sourceLinked="0"/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E65-41EB-A67A-B62CA423C100}"/>
                </c:ext>
              </c:extLst>
            </c:dLbl>
            <c:numFmt formatCode="#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19050" cap="flat" cmpd="sng" algn="ctr">
                  <a:solidFill>
                    <a:schemeClr val="bg1">
                      <a:lumMod val="7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per JENJANG'!$D$5:$D$7</c:f>
              <c:strCache>
                <c:ptCount val="2"/>
                <c:pt idx="0">
                  <c:v>Tenaga Ahli</c:v>
                </c:pt>
                <c:pt idx="1">
                  <c:v>TKK Ahli</c:v>
                </c:pt>
              </c:strCache>
            </c:strRef>
          </c:cat>
          <c:val>
            <c:numRef>
              <c:f>'per JENJANG'!$E$5:$E$7</c:f>
              <c:numCache>
                <c:formatCode>#,##0</c:formatCode>
                <c:ptCount val="2"/>
                <c:pt idx="0">
                  <c:v>25311</c:v>
                </c:pt>
                <c:pt idx="1">
                  <c:v>10216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E65-41EB-A67A-B62CA423C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lus Jakarta Sans" pitchFamily="2" charset="0"/>
              <a:ea typeface="+mn-ea"/>
              <a:cs typeface="Plus Jakarta Sans" pitchFamily="2" charset="0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23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/>
              <a:t>Jumlah SKA dan SKK-K Berdasarkan Kualifikasi/Jenjang</a:t>
            </a:r>
          </a:p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5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5"/>
          </a:solidFill>
          <a:ln>
            <a:noFill/>
          </a:ln>
          <a:effectLst/>
        </c:spPr>
      </c:pivotFmt>
      <c:pivotFmt>
        <c:idx val="2"/>
        <c:spPr>
          <a:solidFill>
            <a:schemeClr val="accent5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5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er JENJANG'!$B$20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r JENJANG'!$A$21:$A$24</c:f>
              <c:strCache>
                <c:ptCount val="3"/>
                <c:pt idx="0">
                  <c:v>Muda / Jenjang 7</c:v>
                </c:pt>
                <c:pt idx="1">
                  <c:v>Madya / Jenjang 8</c:v>
                </c:pt>
                <c:pt idx="2">
                  <c:v>Utama / Jenjang 9</c:v>
                </c:pt>
              </c:strCache>
            </c:strRef>
          </c:cat>
          <c:val>
            <c:numRef>
              <c:f>'per JENJANG'!$B$21:$B$24</c:f>
              <c:numCache>
                <c:formatCode>#,##0</c:formatCode>
                <c:ptCount val="3"/>
                <c:pt idx="0">
                  <c:v>85307</c:v>
                </c:pt>
                <c:pt idx="1">
                  <c:v>63096</c:v>
                </c:pt>
                <c:pt idx="2">
                  <c:v>2504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1CA-40C8-A359-E019C0F46C4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01669760"/>
        <c:axId val="301672704"/>
      </c:barChart>
      <c:catAx>
        <c:axId val="301669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301672704"/>
        <c:crosses val="autoZero"/>
        <c:auto val="1"/>
        <c:lblAlgn val="ctr"/>
        <c:lblOffset val="100"/>
        <c:noMultiLvlLbl val="0"/>
      </c:catAx>
      <c:valAx>
        <c:axId val="301672704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301669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37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Plus Jakarta Sans" pitchFamily="2" charset="0"/>
                <a:cs typeface="Plus Jakarta Sans" pitchFamily="2" charset="0"/>
              </a:rPr>
              <a:t>Jumlah Tenaga Ahli dan TKK Ahli Berdasarkan Kualifikasi/Jenja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4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er JENJANG'!$E$20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r JENJANG'!$D$21:$D$24</c:f>
              <c:strCache>
                <c:ptCount val="3"/>
                <c:pt idx="0">
                  <c:v>Muda / Jenjang 7</c:v>
                </c:pt>
                <c:pt idx="1">
                  <c:v>Madya / Jenjang 8</c:v>
                </c:pt>
                <c:pt idx="2">
                  <c:v>Utama / Jenjang 9</c:v>
                </c:pt>
              </c:strCache>
            </c:strRef>
          </c:cat>
          <c:val>
            <c:numRef>
              <c:f>'per JENJANG'!$E$21:$E$24</c:f>
              <c:numCache>
                <c:formatCode>#,##0</c:formatCode>
                <c:ptCount val="3"/>
                <c:pt idx="0">
                  <c:v>66511</c:v>
                </c:pt>
                <c:pt idx="1">
                  <c:v>45079</c:v>
                </c:pt>
                <c:pt idx="2">
                  <c:v>1588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19-4E01-A15E-117A15C2C4B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01700224"/>
        <c:axId val="301707264"/>
      </c:barChart>
      <c:catAx>
        <c:axId val="301700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301707264"/>
        <c:crosses val="autoZero"/>
        <c:auto val="1"/>
        <c:lblAlgn val="ctr"/>
        <c:lblOffset val="100"/>
        <c:noMultiLvlLbl val="0"/>
      </c:catAx>
      <c:valAx>
        <c:axId val="30170726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01700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34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/>
              <a:t>Jumlah Sertifikat Berdasarkan Kategori</a:t>
            </a:r>
          </a:p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3197952247502101"/>
              <c:y val="0.128655003672239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5536BADA-5DF6-4684-97E4-E9F56F49FDEF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sertifikat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050" b="0"/>
                  <a:t>(</a:t>
                </a:r>
                <a:fld id="{D3D0833C-96BF-4C9F-A1E4-2DAEE78F28FC}" type="PERCENTAGE">
                  <a:rPr lang="en-US" sz="105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05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2"/>
        <c:spPr>
          <a:solidFill>
            <a:schemeClr val="accent2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3197952247502101"/>
              <c:y val="-0.16439250469230601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5536BADA-5DF6-4684-97E4-E9F56F49FDEF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sertifikat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050" b="0"/>
                  <a:t>(</a:t>
                </a:r>
                <a:fld id="{D3D0833C-96BF-4C9F-A1E4-2DAEE78F28FC}" type="PERCENTAGE">
                  <a:rPr lang="en-US" sz="105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05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3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2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3197952247502101"/>
              <c:y val="0.128655003672239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5536BADA-5DF6-4684-97E4-E9F56F49FDEF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sertifikat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050" b="0"/>
                  <a:t>(</a:t>
                </a:r>
                <a:fld id="{D3D0833C-96BF-4C9F-A1E4-2DAEE78F28FC}" type="PERCENTAGE">
                  <a:rPr lang="en-US" sz="105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05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5"/>
        <c:spPr>
          <a:solidFill>
            <a:schemeClr val="accent2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3197952247502101"/>
              <c:y val="-0.16439250469230601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5536BADA-5DF6-4684-97E4-E9F56F49FDEF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sertifikat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050" b="0"/>
                  <a:t>(</a:t>
                </a:r>
                <a:fld id="{D3D0833C-96BF-4C9F-A1E4-2DAEE78F28FC}" type="PERCENTAGE">
                  <a:rPr lang="en-US" sz="105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05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6"/>
        <c:spPr>
          <a:solidFill>
            <a:schemeClr val="accent1"/>
          </a:solidFill>
          <a:ln w="19050">
            <a:solidFill>
              <a:schemeClr val="lt1"/>
            </a:solidFill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2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3197952247502101"/>
              <c:y val="0.128655003672239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5536BADA-5DF6-4684-97E4-E9F56F49FDEF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sertifikat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050" b="0"/>
                  <a:t>(</a:t>
                </a:r>
                <a:fld id="{D3D0833C-96BF-4C9F-A1E4-2DAEE78F28FC}" type="PERCENTAGE">
                  <a:rPr lang="en-US" sz="105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05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8"/>
        <c:spPr>
          <a:solidFill>
            <a:schemeClr val="accent2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3197952247502101"/>
              <c:y val="-0.16439250469230601"/>
            </c:manualLayout>
          </c:layout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5536BADA-5DF6-4684-97E4-E9F56F49FDEF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sertifikat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sz="1050" b="0"/>
                  <a:t>(</a:t>
                </a:r>
                <a:fld id="{D3D0833C-96BF-4C9F-A1E4-2DAEE78F28FC}" type="PERCENTAGE">
                  <a:rPr lang="en-US" sz="1050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sz="1050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</c:pivotFmts>
    <c:plotArea>
      <c:layout>
        <c:manualLayout>
          <c:layoutTarget val="inner"/>
          <c:xMode val="edge"/>
          <c:yMode val="edge"/>
          <c:x val="0.253533135757258"/>
          <c:y val="0.31525207845240399"/>
          <c:w val="0.269831928793688"/>
          <c:h val="0.63224828852028503"/>
        </c:manualLayout>
      </c:layout>
      <c:doughnutChart>
        <c:varyColors val="1"/>
        <c:ser>
          <c:idx val="0"/>
          <c:order val="0"/>
          <c:tx>
            <c:strRef>
              <c:f>'per JENJANG'!$B$36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03B-4E21-9AEE-B90CE5F5968C}"/>
              </c:ext>
            </c:extLst>
          </c:dPt>
          <c:dPt>
            <c:idx val="1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03B-4E21-9AEE-B90CE5F5968C}"/>
              </c:ext>
            </c:extLst>
          </c:dPt>
          <c:dLbls>
            <c:dLbl>
              <c:idx val="0"/>
              <c:layout>
                <c:manualLayout>
                  <c:x val="0.213420514434432"/>
                  <c:y val="5.2661447756381E-2"/>
                </c:manualLayout>
              </c:layout>
              <c:tx>
                <c:rich>
                  <a:bodyPr/>
                  <a:lstStyle/>
                  <a:p>
                    <a:fld id="{5536BADA-5DF6-4684-97E4-E9F56F49FDEF}" type="VALUE">
                      <a:rPr lang="en-US" sz="800"/>
                      <a:pPr/>
                      <a:t>[VALUE]</a:t>
                    </a:fld>
                    <a:r>
                      <a:rPr lang="en-US" sz="800"/>
                      <a:t> </a:t>
                    </a:r>
                    <a:r>
                      <a:rPr lang="en-US" sz="800" err="1"/>
                      <a:t>sertifikat</a:t>
                    </a:r>
                    <a:endParaRPr lang="en-US" sz="800" baseline="0"/>
                  </a:p>
                  <a:p>
                    <a:r>
                      <a:rPr lang="en-US" sz="800" b="0"/>
                      <a:t>(</a:t>
                    </a:r>
                    <a:fld id="{D3D0833C-96BF-4C9F-A1E4-2DAEE78F28FC}" type="PERCENTAGE">
                      <a:rPr lang="en-US" sz="800" b="0"/>
                      <a:pPr/>
                      <a:t>[PERCENTAGE]</a:t>
                    </a:fld>
                    <a:r>
                      <a:rPr lang="en-US" sz="800" b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6794068376844099"/>
                      <c:h val="0.2011010336493730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203B-4E21-9AEE-B90CE5F5968C}"/>
                </c:ext>
              </c:extLst>
            </c:dLbl>
            <c:dLbl>
              <c:idx val="1"/>
              <c:layout>
                <c:manualLayout>
                  <c:x val="-0.172699799135374"/>
                  <c:y val="-0.14237442310159501"/>
                </c:manualLayout>
              </c:layout>
              <c:tx>
                <c:rich>
                  <a:bodyPr/>
                  <a:lstStyle/>
                  <a:p>
                    <a:fld id="{5536BADA-5DF6-4684-97E4-E9F56F49FDEF}" type="VALUE">
                      <a:rPr lang="en-US" sz="800"/>
                      <a:pPr/>
                      <a:t>[VALUE]</a:t>
                    </a:fld>
                    <a:r>
                      <a:rPr lang="en-US" sz="800"/>
                      <a:t> </a:t>
                    </a:r>
                    <a:r>
                      <a:rPr lang="en-US" sz="800" err="1"/>
                      <a:t>sertifikat</a:t>
                    </a:r>
                    <a:endParaRPr lang="en-US" sz="800" baseline="0"/>
                  </a:p>
                  <a:p>
                    <a:r>
                      <a:rPr lang="en-US" sz="800" b="0"/>
                      <a:t>(</a:t>
                    </a:r>
                    <a:fld id="{D3D0833C-96BF-4C9F-A1E4-2DAEE78F28FC}" type="PERCENTAGE">
                      <a:rPr lang="en-US" sz="800" b="0"/>
                      <a:pPr/>
                      <a:t>[PERCENTAGE]</a:t>
                    </a:fld>
                    <a:r>
                      <a:rPr lang="en-US" sz="800" b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4288193382516901"/>
                      <c:h val="0.2011010336493730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03B-4E21-9AEE-B90CE5F5968C}"/>
                </c:ext>
              </c:extLst>
            </c:dLbl>
            <c:numFmt formatCode="#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per JENJANG'!$A$37:$A$39</c:f>
              <c:strCache>
                <c:ptCount val="2"/>
                <c:pt idx="0">
                  <c:v>SKK-K T/A/Op</c:v>
                </c:pt>
                <c:pt idx="1">
                  <c:v>SKT</c:v>
                </c:pt>
              </c:strCache>
            </c:strRef>
          </c:cat>
          <c:val>
            <c:numRef>
              <c:f>'per JENJANG'!$B$37:$B$39</c:f>
              <c:numCache>
                <c:formatCode>#,##0</c:formatCode>
                <c:ptCount val="2"/>
                <c:pt idx="0">
                  <c:v>215483</c:v>
                </c:pt>
                <c:pt idx="1">
                  <c:v>691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03B-4E21-9AEE-B90CE5F5968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678094706289698"/>
          <c:y val="0.40611393837401599"/>
          <c:w val="0.25442499047964801"/>
          <c:h val="0.245019862757993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lus Jakarta Sans" pitchFamily="2" charset="0"/>
              <a:ea typeface="+mn-ea"/>
              <a:cs typeface="Plus Jakarta Sans" pitchFamily="2" charset="0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39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Plus Jakarta Sans" pitchFamily="2" charset="0"/>
                <a:cs typeface="Plus Jakarta Sans" pitchFamily="2" charset="0"/>
              </a:rPr>
              <a:t>Jumlah Tenaga Kerja Berdasarkan Kategori</a:t>
            </a:r>
          </a:p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id-ID" sz="12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Plus Jakarta Sans" pitchFamily="2" charset="0"/>
              <a:cs typeface="Plus Jakarta Sans" pitchFamily="2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1"/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6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72077402281261"/>
              <c:y val="-0.113861615601765"/>
            </c:manualLayout>
          </c:layout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D41C8E59-B1D4-4797-95A6-074E64B65EC3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FEC8BEBB-1D8D-42C1-A14D-B22C79A5EDB4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2"/>
        <c:spPr>
          <a:solidFill>
            <a:schemeClr val="accent6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46591281174586"/>
              <c:y val="0.16026373754793499"/>
            </c:manualLayout>
          </c:layout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D41C8E59-B1D4-4797-95A6-074E64B65EC3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FEC8BEBB-1D8D-42C1-A14D-B22C79A5EDB4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3"/>
        <c:spPr>
          <a:solidFill>
            <a:schemeClr val="accent1"/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6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72077402281261"/>
              <c:y val="-0.113861615601765"/>
            </c:manualLayout>
          </c:layout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D41C8E59-B1D4-4797-95A6-074E64B65EC3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FEC8BEBB-1D8D-42C1-A14D-B22C79A5EDB4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5"/>
        <c:spPr>
          <a:solidFill>
            <a:schemeClr val="accent6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46591281174586"/>
              <c:y val="0.16026373754793499"/>
            </c:manualLayout>
          </c:layout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D41C8E59-B1D4-4797-95A6-074E64B65EC3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FEC8BEBB-1D8D-42C1-A14D-B22C79A5EDB4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6"/>
        <c:spPr>
          <a:solidFill>
            <a:schemeClr val="accent1"/>
          </a:solidFill>
          <a:ln w="19050">
            <a:noFill/>
          </a:ln>
          <a:effectLst/>
        </c:spPr>
        <c:marker>
          <c:symbol val="none"/>
        </c:marker>
        <c:dLbl>
          <c:idx val="0"/>
          <c:numFmt formatCode="#.00%" sourceLinked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spPr>
          <a:solidFill>
            <a:schemeClr val="accent6">
              <a:lumMod val="60000"/>
              <a:lumOff val="40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0.172077402281261"/>
              <c:y val="-0.113861615601765"/>
            </c:manualLayout>
          </c:layout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D41C8E59-B1D4-4797-95A6-074E64B65EC3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FEC8BEBB-1D8D-42C1-A14D-B22C79A5EDB4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  <c:pivotFmt>
        <c:idx val="8"/>
        <c:spPr>
          <a:solidFill>
            <a:schemeClr val="accent6">
              <a:lumMod val="75000"/>
            </a:schemeClr>
          </a:solidFill>
          <a:ln w="19050">
            <a:noFill/>
          </a:ln>
          <a:effectLst/>
        </c:spPr>
        <c:dLbl>
          <c:idx val="0"/>
          <c:layout>
            <c:manualLayout>
              <c:x val="-0.146591281174586"/>
              <c:y val="0.16026373754793499"/>
            </c:manualLayout>
          </c:layout>
          <c:tx>
            <c:rich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fld id="{D41C8E59-B1D4-4797-95A6-074E64B65EC3}" type="VALUE">
                  <a:rPr lang="en-US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VALUE]</a:t>
                </a:fld>
                <a:r>
                  <a:rPr lang="en-US"/>
                  <a:t> orang</a:t>
                </a:r>
                <a:endParaRPr lang="en-US" baseline="0"/>
              </a:p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r>
                  <a:rPr lang="en-US" b="0"/>
                  <a:t>(</a:t>
                </a:r>
                <a:fld id="{FEC8BEBB-1D8D-42C1-A14D-B22C79A5EDB4}" type="PERCENTAGE">
                  <a:rPr lang="en-US" b="0"/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Plus Jakarta Sans" pitchFamily="2" charset="0"/>
                      <a:ea typeface="+mn-ea"/>
                      <a:cs typeface="Plus Jakarta Sans" pitchFamily="2" charset="0"/>
                    </a:defRPr>
                  </a:pPr>
                  <a:t>[PERCENTAGE]</a:t>
                </a:fld>
                <a:r>
                  <a:rPr lang="en-US" b="0"/>
                  <a:t>)</a:t>
                </a:r>
              </a:p>
            </c:rich>
          </c:tx>
          <c:numFmt formatCode="#.00%" sourceLinked="0"/>
          <c:spPr>
            <a:noFill/>
            <a:ln>
              <a:noFill/>
            </a:ln>
            <a:effectLst/>
          </c:spPr>
          <c:showLegendKey val="0"/>
          <c:showVal val="1"/>
          <c:showCatName val="0"/>
          <c:showSerName val="0"/>
          <c:showPercent val="1"/>
          <c:showBubbleSize val="0"/>
          <c:separator>
</c:separator>
          <c:extLst xmlns:c16r2="http://schemas.microsoft.com/office/drawing/2015/06/chart">
            <c:ext xmlns:c15="http://schemas.microsoft.com/office/drawing/2012/chart" uri="{CE6537A1-D6FC-4f65-9D91-7224C49458BB}">
              <c15:dlblFieldTable/>
              <c15:showDataLabelsRange val="0"/>
            </c:ext>
          </c:extLst>
        </c:dLbl>
      </c:pivotFmt>
    </c:pivotFmts>
    <c:plotArea>
      <c:layout>
        <c:manualLayout>
          <c:layoutTarget val="inner"/>
          <c:xMode val="edge"/>
          <c:yMode val="edge"/>
          <c:x val="0.236359752885209"/>
          <c:y val="0.32993098601805199"/>
          <c:w val="0.26356724130786902"/>
          <c:h val="0.61756938095463698"/>
        </c:manualLayout>
      </c:layout>
      <c:doughnutChart>
        <c:varyColors val="1"/>
        <c:ser>
          <c:idx val="0"/>
          <c:order val="0"/>
          <c:tx>
            <c:strRef>
              <c:f>'per JENJANG'!$E$36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2EE-4529-8D08-5019EB3B7A62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2EE-4529-8D08-5019EB3B7A62}"/>
              </c:ext>
            </c:extLst>
          </c:dPt>
          <c:dLbls>
            <c:dLbl>
              <c:idx val="0"/>
              <c:layout>
                <c:manualLayout>
                  <c:x val="0.172077402281261"/>
                  <c:y val="-0.113861615601765"/>
                </c:manualLayout>
              </c:layout>
              <c:tx>
                <c:rich>
                  <a:bodyPr/>
                  <a:lstStyle/>
                  <a:p>
                    <a:fld id="{D41C8E59-B1D4-4797-95A6-074E64B65EC3}" type="VALUE">
                      <a:rPr lang="en-US" sz="800"/>
                      <a:pPr/>
                      <a:t>[VALUE]</a:t>
                    </a:fld>
                    <a:r>
                      <a:rPr lang="en-US" sz="800"/>
                      <a:t> orang</a:t>
                    </a:r>
                    <a:endParaRPr lang="en-US" sz="800" baseline="0"/>
                  </a:p>
                  <a:p>
                    <a:r>
                      <a:rPr lang="en-US" sz="800" b="0"/>
                      <a:t>(</a:t>
                    </a:r>
                    <a:fld id="{FEC8BEBB-1D8D-42C1-A14D-B22C79A5EDB4}" type="PERCENTAGE">
                      <a:rPr lang="en-US" sz="800" b="0"/>
                      <a:pPr/>
                      <a:t>[PERCENTAGE]</a:t>
                    </a:fld>
                    <a:r>
                      <a:rPr lang="en-US" sz="800" b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2EE-4529-8D08-5019EB3B7A62}"/>
                </c:ext>
              </c:extLst>
            </c:dLbl>
            <c:dLbl>
              <c:idx val="1"/>
              <c:layout>
                <c:manualLayout>
                  <c:x val="-0.165385283213203"/>
                  <c:y val="8.9661541377760001E-2"/>
                </c:manualLayout>
              </c:layout>
              <c:tx>
                <c:rich>
                  <a:bodyPr/>
                  <a:lstStyle/>
                  <a:p>
                    <a:fld id="{D41C8E59-B1D4-4797-95A6-074E64B65EC3}" type="VALUE">
                      <a:rPr lang="en-US" sz="800"/>
                      <a:pPr/>
                      <a:t>[VALUE]</a:t>
                    </a:fld>
                    <a:r>
                      <a:rPr lang="en-US" sz="800"/>
                      <a:t> orang</a:t>
                    </a:r>
                    <a:endParaRPr lang="en-US" sz="800" baseline="0"/>
                  </a:p>
                  <a:p>
                    <a:r>
                      <a:rPr lang="en-US" sz="800" b="0"/>
                      <a:t>(</a:t>
                    </a:r>
                    <a:fld id="{FEC8BEBB-1D8D-42C1-A14D-B22C79A5EDB4}" type="PERCENTAGE">
                      <a:rPr lang="en-US" sz="800" b="0"/>
                      <a:pPr/>
                      <a:t>[PERCENTAGE]</a:t>
                    </a:fld>
                    <a:r>
                      <a:rPr lang="en-US" sz="800" b="0"/>
                      <a:t>)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2EE-4529-8D08-5019EB3B7A62}"/>
                </c:ext>
              </c:extLst>
            </c:dLbl>
            <c:numFmt formatCode="#.0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per JENJANG'!$D$37:$D$39</c:f>
              <c:strCache>
                <c:ptCount val="2"/>
                <c:pt idx="0">
                  <c:v>Tenaga Terampil</c:v>
                </c:pt>
                <c:pt idx="1">
                  <c:v>TKK Terampil</c:v>
                </c:pt>
              </c:strCache>
            </c:strRef>
          </c:cat>
          <c:val>
            <c:numRef>
              <c:f>'per JENJANG'!$E$37:$E$39</c:f>
              <c:numCache>
                <c:formatCode>#,##0</c:formatCode>
                <c:ptCount val="2"/>
                <c:pt idx="0">
                  <c:v>65534</c:v>
                </c:pt>
                <c:pt idx="1">
                  <c:v>17769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92EE-4529-8D08-5019EB3B7A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Plus Jakarta Sans" pitchFamily="2" charset="0"/>
              <a:ea typeface="+mn-ea"/>
              <a:cs typeface="Plus Jakarta Sans" pitchFamily="2" charset="0"/>
            </a:defRPr>
          </a:pPr>
          <a:endParaRPr lang="en-US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</c14:pivotOptions>
    </c:ext>
  </c:extLst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30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/>
              <a:t>Jumlah SKT Berdasarkan Kualifikasi</a:t>
            </a:r>
          </a:p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id-ID" sz="12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5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5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5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5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er JENJANG'!$B$4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r JENJANG'!$A$45:$A$48</c:f>
              <c:strCache>
                <c:ptCount val="3"/>
                <c:pt idx="0">
                  <c:v>Kelas II</c:v>
                </c:pt>
                <c:pt idx="1">
                  <c:v>Kelas III</c:v>
                </c:pt>
                <c:pt idx="2">
                  <c:v>Kelas I</c:v>
                </c:pt>
              </c:strCache>
            </c:strRef>
          </c:cat>
          <c:val>
            <c:numRef>
              <c:f>'per JENJANG'!$B$45:$B$48</c:f>
              <c:numCache>
                <c:formatCode>#,##0</c:formatCode>
                <c:ptCount val="3"/>
                <c:pt idx="0">
                  <c:v>23782</c:v>
                </c:pt>
                <c:pt idx="1">
                  <c:v>23127</c:v>
                </c:pt>
                <c:pt idx="2">
                  <c:v>222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3E3-43F4-9F58-1CEC1D53F22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22157184"/>
        <c:axId val="322160128"/>
      </c:barChart>
      <c:catAx>
        <c:axId val="322157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322160128"/>
        <c:crosses val="autoZero"/>
        <c:auto val="1"/>
        <c:lblAlgn val="ctr"/>
        <c:lblOffset val="100"/>
        <c:noMultiLvlLbl val="0"/>
      </c:catAx>
      <c:valAx>
        <c:axId val="32216012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22157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31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Plus Jakarta Sans" pitchFamily="2" charset="0"/>
                <a:cs typeface="Plus Jakarta Sans" pitchFamily="2" charset="0"/>
              </a:rPr>
              <a:t>Jumlah SKK T/A/Op Berdasarkan Jenjang</a:t>
            </a:r>
          </a:p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id-ID" sz="12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Plus Jakarta Sans" pitchFamily="2" charset="0"/>
              <a:cs typeface="Plus Jakarta Sans" pitchFamily="2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2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2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2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2">
              <a:lumMod val="75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er JENJANG'!$B$53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r JENJANG'!$A$54:$A$60</c:f>
              <c:strCache>
                <c:ptCount val="6"/>
                <c:pt idx="0">
                  <c:v>Jenjang 4</c:v>
                </c:pt>
                <c:pt idx="1">
                  <c:v>Jenjang 6</c:v>
                </c:pt>
                <c:pt idx="2">
                  <c:v>Jenjang 5</c:v>
                </c:pt>
                <c:pt idx="3">
                  <c:v>Jenjang 1</c:v>
                </c:pt>
                <c:pt idx="4">
                  <c:v>Jenjang 3</c:v>
                </c:pt>
                <c:pt idx="5">
                  <c:v>Jenjang 2</c:v>
                </c:pt>
              </c:strCache>
            </c:strRef>
          </c:cat>
          <c:val>
            <c:numRef>
              <c:f>'per JENJANG'!$B$54:$B$60</c:f>
              <c:numCache>
                <c:formatCode>#,##0</c:formatCode>
                <c:ptCount val="6"/>
                <c:pt idx="0">
                  <c:v>67414</c:v>
                </c:pt>
                <c:pt idx="1">
                  <c:v>50777</c:v>
                </c:pt>
                <c:pt idx="2">
                  <c:v>41870</c:v>
                </c:pt>
                <c:pt idx="3">
                  <c:v>24593</c:v>
                </c:pt>
                <c:pt idx="4">
                  <c:v>17598</c:v>
                </c:pt>
                <c:pt idx="5">
                  <c:v>132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FF1-485E-AFA6-4ECD45D313F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7"/>
        <c:axId val="324895872"/>
        <c:axId val="324919296"/>
      </c:barChart>
      <c:catAx>
        <c:axId val="324895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324919296"/>
        <c:crosses val="autoZero"/>
        <c:auto val="1"/>
        <c:lblAlgn val="ctr"/>
        <c:lblOffset val="100"/>
        <c:noMultiLvlLbl val="0"/>
      </c:catAx>
      <c:valAx>
        <c:axId val="324919296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2489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01042024 - Sertifikat, TKK, dan Skema (1).xlsx]per JENJANG!PivotTable38</c:name>
    <c:fmtId val="-1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r>
              <a:rPr lang="en-US" sz="12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Plus Jakarta Sans" pitchFamily="2" charset="0"/>
                <a:cs typeface="Plus Jakarta Sans" pitchFamily="2" charset="0"/>
              </a:rPr>
              <a:t>Jumlah Tenaga Terampil Berdasarkan Kualifikasi</a:t>
            </a:r>
          </a:p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id-ID" sz="12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Plus Jakarta Sans" pitchFamily="2" charset="0"/>
              <a:cs typeface="Plus Jakarta Sans" pitchFamily="2" charset="0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ivotFmts>
      <c:pivotFmt>
        <c:idx val="0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6">
              <a:lumMod val="60000"/>
              <a:lumOff val="40000"/>
            </a:schemeClr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Plus Jakarta Sans" pitchFamily="2" charset="0"/>
                  <a:ea typeface="+mn-ea"/>
                  <a:cs typeface="Plus Jakarta Sans" pitchFamily="2" charset="0"/>
                </a:defRPr>
              </a:pPr>
              <a:endParaRPr lang="en-US"/>
            </a:p>
          </c:txPr>
          <c:dLblPos val="outEnd"/>
          <c:showLegendKey val="0"/>
          <c:showVal val="1"/>
          <c:showCatName val="0"/>
          <c:showSerName val="0"/>
          <c:showPercent val="0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per JENJANG'!$E$4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Plus Jakarta Sans" pitchFamily="2" charset="0"/>
                    <a:ea typeface="+mn-ea"/>
                    <a:cs typeface="Plus Jakarta Sans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er JENJANG'!$D$45:$D$48</c:f>
              <c:strCache>
                <c:ptCount val="3"/>
                <c:pt idx="0">
                  <c:v>Kelas II</c:v>
                </c:pt>
                <c:pt idx="1">
                  <c:v>Kelas III</c:v>
                </c:pt>
                <c:pt idx="2">
                  <c:v>Kelas I</c:v>
                </c:pt>
              </c:strCache>
            </c:strRef>
          </c:cat>
          <c:val>
            <c:numRef>
              <c:f>'per JENJANG'!$E$45:$E$48</c:f>
              <c:numCache>
                <c:formatCode>#,##0</c:formatCode>
                <c:ptCount val="3"/>
                <c:pt idx="0">
                  <c:v>23263</c:v>
                </c:pt>
                <c:pt idx="1">
                  <c:v>22668</c:v>
                </c:pt>
                <c:pt idx="2">
                  <c:v>196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860-4DC6-A0A5-E451D3E3D0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326336512"/>
        <c:axId val="326338048"/>
      </c:barChart>
      <c:catAx>
        <c:axId val="326336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Plus Jakarta Sans" pitchFamily="2" charset="0"/>
                <a:ea typeface="+mn-ea"/>
                <a:cs typeface="Plus Jakarta Sans" pitchFamily="2" charset="0"/>
              </a:defRPr>
            </a:pPr>
            <a:endParaRPr lang="en-US"/>
          </a:p>
        </c:txPr>
        <c:crossAx val="326338048"/>
        <c:crosses val="autoZero"/>
        <c:auto val="1"/>
        <c:lblAlgn val="ctr"/>
        <c:lblOffset val="100"/>
        <c:noMultiLvlLbl val="0"/>
      </c:catAx>
      <c:valAx>
        <c:axId val="3263380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263365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latin typeface="Plus Jakarta Sans" pitchFamily="2" charset="0"/>
          <a:cs typeface="Plus Jakarta Sans" pitchFamily="2" charset="0"/>
        </a:defRPr>
      </a:pPr>
      <a:endParaRPr lang="en-US"/>
    </a:p>
  </c:txPr>
  <c:externalData r:id="rId1">
    <c:autoUpdate val="0"/>
  </c:externalData>
  <c:extLst xmlns:c16r2="http://schemas.microsoft.com/office/drawing/2015/06/chart">
    <c:ext xmlns:c16="http://schemas.microsoft.com/office/drawing/2014/chart" uri="{E28EC0CA-F0BB-4C9C-879D-F8772B89E7AC}">
      <c16:pivotOptions16>
        <c16:showExpandCollapseFieldButtons val="1"/>
      </c16:pivotOptions16>
    </c:ext>
    <c:ext xmlns:c14="http://schemas.microsoft.com/office/drawing/2007/8/2/chart" uri="{781A3756-C4B2-4CAC-9D66-4F8BD8637D16}">
      <c14:pivotOptions>
        <c14:dropZoneFilter val="1"/>
        <c14:dropZoneCategories val="1"/>
        <c14:dropZoneData val="1"/>
      </c14:pivotOptions>
    </c:ext>
  </c:extLst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2B9D00-C826-4E11-8429-177F52B13C39}" type="doc">
      <dgm:prSet loTypeId="urn:microsoft.com/office/officeart/2005/8/layout/process5" loCatId="process" qsTypeId="urn:microsoft.com/office/officeart/2005/8/quickstyle/3d4" qsCatId="3D" csTypeId="urn:microsoft.com/office/officeart/2005/8/colors/accent6_1" csCatId="accent6" phldr="1"/>
      <dgm:spPr/>
      <dgm:t>
        <a:bodyPr/>
        <a:lstStyle/>
        <a:p>
          <a:endParaRPr lang="id-ID"/>
        </a:p>
      </dgm:t>
    </dgm:pt>
    <dgm:pt modelId="{AD54CEA8-5F53-4347-86E7-E38FF30F9C6D}">
      <dgm:prSet phldrT="[Text]"/>
      <dgm:spPr/>
      <dgm:t>
        <a:bodyPr/>
        <a:lstStyle/>
        <a:p>
          <a:r>
            <a:rPr lang="en-US" dirty="0" err="1"/>
            <a:t>Akses</a:t>
          </a:r>
          <a:r>
            <a:rPr lang="en-US" dirty="0"/>
            <a:t> Portal </a:t>
          </a:r>
          <a:r>
            <a:rPr lang="en-US" dirty="0" err="1"/>
            <a:t>Perizinan</a:t>
          </a:r>
          <a:r>
            <a:rPr lang="en-US" dirty="0"/>
            <a:t> PUPR</a:t>
          </a:r>
          <a:endParaRPr lang="id-ID" dirty="0"/>
        </a:p>
      </dgm:t>
    </dgm:pt>
    <dgm:pt modelId="{DE73FDEF-55AF-4C8C-BC8B-D06C900BD70A}" type="parTrans" cxnId="{E2A43AF9-53FA-4ADA-88A5-FAC0B7DB1532}">
      <dgm:prSet/>
      <dgm:spPr/>
      <dgm:t>
        <a:bodyPr/>
        <a:lstStyle/>
        <a:p>
          <a:endParaRPr lang="id-ID"/>
        </a:p>
      </dgm:t>
    </dgm:pt>
    <dgm:pt modelId="{7687A3FF-D23F-4D53-AB0F-6B1DA8BA7B9C}" type="sibTrans" cxnId="{E2A43AF9-53FA-4ADA-88A5-FAC0B7DB1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310EC75C-E063-4A6D-B708-652AE6A98FFB}">
      <dgm:prSet phldrT="[Text]"/>
      <dgm:spPr/>
      <dgm:t>
        <a:bodyPr/>
        <a:lstStyle/>
        <a:p>
          <a:r>
            <a:rPr lang="en-US" dirty="0" err="1"/>
            <a:t>Registrasi</a:t>
          </a:r>
          <a:r>
            <a:rPr lang="en-US" dirty="0"/>
            <a:t> </a:t>
          </a:r>
          <a:r>
            <a:rPr lang="en-US" dirty="0" err="1"/>
            <a:t>Akun</a:t>
          </a:r>
          <a:r>
            <a:rPr lang="en-US" dirty="0"/>
            <a:t> SKK-K</a:t>
          </a:r>
          <a:endParaRPr lang="id-ID" dirty="0"/>
        </a:p>
      </dgm:t>
    </dgm:pt>
    <dgm:pt modelId="{DC529E6A-B598-4A66-9DC8-0689D344A803}" type="parTrans" cxnId="{302F391F-B1A8-486D-BCEF-F541FE7143D4}">
      <dgm:prSet/>
      <dgm:spPr/>
      <dgm:t>
        <a:bodyPr/>
        <a:lstStyle/>
        <a:p>
          <a:endParaRPr lang="id-ID"/>
        </a:p>
      </dgm:t>
    </dgm:pt>
    <dgm:pt modelId="{F26F70EC-E779-4452-97E7-E0713E7366DB}" type="sibTrans" cxnId="{302F391F-B1A8-486D-BCEF-F541FE7143D4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EF4EB16-B0C9-452C-B68A-00BB68859A7B}">
      <dgm:prSet phldrT="[Text]"/>
      <dgm:spPr/>
      <dgm:t>
        <a:bodyPr/>
        <a:lstStyle/>
        <a:p>
          <a:r>
            <a:rPr lang="en-US" dirty="0" err="1"/>
            <a:t>Permohonan</a:t>
          </a:r>
          <a:r>
            <a:rPr lang="en-US" dirty="0"/>
            <a:t> SKK</a:t>
          </a:r>
          <a:endParaRPr lang="id-ID" dirty="0"/>
        </a:p>
      </dgm:t>
    </dgm:pt>
    <dgm:pt modelId="{0FF0BCAB-0768-45C1-BC0F-0C57BDC601F9}" type="parTrans" cxnId="{6306278D-C6FA-40B1-933C-9AA417BA0B56}">
      <dgm:prSet/>
      <dgm:spPr/>
      <dgm:t>
        <a:bodyPr/>
        <a:lstStyle/>
        <a:p>
          <a:endParaRPr lang="id-ID"/>
        </a:p>
      </dgm:t>
    </dgm:pt>
    <dgm:pt modelId="{B9A78629-975F-4B90-AE96-9E5B92F536AA}" type="sibTrans" cxnId="{6306278D-C6FA-40B1-933C-9AA417BA0B56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4E899A98-15D4-4256-AA7B-5F8B4291E564}">
      <dgm:prSet phldrT="[Text]"/>
      <dgm:spPr/>
      <dgm:t>
        <a:bodyPr/>
        <a:lstStyle/>
        <a:p>
          <a:r>
            <a:rPr lang="en-US" dirty="0" err="1"/>
            <a:t>Pengisian</a:t>
          </a:r>
          <a:r>
            <a:rPr lang="en-US" dirty="0"/>
            <a:t> Data Personal dan </a:t>
          </a:r>
          <a:r>
            <a:rPr lang="en-US" dirty="0" err="1"/>
            <a:t>Persyaratan</a:t>
          </a:r>
          <a:endParaRPr lang="id-ID" dirty="0"/>
        </a:p>
      </dgm:t>
    </dgm:pt>
    <dgm:pt modelId="{E60EB875-8DE7-483C-BC93-388F2A9709FE}" type="parTrans" cxnId="{BF9A43E2-1D21-4746-83E6-0B3A0D6475FB}">
      <dgm:prSet/>
      <dgm:spPr/>
      <dgm:t>
        <a:bodyPr/>
        <a:lstStyle/>
        <a:p>
          <a:endParaRPr lang="id-ID"/>
        </a:p>
      </dgm:t>
    </dgm:pt>
    <dgm:pt modelId="{8B9E4C69-BF9B-4B9A-BD80-944831447FF2}" type="sibTrans" cxnId="{BF9A43E2-1D21-4746-83E6-0B3A0D6475FB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76611A96-8D89-4ABC-A2D5-6376D1FAA627}">
      <dgm:prSet phldrT="[Text]"/>
      <dgm:spPr/>
      <dgm:t>
        <a:bodyPr/>
        <a:lstStyle/>
        <a:p>
          <a:r>
            <a:rPr lang="en-US" dirty="0" err="1"/>
            <a:t>Mendapatkan</a:t>
          </a:r>
          <a:endParaRPr lang="en-US" dirty="0"/>
        </a:p>
        <a:p>
          <a:r>
            <a:rPr lang="en-US" dirty="0"/>
            <a:t>ID-</a:t>
          </a:r>
          <a:r>
            <a:rPr lang="en-US" dirty="0" err="1"/>
            <a:t>Izin</a:t>
          </a:r>
          <a:endParaRPr lang="en-US" dirty="0"/>
        </a:p>
      </dgm:t>
    </dgm:pt>
    <dgm:pt modelId="{664007BD-9DE2-40B1-A604-17B906DB5D4F}" type="parTrans" cxnId="{E17DD8EA-AF9B-49B8-9FE5-8D3BE60DC532}">
      <dgm:prSet/>
      <dgm:spPr/>
      <dgm:t>
        <a:bodyPr/>
        <a:lstStyle/>
        <a:p>
          <a:endParaRPr lang="id-ID"/>
        </a:p>
      </dgm:t>
    </dgm:pt>
    <dgm:pt modelId="{3C94571C-248A-4A3D-B20F-21729F420AE2}" type="sibTrans" cxnId="{E17DD8EA-AF9B-49B8-9FE5-8D3BE60DC532}">
      <dgm:prSet/>
      <dgm:spPr>
        <a:solidFill>
          <a:srgbClr val="00B0F0"/>
        </a:solidFill>
        <a:ln>
          <a:noFill/>
        </a:ln>
      </dgm:spPr>
      <dgm:t>
        <a:bodyPr/>
        <a:lstStyle/>
        <a:p>
          <a:r>
            <a:rPr lang="en-US" dirty="0">
              <a:highlight>
                <a:srgbClr val="FFFF00"/>
              </a:highlight>
            </a:rPr>
            <a:t>20</a:t>
          </a:r>
          <a:endParaRPr lang="id-ID" dirty="0">
            <a:highlight>
              <a:srgbClr val="FFFF00"/>
            </a:highlight>
          </a:endParaRPr>
        </a:p>
      </dgm:t>
    </dgm:pt>
    <dgm:pt modelId="{A2DE258B-5EDD-47A4-A98D-065D917BEA6A}">
      <dgm:prSet phldrT="[Text]"/>
      <dgm:spPr/>
      <dgm:t>
        <a:bodyPr/>
        <a:lstStyle/>
        <a:p>
          <a:r>
            <a:rPr lang="en-US" dirty="0" err="1"/>
            <a:t>Permohonan</a:t>
          </a:r>
          <a:r>
            <a:rPr lang="en-US" dirty="0"/>
            <a:t> </a:t>
          </a:r>
          <a:r>
            <a:rPr lang="en-US" dirty="0" err="1"/>
            <a:t>Diterima</a:t>
          </a:r>
          <a:r>
            <a:rPr lang="en-US" dirty="0"/>
            <a:t> LSP</a:t>
          </a:r>
        </a:p>
      </dgm:t>
    </dgm:pt>
    <dgm:pt modelId="{FCFAA163-428E-432A-AC4A-0C193CBD4A8D}" type="parTrans" cxnId="{39237697-2E58-484C-ABA4-C86F5629A50A}">
      <dgm:prSet/>
      <dgm:spPr/>
      <dgm:t>
        <a:bodyPr/>
        <a:lstStyle/>
        <a:p>
          <a:endParaRPr lang="id-ID"/>
        </a:p>
      </dgm:t>
    </dgm:pt>
    <dgm:pt modelId="{D13B4EC8-F381-4E7D-AB9E-D011BAF0CD91}" type="sibTrans" cxnId="{39237697-2E58-484C-ABA4-C86F5629A50A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A62AF5F-6435-4364-A72A-478E6CFEE794}">
      <dgm:prSet phldrT="[Text]"/>
      <dgm:spPr/>
      <dgm:t>
        <a:bodyPr/>
        <a:lstStyle/>
        <a:p>
          <a:r>
            <a:rPr lang="en-US" dirty="0" err="1"/>
            <a:t>Verifikasi</a:t>
          </a:r>
          <a:r>
            <a:rPr lang="en-US" dirty="0"/>
            <a:t> </a:t>
          </a:r>
          <a:r>
            <a:rPr lang="en-US" dirty="0" err="1"/>
            <a:t>Kelengkapan</a:t>
          </a:r>
          <a:endParaRPr lang="en-US" dirty="0"/>
        </a:p>
      </dgm:t>
    </dgm:pt>
    <dgm:pt modelId="{54E1A5CC-FC95-4B5C-8E76-70D09B9F9705}" type="parTrans" cxnId="{6FE6A8E4-FA3A-49B6-9901-C9DA34466931}">
      <dgm:prSet/>
      <dgm:spPr/>
      <dgm:t>
        <a:bodyPr/>
        <a:lstStyle/>
        <a:p>
          <a:endParaRPr lang="id-ID"/>
        </a:p>
      </dgm:t>
    </dgm:pt>
    <dgm:pt modelId="{5F942606-2424-4829-90AD-5B91C84FC30D}" type="sibTrans" cxnId="{6FE6A8E4-FA3A-49B6-9901-C9DA34466931}">
      <dgm:prSet/>
      <dgm:spPr>
        <a:solidFill>
          <a:srgbClr val="00B0F0"/>
        </a:solidFill>
        <a:ln>
          <a:noFill/>
        </a:ln>
      </dgm:spPr>
      <dgm:t>
        <a:bodyPr/>
        <a:lstStyle/>
        <a:p>
          <a:r>
            <a:rPr lang="en-US" dirty="0">
              <a:highlight>
                <a:srgbClr val="FFFF00"/>
              </a:highlight>
            </a:rPr>
            <a:t>11</a:t>
          </a:r>
          <a:endParaRPr lang="id-ID" dirty="0">
            <a:highlight>
              <a:srgbClr val="FFFF00"/>
            </a:highlight>
          </a:endParaRPr>
        </a:p>
      </dgm:t>
    </dgm:pt>
    <dgm:pt modelId="{21A7C13D-FF6D-4CD5-A5D6-359A981AEAF3}">
      <dgm:prSet phldrT="[Text]"/>
      <dgm:spPr/>
      <dgm:t>
        <a:bodyPr/>
        <a:lstStyle/>
        <a:p>
          <a:r>
            <a:rPr lang="en-US" dirty="0" err="1"/>
            <a:t>Pembayaran</a:t>
          </a:r>
          <a:endParaRPr lang="en-US" dirty="0"/>
        </a:p>
      </dgm:t>
    </dgm:pt>
    <dgm:pt modelId="{A1DA8FDB-A69A-4776-85C4-89D44544563B}" type="parTrans" cxnId="{A7AF24D7-7A32-495E-A728-33B6EB87644D}">
      <dgm:prSet/>
      <dgm:spPr/>
      <dgm:t>
        <a:bodyPr/>
        <a:lstStyle/>
        <a:p>
          <a:endParaRPr lang="id-ID"/>
        </a:p>
      </dgm:t>
    </dgm:pt>
    <dgm:pt modelId="{144435B7-8C3A-43C1-B9ED-815C237DE833}" type="sibTrans" cxnId="{A7AF24D7-7A32-495E-A728-33B6EB87644D}">
      <dgm:prSet/>
      <dgm:spPr>
        <a:solidFill>
          <a:srgbClr val="00B0F0"/>
        </a:solidFill>
        <a:ln>
          <a:noFill/>
        </a:ln>
      </dgm:spPr>
      <dgm:t>
        <a:bodyPr/>
        <a:lstStyle/>
        <a:p>
          <a:r>
            <a:rPr lang="en-US" dirty="0">
              <a:highlight>
                <a:srgbClr val="FFFF00"/>
              </a:highlight>
            </a:rPr>
            <a:t>31</a:t>
          </a:r>
          <a:endParaRPr lang="id-ID" dirty="0">
            <a:highlight>
              <a:srgbClr val="FFFF00"/>
            </a:highlight>
          </a:endParaRPr>
        </a:p>
      </dgm:t>
    </dgm:pt>
    <dgm:pt modelId="{997EB590-F184-40B9-B422-CDD04BC86DB3}">
      <dgm:prSet phldrT="[Text]"/>
      <dgm:spPr/>
      <dgm:t>
        <a:bodyPr/>
        <a:lstStyle/>
        <a:p>
          <a:r>
            <a:rPr lang="en-US" dirty="0"/>
            <a:t>Uji </a:t>
          </a:r>
          <a:r>
            <a:rPr lang="en-US" dirty="0" err="1"/>
            <a:t>Kompetensi</a:t>
          </a:r>
          <a:endParaRPr lang="en-US" dirty="0"/>
        </a:p>
      </dgm:t>
    </dgm:pt>
    <dgm:pt modelId="{1DA14726-53EF-4823-B553-F4F5FB0C2891}" type="parTrans" cxnId="{248E913F-F986-4C61-B0CA-ADDBD4285CD9}">
      <dgm:prSet/>
      <dgm:spPr/>
      <dgm:t>
        <a:bodyPr/>
        <a:lstStyle/>
        <a:p>
          <a:endParaRPr lang="id-ID"/>
        </a:p>
      </dgm:t>
    </dgm:pt>
    <dgm:pt modelId="{F831478C-E0B0-48C6-A4A5-1917C276FBD6}" type="sibTrans" cxnId="{248E913F-F986-4C61-B0CA-ADDBD4285CD9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0D1DC267-EDB7-48C8-8BFA-4E7B7031A1E1}">
      <dgm:prSet phldrT="[Text]"/>
      <dgm:spPr/>
      <dgm:t>
        <a:bodyPr/>
        <a:lstStyle/>
        <a:p>
          <a:r>
            <a:rPr lang="en-US" dirty="0" err="1"/>
            <a:t>Penetapan</a:t>
          </a:r>
          <a:r>
            <a:rPr lang="en-US" dirty="0"/>
            <a:t> Hasil Uji </a:t>
          </a:r>
          <a:r>
            <a:rPr lang="en-US" dirty="0" err="1"/>
            <a:t>Kompetensi</a:t>
          </a:r>
          <a:r>
            <a:rPr lang="en-US" dirty="0"/>
            <a:t> oleh </a:t>
          </a:r>
          <a:r>
            <a:rPr lang="en-US" dirty="0" err="1"/>
            <a:t>Komite</a:t>
          </a:r>
          <a:r>
            <a:rPr lang="en-US" dirty="0"/>
            <a:t> Teknis</a:t>
          </a:r>
        </a:p>
      </dgm:t>
    </dgm:pt>
    <dgm:pt modelId="{AB64DA9E-ABDB-4FF6-911E-D6747CAD5678}" type="parTrans" cxnId="{744DF3DB-9E55-4042-8AB2-40EDDE4E90F7}">
      <dgm:prSet/>
      <dgm:spPr/>
      <dgm:t>
        <a:bodyPr/>
        <a:lstStyle/>
        <a:p>
          <a:endParaRPr lang="id-ID"/>
        </a:p>
      </dgm:t>
    </dgm:pt>
    <dgm:pt modelId="{BE8F2A95-D086-4AF1-A9DE-4EF362944DEF}" type="sibTrans" cxnId="{744DF3DB-9E55-4042-8AB2-40EDDE4E90F7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5FBD4B3-25FF-4E45-86FF-AB1F5232052A}">
      <dgm:prSet phldrT="[Text]"/>
      <dgm:spPr/>
      <dgm:t>
        <a:bodyPr/>
        <a:lstStyle/>
        <a:p>
          <a:r>
            <a:rPr lang="en-US" dirty="0" err="1"/>
            <a:t>Pencatatan</a:t>
          </a:r>
          <a:endParaRPr lang="en-US" dirty="0"/>
        </a:p>
      </dgm:t>
    </dgm:pt>
    <dgm:pt modelId="{C6107E0F-C51C-4220-A03E-3198B31EACA2}" type="parTrans" cxnId="{C27BF15E-E6C0-4A17-AC67-E89E003C9B66}">
      <dgm:prSet/>
      <dgm:spPr/>
      <dgm:t>
        <a:bodyPr/>
        <a:lstStyle/>
        <a:p>
          <a:endParaRPr lang="id-ID"/>
        </a:p>
      </dgm:t>
    </dgm:pt>
    <dgm:pt modelId="{684D34C8-B14C-43A1-9553-E3A9FBB5773E}" type="sibTrans" cxnId="{C27BF15E-E6C0-4A17-AC67-E89E003C9B66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551C04F-020F-495D-A318-D01245191349}">
      <dgm:prSet phldrT="[Text]"/>
      <dgm:spPr/>
      <dgm:t>
        <a:bodyPr/>
        <a:lstStyle/>
        <a:p>
          <a:r>
            <a:rPr lang="en-US" dirty="0" err="1"/>
            <a:t>Penerbitan</a:t>
          </a:r>
          <a:r>
            <a:rPr lang="en-US" dirty="0"/>
            <a:t> SKK-K </a:t>
          </a:r>
          <a:r>
            <a:rPr lang="en-US" dirty="0" err="1"/>
            <a:t>elektronik</a:t>
          </a:r>
          <a:endParaRPr lang="en-US" dirty="0"/>
        </a:p>
      </dgm:t>
    </dgm:pt>
    <dgm:pt modelId="{BCDB9010-55FA-404A-9363-BA57C20B00BD}" type="parTrans" cxnId="{C68991A4-5230-48BD-8050-DDEA24FF64A5}">
      <dgm:prSet/>
      <dgm:spPr/>
      <dgm:t>
        <a:bodyPr/>
        <a:lstStyle/>
        <a:p>
          <a:endParaRPr lang="id-ID"/>
        </a:p>
      </dgm:t>
    </dgm:pt>
    <dgm:pt modelId="{7F9DF969-7821-47A1-8C06-4A22D451FC9B}" type="sibTrans" cxnId="{C68991A4-5230-48BD-8050-DDEA24FF64A5}">
      <dgm:prSet/>
      <dgm:spPr>
        <a:solidFill>
          <a:srgbClr val="00B0F0"/>
        </a:solidFill>
        <a:ln>
          <a:noFill/>
        </a:ln>
      </dgm:spPr>
      <dgm:t>
        <a:bodyPr/>
        <a:lstStyle/>
        <a:p>
          <a:r>
            <a:rPr lang="en-US" dirty="0">
              <a:highlight>
                <a:srgbClr val="FFFF00"/>
              </a:highlight>
            </a:rPr>
            <a:t>50</a:t>
          </a:r>
          <a:endParaRPr lang="id-ID" dirty="0">
            <a:highlight>
              <a:srgbClr val="FFFF00"/>
            </a:highlight>
          </a:endParaRPr>
        </a:p>
      </dgm:t>
    </dgm:pt>
    <dgm:pt modelId="{E21B05AE-37BA-4E2B-8FD5-72104FB09C1D}">
      <dgm:prSet phldrT="[Text]"/>
      <dgm:spPr/>
      <dgm:t>
        <a:bodyPr/>
        <a:lstStyle/>
        <a:p>
          <a:r>
            <a:rPr lang="en-US" dirty="0"/>
            <a:t>SKK-K </a:t>
          </a:r>
          <a:r>
            <a:rPr lang="en-US" dirty="0" err="1"/>
            <a:t>elektronik</a:t>
          </a:r>
          <a:r>
            <a:rPr lang="en-US" dirty="0"/>
            <a:t> </a:t>
          </a:r>
          <a:r>
            <a:rPr lang="en-US" dirty="0" err="1"/>
            <a:t>diterima</a:t>
          </a:r>
          <a:r>
            <a:rPr lang="en-US" dirty="0"/>
            <a:t> </a:t>
          </a:r>
          <a:r>
            <a:rPr lang="en-US" dirty="0" err="1"/>
            <a:t>melalui</a:t>
          </a:r>
          <a:r>
            <a:rPr lang="en-US" dirty="0"/>
            <a:t> Portal </a:t>
          </a:r>
          <a:r>
            <a:rPr lang="en-US" dirty="0" err="1"/>
            <a:t>Perizinan</a:t>
          </a:r>
          <a:r>
            <a:rPr lang="en-US" dirty="0"/>
            <a:t> PUPR</a:t>
          </a:r>
        </a:p>
      </dgm:t>
    </dgm:pt>
    <dgm:pt modelId="{5C563D78-770A-4DF6-BC95-B4BC1C645274}" type="parTrans" cxnId="{03E81614-2C05-4D82-AD24-C91E420E0F41}">
      <dgm:prSet/>
      <dgm:spPr/>
      <dgm:t>
        <a:bodyPr/>
        <a:lstStyle/>
        <a:p>
          <a:endParaRPr lang="id-ID"/>
        </a:p>
      </dgm:t>
    </dgm:pt>
    <dgm:pt modelId="{0EC1CEC8-6FEA-419F-B3F7-46016423A010}" type="sibTrans" cxnId="{03E81614-2C05-4D82-AD24-C91E420E0F41}">
      <dgm:prSet/>
      <dgm:spPr/>
      <dgm:t>
        <a:bodyPr/>
        <a:lstStyle/>
        <a:p>
          <a:endParaRPr lang="id-ID"/>
        </a:p>
      </dgm:t>
    </dgm:pt>
    <dgm:pt modelId="{5B07F661-21FD-4226-B11E-25E019FF7B66}">
      <dgm:prSet phldrT="[Text]"/>
      <dgm:spPr/>
      <dgm:t>
        <a:bodyPr/>
        <a:lstStyle/>
        <a:p>
          <a:r>
            <a:rPr lang="en-US" dirty="0"/>
            <a:t>Login </a:t>
          </a:r>
          <a:r>
            <a:rPr lang="en-US" dirty="0" err="1"/>
            <a:t>dengan</a:t>
          </a:r>
          <a:r>
            <a:rPr lang="en-US" dirty="0"/>
            <a:t> </a:t>
          </a:r>
          <a:r>
            <a:rPr lang="en-US" dirty="0" err="1"/>
            <a:t>akun</a:t>
          </a:r>
          <a:r>
            <a:rPr lang="en-US" dirty="0"/>
            <a:t> </a:t>
          </a:r>
          <a:r>
            <a:rPr lang="en-US" dirty="0" err="1"/>
            <a:t>yg</a:t>
          </a:r>
          <a:r>
            <a:rPr lang="en-US" dirty="0"/>
            <a:t> </a:t>
          </a:r>
          <a:r>
            <a:rPr lang="en-US" dirty="0" err="1"/>
            <a:t>dikirim</a:t>
          </a:r>
          <a:r>
            <a:rPr lang="en-US" dirty="0"/>
            <a:t> </a:t>
          </a:r>
          <a:r>
            <a:rPr lang="en-US" dirty="0" err="1"/>
            <a:t>melalui</a:t>
          </a:r>
          <a:r>
            <a:rPr lang="en-US" dirty="0"/>
            <a:t> Email</a:t>
          </a:r>
          <a:endParaRPr lang="id-ID" dirty="0"/>
        </a:p>
      </dgm:t>
    </dgm:pt>
    <dgm:pt modelId="{65D33F37-9CD7-40B7-A709-C11C8AC09BA9}" type="parTrans" cxnId="{3B9187A1-A02A-4089-AC67-DB95439638C0}">
      <dgm:prSet/>
      <dgm:spPr/>
      <dgm:t>
        <a:bodyPr/>
        <a:lstStyle/>
        <a:p>
          <a:endParaRPr lang="en-ID"/>
        </a:p>
      </dgm:t>
    </dgm:pt>
    <dgm:pt modelId="{1B128018-3255-4C3E-A6F2-B681F04F9947}" type="sibTrans" cxnId="{3B9187A1-A02A-4089-AC67-DB95439638C0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en-ID"/>
        </a:p>
      </dgm:t>
    </dgm:pt>
    <dgm:pt modelId="{98281E7A-B42B-4A60-8F0A-02FBBE192048}" type="pres">
      <dgm:prSet presAssocID="{262B9D00-C826-4E11-8429-177F52B13C3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1A49A10-DA55-43D2-B848-2A752A4B7FB1}" type="pres">
      <dgm:prSet presAssocID="{AD54CEA8-5F53-4347-86E7-E38FF30F9C6D}" presName="node" presStyleLbl="node1" presStyleIdx="0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77E669-BE62-41BC-9950-13C5D39E30D2}" type="pres">
      <dgm:prSet presAssocID="{7687A3FF-D23F-4D53-AB0F-6B1DA8BA7B9C}" presName="sibTrans" presStyleLbl="sibTrans2D1" presStyleIdx="0" presStyleCnt="13"/>
      <dgm:spPr/>
      <dgm:t>
        <a:bodyPr/>
        <a:lstStyle/>
        <a:p>
          <a:endParaRPr lang="en-US"/>
        </a:p>
      </dgm:t>
    </dgm:pt>
    <dgm:pt modelId="{80702E3B-FA77-4C95-8465-C752588C38FB}" type="pres">
      <dgm:prSet presAssocID="{7687A3FF-D23F-4D53-AB0F-6B1DA8BA7B9C}" presName="connectorText" presStyleLbl="sibTrans2D1" presStyleIdx="0" presStyleCnt="13"/>
      <dgm:spPr/>
      <dgm:t>
        <a:bodyPr/>
        <a:lstStyle/>
        <a:p>
          <a:endParaRPr lang="en-US"/>
        </a:p>
      </dgm:t>
    </dgm:pt>
    <dgm:pt modelId="{FB08B26A-8E52-454A-9694-166FDA94A66C}" type="pres">
      <dgm:prSet presAssocID="{310EC75C-E063-4A6D-B708-652AE6A98FFB}" presName="node" presStyleLbl="node1" presStyleIdx="1" presStyleCnt="14" custLinFactNeighborX="442" custLinFactNeighborY="6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A16790-742C-466A-95A4-0BF22E5FCD7A}" type="pres">
      <dgm:prSet presAssocID="{F26F70EC-E779-4452-97E7-E0713E7366DB}" presName="sibTrans" presStyleLbl="sibTrans2D1" presStyleIdx="1" presStyleCnt="13" custLinFactNeighborX="-27435" custLinFactNeighborY="4219"/>
      <dgm:spPr/>
      <dgm:t>
        <a:bodyPr/>
        <a:lstStyle/>
        <a:p>
          <a:endParaRPr lang="en-US"/>
        </a:p>
      </dgm:t>
    </dgm:pt>
    <dgm:pt modelId="{C56007E9-35BB-4D39-9B1A-57F61D92EDEB}" type="pres">
      <dgm:prSet presAssocID="{F26F70EC-E779-4452-97E7-E0713E7366DB}" presName="connectorText" presStyleLbl="sibTrans2D1" presStyleIdx="1" presStyleCnt="13"/>
      <dgm:spPr/>
      <dgm:t>
        <a:bodyPr/>
        <a:lstStyle/>
        <a:p>
          <a:endParaRPr lang="en-US"/>
        </a:p>
      </dgm:t>
    </dgm:pt>
    <dgm:pt modelId="{7D12FF1B-AFF2-41BF-A1B9-96394947895C}" type="pres">
      <dgm:prSet presAssocID="{5B07F661-21FD-4226-B11E-25E019FF7B66}" presName="node" presStyleLbl="node1" presStyleIdx="2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D77E6C-9E07-4195-BF67-9B25D7196EAA}" type="pres">
      <dgm:prSet presAssocID="{1B128018-3255-4C3E-A6F2-B681F04F9947}" presName="sibTrans" presStyleLbl="sibTrans2D1" presStyleIdx="2" presStyleCnt="13" custLinFactNeighborX="-38153" custLinFactNeighborY="-7346"/>
      <dgm:spPr/>
      <dgm:t>
        <a:bodyPr/>
        <a:lstStyle/>
        <a:p>
          <a:endParaRPr lang="en-US"/>
        </a:p>
      </dgm:t>
    </dgm:pt>
    <dgm:pt modelId="{B03BAD51-824A-4B72-B5C9-F4D969B0FE1F}" type="pres">
      <dgm:prSet presAssocID="{1B128018-3255-4C3E-A6F2-B681F04F9947}" presName="connectorText" presStyleLbl="sibTrans2D1" presStyleIdx="2" presStyleCnt="13"/>
      <dgm:spPr/>
      <dgm:t>
        <a:bodyPr/>
        <a:lstStyle/>
        <a:p>
          <a:endParaRPr lang="en-US"/>
        </a:p>
      </dgm:t>
    </dgm:pt>
    <dgm:pt modelId="{2B6E1E24-A7FA-4049-86FC-9D12842052E7}" type="pres">
      <dgm:prSet presAssocID="{AEF4EB16-B0C9-452C-B68A-00BB68859A7B}" presName="node" presStyleLbl="node1" presStyleIdx="3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F05F3B-4E23-47B7-9399-FA0B1A3EC9AF}" type="pres">
      <dgm:prSet presAssocID="{B9A78629-975F-4B90-AE96-9E5B92F536AA}" presName="sibTrans" presStyleLbl="sibTrans2D1" presStyleIdx="3" presStyleCnt="13"/>
      <dgm:spPr/>
      <dgm:t>
        <a:bodyPr/>
        <a:lstStyle/>
        <a:p>
          <a:endParaRPr lang="en-US"/>
        </a:p>
      </dgm:t>
    </dgm:pt>
    <dgm:pt modelId="{16836755-55F7-4A1E-8705-055A4D230720}" type="pres">
      <dgm:prSet presAssocID="{B9A78629-975F-4B90-AE96-9E5B92F536AA}" presName="connectorText" presStyleLbl="sibTrans2D1" presStyleIdx="3" presStyleCnt="13"/>
      <dgm:spPr/>
      <dgm:t>
        <a:bodyPr/>
        <a:lstStyle/>
        <a:p>
          <a:endParaRPr lang="en-US"/>
        </a:p>
      </dgm:t>
    </dgm:pt>
    <dgm:pt modelId="{C53C5ED3-16AC-4B3F-9B93-D856278E85E8}" type="pres">
      <dgm:prSet presAssocID="{4E899A98-15D4-4256-AA7B-5F8B4291E564}" presName="node" presStyleLbl="node1" presStyleIdx="4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8488BD-C1A4-477A-8CF9-A79D8E5107F2}" type="pres">
      <dgm:prSet presAssocID="{8B9E4C69-BF9B-4B9A-BD80-944831447FF2}" presName="sibTrans" presStyleLbl="sibTrans2D1" presStyleIdx="4" presStyleCnt="13" custLinFactNeighborX="11768" custLinFactNeighborY="9680"/>
      <dgm:spPr/>
      <dgm:t>
        <a:bodyPr/>
        <a:lstStyle/>
        <a:p>
          <a:endParaRPr lang="en-US"/>
        </a:p>
      </dgm:t>
    </dgm:pt>
    <dgm:pt modelId="{5033852B-6252-4BC2-BA8A-939A6D79CE68}" type="pres">
      <dgm:prSet presAssocID="{8B9E4C69-BF9B-4B9A-BD80-944831447FF2}" presName="connectorText" presStyleLbl="sibTrans2D1" presStyleIdx="4" presStyleCnt="13"/>
      <dgm:spPr/>
      <dgm:t>
        <a:bodyPr/>
        <a:lstStyle/>
        <a:p>
          <a:endParaRPr lang="en-US"/>
        </a:p>
      </dgm:t>
    </dgm:pt>
    <dgm:pt modelId="{519EAD41-65A7-4AAB-AFFA-DCC2B68A3AFF}" type="pres">
      <dgm:prSet presAssocID="{76611A96-8D89-4ABC-A2D5-6376D1FAA627}" presName="node" presStyleLbl="node1" presStyleIdx="5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F3E634-1966-415E-85D5-38A897C4E7E3}" type="pres">
      <dgm:prSet presAssocID="{3C94571C-248A-4A3D-B20F-21729F420AE2}" presName="sibTrans" presStyleLbl="sibTrans2D1" presStyleIdx="5" presStyleCnt="13" custLinFactNeighborX="29919" custLinFactNeighborY="-5863"/>
      <dgm:spPr/>
      <dgm:t>
        <a:bodyPr/>
        <a:lstStyle/>
        <a:p>
          <a:endParaRPr lang="en-US"/>
        </a:p>
      </dgm:t>
    </dgm:pt>
    <dgm:pt modelId="{73F9BE4E-A25B-4D57-B8A1-8D52E04917B6}" type="pres">
      <dgm:prSet presAssocID="{3C94571C-248A-4A3D-B20F-21729F420AE2}" presName="connectorText" presStyleLbl="sibTrans2D1" presStyleIdx="5" presStyleCnt="13"/>
      <dgm:spPr/>
      <dgm:t>
        <a:bodyPr/>
        <a:lstStyle/>
        <a:p>
          <a:endParaRPr lang="en-US"/>
        </a:p>
      </dgm:t>
    </dgm:pt>
    <dgm:pt modelId="{10DF5648-7416-434C-8BC3-0F92F96B97CB}" type="pres">
      <dgm:prSet presAssocID="{A2DE258B-5EDD-47A4-A98D-065D917BEA6A}" presName="node" presStyleLbl="node1" presStyleIdx="6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48B252-526A-4E26-936C-C9CCF666F5DE}" type="pres">
      <dgm:prSet presAssocID="{D13B4EC8-F381-4E7D-AB9E-D011BAF0CD91}" presName="sibTrans" presStyleLbl="sibTrans2D1" presStyleIdx="6" presStyleCnt="13" custLinFactNeighborX="18823" custLinFactNeighborY="-233"/>
      <dgm:spPr/>
      <dgm:t>
        <a:bodyPr/>
        <a:lstStyle/>
        <a:p>
          <a:endParaRPr lang="en-US"/>
        </a:p>
      </dgm:t>
    </dgm:pt>
    <dgm:pt modelId="{036AA6AD-A8A4-4086-BC2C-1512CC873A0D}" type="pres">
      <dgm:prSet presAssocID="{D13B4EC8-F381-4E7D-AB9E-D011BAF0CD91}" presName="connectorText" presStyleLbl="sibTrans2D1" presStyleIdx="6" presStyleCnt="13"/>
      <dgm:spPr/>
      <dgm:t>
        <a:bodyPr/>
        <a:lstStyle/>
        <a:p>
          <a:endParaRPr lang="en-US"/>
        </a:p>
      </dgm:t>
    </dgm:pt>
    <dgm:pt modelId="{6D3AEE44-43FD-48EE-8CF1-7C4499C3371A}" type="pres">
      <dgm:prSet presAssocID="{2A62AF5F-6435-4364-A72A-478E6CFEE794}" presName="node" presStyleLbl="node1" presStyleIdx="7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F72D01-FAD7-4120-AE83-1A0F208ED1F8}" type="pres">
      <dgm:prSet presAssocID="{5F942606-2424-4829-90AD-5B91C84FC30D}" presName="sibTrans" presStyleLbl="sibTrans2D1" presStyleIdx="7" presStyleCnt="13" custLinFactNeighborX="21686" custLinFactNeighborY="1961"/>
      <dgm:spPr/>
      <dgm:t>
        <a:bodyPr/>
        <a:lstStyle/>
        <a:p>
          <a:endParaRPr lang="en-US"/>
        </a:p>
      </dgm:t>
    </dgm:pt>
    <dgm:pt modelId="{AABABA15-70F9-4FFF-A43F-542ACDA84C22}" type="pres">
      <dgm:prSet presAssocID="{5F942606-2424-4829-90AD-5B91C84FC30D}" presName="connectorText" presStyleLbl="sibTrans2D1" presStyleIdx="7" presStyleCnt="13"/>
      <dgm:spPr/>
      <dgm:t>
        <a:bodyPr/>
        <a:lstStyle/>
        <a:p>
          <a:endParaRPr lang="en-US"/>
        </a:p>
      </dgm:t>
    </dgm:pt>
    <dgm:pt modelId="{BF16CC55-EE22-4FA0-B744-3C75ED0CDFB9}" type="pres">
      <dgm:prSet presAssocID="{21A7C13D-FF6D-4CD5-A5D6-359A981AEAF3}" presName="node" presStyleLbl="node1" presStyleIdx="8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6B0C22-5E1F-47C4-ABDB-F0D776289AB1}" type="pres">
      <dgm:prSet presAssocID="{144435B7-8C3A-43C1-B9ED-815C237DE833}" presName="sibTrans" presStyleLbl="sibTrans2D1" presStyleIdx="8" presStyleCnt="13"/>
      <dgm:spPr/>
      <dgm:t>
        <a:bodyPr/>
        <a:lstStyle/>
        <a:p>
          <a:endParaRPr lang="en-US"/>
        </a:p>
      </dgm:t>
    </dgm:pt>
    <dgm:pt modelId="{6741C56C-4C87-4BA4-8853-C720F6210EC5}" type="pres">
      <dgm:prSet presAssocID="{144435B7-8C3A-43C1-B9ED-815C237DE833}" presName="connectorText" presStyleLbl="sibTrans2D1" presStyleIdx="8" presStyleCnt="13"/>
      <dgm:spPr/>
      <dgm:t>
        <a:bodyPr/>
        <a:lstStyle/>
        <a:p>
          <a:endParaRPr lang="en-US"/>
        </a:p>
      </dgm:t>
    </dgm:pt>
    <dgm:pt modelId="{7D66EB39-461E-4387-864C-3DC4290864AF}" type="pres">
      <dgm:prSet presAssocID="{997EB590-F184-40B9-B422-CDD04BC86DB3}" presName="node" presStyleLbl="node1" presStyleIdx="9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33039C-BA0A-4FD7-AF5B-4CA33D23A3BE}" type="pres">
      <dgm:prSet presAssocID="{F831478C-E0B0-48C6-A4A5-1917C276FBD6}" presName="sibTrans" presStyleLbl="sibTrans2D1" presStyleIdx="9" presStyleCnt="13"/>
      <dgm:spPr/>
      <dgm:t>
        <a:bodyPr/>
        <a:lstStyle/>
        <a:p>
          <a:endParaRPr lang="en-US"/>
        </a:p>
      </dgm:t>
    </dgm:pt>
    <dgm:pt modelId="{2D5E3A06-7608-427B-8000-20DCF6ED2E43}" type="pres">
      <dgm:prSet presAssocID="{F831478C-E0B0-48C6-A4A5-1917C276FBD6}" presName="connectorText" presStyleLbl="sibTrans2D1" presStyleIdx="9" presStyleCnt="13"/>
      <dgm:spPr/>
      <dgm:t>
        <a:bodyPr/>
        <a:lstStyle/>
        <a:p>
          <a:endParaRPr lang="en-US"/>
        </a:p>
      </dgm:t>
    </dgm:pt>
    <dgm:pt modelId="{1E8F4112-35A4-4295-87F4-B72985AE28CB}" type="pres">
      <dgm:prSet presAssocID="{0D1DC267-EDB7-48C8-8BFA-4E7B7031A1E1}" presName="node" presStyleLbl="node1" presStyleIdx="10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BA764D-ECD5-4996-9C44-8A0A5F19889D}" type="pres">
      <dgm:prSet presAssocID="{BE8F2A95-D086-4AF1-A9DE-4EF362944DEF}" presName="sibTrans" presStyleLbl="sibTrans2D1" presStyleIdx="10" presStyleCnt="13" custLinFactNeighborX="-21133" custLinFactNeighborY="-2615"/>
      <dgm:spPr/>
      <dgm:t>
        <a:bodyPr/>
        <a:lstStyle/>
        <a:p>
          <a:endParaRPr lang="en-US"/>
        </a:p>
      </dgm:t>
    </dgm:pt>
    <dgm:pt modelId="{8D66E80D-3792-44A1-A555-C859786D3F71}" type="pres">
      <dgm:prSet presAssocID="{BE8F2A95-D086-4AF1-A9DE-4EF362944DEF}" presName="connectorText" presStyleLbl="sibTrans2D1" presStyleIdx="10" presStyleCnt="13"/>
      <dgm:spPr/>
      <dgm:t>
        <a:bodyPr/>
        <a:lstStyle/>
        <a:p>
          <a:endParaRPr lang="en-US"/>
        </a:p>
      </dgm:t>
    </dgm:pt>
    <dgm:pt modelId="{40DA85B8-AB36-40AB-8A67-B0700BBA8244}" type="pres">
      <dgm:prSet presAssocID="{25FBD4B3-25FF-4E45-86FF-AB1F5232052A}" presName="node" presStyleLbl="node1" presStyleIdx="11" presStyleCnt="14" custScaleY="822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8071CD-006C-4360-B296-0E1A84EE250A}" type="pres">
      <dgm:prSet presAssocID="{684D34C8-B14C-43A1-9553-E3A9FBB5773E}" presName="sibTrans" presStyleLbl="sibTrans2D1" presStyleIdx="11" presStyleCnt="13" custLinFactNeighborX="-12207" custLinFactNeighborY="-128"/>
      <dgm:spPr/>
      <dgm:t>
        <a:bodyPr/>
        <a:lstStyle/>
        <a:p>
          <a:endParaRPr lang="en-US"/>
        </a:p>
      </dgm:t>
    </dgm:pt>
    <dgm:pt modelId="{64E4E5A8-D687-4A18-989B-51516A068551}" type="pres">
      <dgm:prSet presAssocID="{684D34C8-B14C-43A1-9553-E3A9FBB5773E}" presName="connectorText" presStyleLbl="sibTrans2D1" presStyleIdx="11" presStyleCnt="13"/>
      <dgm:spPr/>
      <dgm:t>
        <a:bodyPr/>
        <a:lstStyle/>
        <a:p>
          <a:endParaRPr lang="en-US"/>
        </a:p>
      </dgm:t>
    </dgm:pt>
    <dgm:pt modelId="{B3269C98-FE39-4934-95BE-9C10E0C6B355}" type="pres">
      <dgm:prSet presAssocID="{2551C04F-020F-495D-A318-D01245191349}" presName="node" presStyleLbl="node1" presStyleIdx="12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B36BAE-25BD-4995-A0A7-28D989B3241F}" type="pres">
      <dgm:prSet presAssocID="{7F9DF969-7821-47A1-8C06-4A22D451FC9B}" presName="sibTrans" presStyleLbl="sibTrans2D1" presStyleIdx="12" presStyleCnt="13" custLinFactNeighborX="-18839" custLinFactNeighborY="-128"/>
      <dgm:spPr/>
      <dgm:t>
        <a:bodyPr/>
        <a:lstStyle/>
        <a:p>
          <a:endParaRPr lang="en-US"/>
        </a:p>
      </dgm:t>
    </dgm:pt>
    <dgm:pt modelId="{482961E6-2364-4DBB-9811-136E81958C03}" type="pres">
      <dgm:prSet presAssocID="{7F9DF969-7821-47A1-8C06-4A22D451FC9B}" presName="connectorText" presStyleLbl="sibTrans2D1" presStyleIdx="12" presStyleCnt="13"/>
      <dgm:spPr/>
      <dgm:t>
        <a:bodyPr/>
        <a:lstStyle/>
        <a:p>
          <a:endParaRPr lang="en-US"/>
        </a:p>
      </dgm:t>
    </dgm:pt>
    <dgm:pt modelId="{8534CBB5-8797-46BC-A736-3AC7DDECF8A2}" type="pres">
      <dgm:prSet presAssocID="{E21B05AE-37BA-4E2B-8FD5-72104FB09C1D}" presName="node" presStyleLbl="node1" presStyleIdx="13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0083FB7-890A-4C40-BE55-DC934DD638EF}" type="presOf" srcId="{7687A3FF-D23F-4D53-AB0F-6B1DA8BA7B9C}" destId="{80702E3B-FA77-4C95-8465-C752588C38FB}" srcOrd="1" destOrd="0" presId="urn:microsoft.com/office/officeart/2005/8/layout/process5"/>
    <dgm:cxn modelId="{C27BF15E-E6C0-4A17-AC67-E89E003C9B66}" srcId="{262B9D00-C826-4E11-8429-177F52B13C39}" destId="{25FBD4B3-25FF-4E45-86FF-AB1F5232052A}" srcOrd="11" destOrd="0" parTransId="{C6107E0F-C51C-4220-A03E-3198B31EACA2}" sibTransId="{684D34C8-B14C-43A1-9553-E3A9FBB5773E}"/>
    <dgm:cxn modelId="{B6FF7955-5BF2-482C-8E2F-ECB6A5230C44}" type="presOf" srcId="{E21B05AE-37BA-4E2B-8FD5-72104FB09C1D}" destId="{8534CBB5-8797-46BC-A736-3AC7DDECF8A2}" srcOrd="0" destOrd="0" presId="urn:microsoft.com/office/officeart/2005/8/layout/process5"/>
    <dgm:cxn modelId="{416628E3-879E-41E4-AB35-FDC336352673}" type="presOf" srcId="{F831478C-E0B0-48C6-A4A5-1917C276FBD6}" destId="{2D5E3A06-7608-427B-8000-20DCF6ED2E43}" srcOrd="1" destOrd="0" presId="urn:microsoft.com/office/officeart/2005/8/layout/process5"/>
    <dgm:cxn modelId="{7B8AE53F-195F-4014-BFA9-B213849DDAFA}" type="presOf" srcId="{AD54CEA8-5F53-4347-86E7-E38FF30F9C6D}" destId="{01A49A10-DA55-43D2-B848-2A752A4B7FB1}" srcOrd="0" destOrd="0" presId="urn:microsoft.com/office/officeart/2005/8/layout/process5"/>
    <dgm:cxn modelId="{7B3462C4-9B0E-4820-83FA-90DA1380143A}" type="presOf" srcId="{5F942606-2424-4829-90AD-5B91C84FC30D}" destId="{D5F72D01-FAD7-4120-AE83-1A0F208ED1F8}" srcOrd="0" destOrd="0" presId="urn:microsoft.com/office/officeart/2005/8/layout/process5"/>
    <dgm:cxn modelId="{C255E6C0-3F8D-4468-86E8-127B2E62BE21}" type="presOf" srcId="{7687A3FF-D23F-4D53-AB0F-6B1DA8BA7B9C}" destId="{3877E669-BE62-41BC-9950-13C5D39E30D2}" srcOrd="0" destOrd="0" presId="urn:microsoft.com/office/officeart/2005/8/layout/process5"/>
    <dgm:cxn modelId="{39237697-2E58-484C-ABA4-C86F5629A50A}" srcId="{262B9D00-C826-4E11-8429-177F52B13C39}" destId="{A2DE258B-5EDD-47A4-A98D-065D917BEA6A}" srcOrd="6" destOrd="0" parTransId="{FCFAA163-428E-432A-AC4A-0C193CBD4A8D}" sibTransId="{D13B4EC8-F381-4E7D-AB9E-D011BAF0CD91}"/>
    <dgm:cxn modelId="{7EB27C14-F06A-4B19-883E-00E9FF8E75AE}" type="presOf" srcId="{2551C04F-020F-495D-A318-D01245191349}" destId="{B3269C98-FE39-4934-95BE-9C10E0C6B355}" srcOrd="0" destOrd="0" presId="urn:microsoft.com/office/officeart/2005/8/layout/process5"/>
    <dgm:cxn modelId="{3B9187A1-A02A-4089-AC67-DB95439638C0}" srcId="{262B9D00-C826-4E11-8429-177F52B13C39}" destId="{5B07F661-21FD-4226-B11E-25E019FF7B66}" srcOrd="2" destOrd="0" parTransId="{65D33F37-9CD7-40B7-A709-C11C8AC09BA9}" sibTransId="{1B128018-3255-4C3E-A6F2-B681F04F9947}"/>
    <dgm:cxn modelId="{302F391F-B1A8-486D-BCEF-F541FE7143D4}" srcId="{262B9D00-C826-4E11-8429-177F52B13C39}" destId="{310EC75C-E063-4A6D-B708-652AE6A98FFB}" srcOrd="1" destOrd="0" parTransId="{DC529E6A-B598-4A66-9DC8-0689D344A803}" sibTransId="{F26F70EC-E779-4452-97E7-E0713E7366DB}"/>
    <dgm:cxn modelId="{E17DD8EA-AF9B-49B8-9FE5-8D3BE60DC532}" srcId="{262B9D00-C826-4E11-8429-177F52B13C39}" destId="{76611A96-8D89-4ABC-A2D5-6376D1FAA627}" srcOrd="5" destOrd="0" parTransId="{664007BD-9DE2-40B1-A604-17B906DB5D4F}" sibTransId="{3C94571C-248A-4A3D-B20F-21729F420AE2}"/>
    <dgm:cxn modelId="{6306278D-C6FA-40B1-933C-9AA417BA0B56}" srcId="{262B9D00-C826-4E11-8429-177F52B13C39}" destId="{AEF4EB16-B0C9-452C-B68A-00BB68859A7B}" srcOrd="3" destOrd="0" parTransId="{0FF0BCAB-0768-45C1-BC0F-0C57BDC601F9}" sibTransId="{B9A78629-975F-4B90-AE96-9E5B92F536AA}"/>
    <dgm:cxn modelId="{248E913F-F986-4C61-B0CA-ADDBD4285CD9}" srcId="{262B9D00-C826-4E11-8429-177F52B13C39}" destId="{997EB590-F184-40B9-B422-CDD04BC86DB3}" srcOrd="9" destOrd="0" parTransId="{1DA14726-53EF-4823-B553-F4F5FB0C2891}" sibTransId="{F831478C-E0B0-48C6-A4A5-1917C276FBD6}"/>
    <dgm:cxn modelId="{BEE5DA8E-00E1-49B8-BDB8-B6408F2F0348}" type="presOf" srcId="{144435B7-8C3A-43C1-B9ED-815C237DE833}" destId="{6741C56C-4C87-4BA4-8853-C720F6210EC5}" srcOrd="1" destOrd="0" presId="urn:microsoft.com/office/officeart/2005/8/layout/process5"/>
    <dgm:cxn modelId="{340A4B49-10D8-401C-8384-0750E984BA77}" type="presOf" srcId="{3C94571C-248A-4A3D-B20F-21729F420AE2}" destId="{3FF3E634-1966-415E-85D5-38A897C4E7E3}" srcOrd="0" destOrd="0" presId="urn:microsoft.com/office/officeart/2005/8/layout/process5"/>
    <dgm:cxn modelId="{C48AACEA-3A23-48D5-B699-4CE980EAEA3A}" type="presOf" srcId="{1B128018-3255-4C3E-A6F2-B681F04F9947}" destId="{B03BAD51-824A-4B72-B5C9-F4D969B0FE1F}" srcOrd="1" destOrd="0" presId="urn:microsoft.com/office/officeart/2005/8/layout/process5"/>
    <dgm:cxn modelId="{64BAD65F-A11D-49A4-997E-751DD7B8CB25}" type="presOf" srcId="{0D1DC267-EDB7-48C8-8BFA-4E7B7031A1E1}" destId="{1E8F4112-35A4-4295-87F4-B72985AE28CB}" srcOrd="0" destOrd="0" presId="urn:microsoft.com/office/officeart/2005/8/layout/process5"/>
    <dgm:cxn modelId="{177312D8-D17B-49C6-BA0A-4969FFEDBEDA}" type="presOf" srcId="{3C94571C-248A-4A3D-B20F-21729F420AE2}" destId="{73F9BE4E-A25B-4D57-B8A1-8D52E04917B6}" srcOrd="1" destOrd="0" presId="urn:microsoft.com/office/officeart/2005/8/layout/process5"/>
    <dgm:cxn modelId="{C68991A4-5230-48BD-8050-DDEA24FF64A5}" srcId="{262B9D00-C826-4E11-8429-177F52B13C39}" destId="{2551C04F-020F-495D-A318-D01245191349}" srcOrd="12" destOrd="0" parTransId="{BCDB9010-55FA-404A-9363-BA57C20B00BD}" sibTransId="{7F9DF969-7821-47A1-8C06-4A22D451FC9B}"/>
    <dgm:cxn modelId="{20EC3A5B-B693-4807-A4AB-D870E78BAE83}" type="presOf" srcId="{2A62AF5F-6435-4364-A72A-478E6CFEE794}" destId="{6D3AEE44-43FD-48EE-8CF1-7C4499C3371A}" srcOrd="0" destOrd="0" presId="urn:microsoft.com/office/officeart/2005/8/layout/process5"/>
    <dgm:cxn modelId="{B7B16AAC-9C3A-40E2-B54C-1F2A9955C9BA}" type="presOf" srcId="{5B07F661-21FD-4226-B11E-25E019FF7B66}" destId="{7D12FF1B-AFF2-41BF-A1B9-96394947895C}" srcOrd="0" destOrd="0" presId="urn:microsoft.com/office/officeart/2005/8/layout/process5"/>
    <dgm:cxn modelId="{6FE6A8E4-FA3A-49B6-9901-C9DA34466931}" srcId="{262B9D00-C826-4E11-8429-177F52B13C39}" destId="{2A62AF5F-6435-4364-A72A-478E6CFEE794}" srcOrd="7" destOrd="0" parTransId="{54E1A5CC-FC95-4B5C-8E76-70D09B9F9705}" sibTransId="{5F942606-2424-4829-90AD-5B91C84FC30D}"/>
    <dgm:cxn modelId="{EFD90F5E-B59E-40D7-B900-F1AD7F842899}" type="presOf" srcId="{D13B4EC8-F381-4E7D-AB9E-D011BAF0CD91}" destId="{036AA6AD-A8A4-4086-BC2C-1512CC873A0D}" srcOrd="1" destOrd="0" presId="urn:microsoft.com/office/officeart/2005/8/layout/process5"/>
    <dgm:cxn modelId="{ECB66D85-0B4F-4302-BC9A-EAA9FF961773}" type="presOf" srcId="{F831478C-E0B0-48C6-A4A5-1917C276FBD6}" destId="{9733039C-BA0A-4FD7-AF5B-4CA33D23A3BE}" srcOrd="0" destOrd="0" presId="urn:microsoft.com/office/officeart/2005/8/layout/process5"/>
    <dgm:cxn modelId="{D8CF3AFA-BFEE-4EBC-921D-50159962186A}" type="presOf" srcId="{B9A78629-975F-4B90-AE96-9E5B92F536AA}" destId="{1DF05F3B-4E23-47B7-9399-FA0B1A3EC9AF}" srcOrd="0" destOrd="0" presId="urn:microsoft.com/office/officeart/2005/8/layout/process5"/>
    <dgm:cxn modelId="{744DF3DB-9E55-4042-8AB2-40EDDE4E90F7}" srcId="{262B9D00-C826-4E11-8429-177F52B13C39}" destId="{0D1DC267-EDB7-48C8-8BFA-4E7B7031A1E1}" srcOrd="10" destOrd="0" parTransId="{AB64DA9E-ABDB-4FF6-911E-D6747CAD5678}" sibTransId="{BE8F2A95-D086-4AF1-A9DE-4EF362944DEF}"/>
    <dgm:cxn modelId="{0C090810-A16E-4645-B75D-D6E1554C70B7}" type="presOf" srcId="{4E899A98-15D4-4256-AA7B-5F8B4291E564}" destId="{C53C5ED3-16AC-4B3F-9B93-D856278E85E8}" srcOrd="0" destOrd="0" presId="urn:microsoft.com/office/officeart/2005/8/layout/process5"/>
    <dgm:cxn modelId="{763822A2-C896-4EE1-9CE7-E4EBAFAC0CAD}" type="presOf" srcId="{21A7C13D-FF6D-4CD5-A5D6-359A981AEAF3}" destId="{BF16CC55-EE22-4FA0-B744-3C75ED0CDFB9}" srcOrd="0" destOrd="0" presId="urn:microsoft.com/office/officeart/2005/8/layout/process5"/>
    <dgm:cxn modelId="{7C3D67A8-FD1E-47C1-B23E-7C4E037AB475}" type="presOf" srcId="{7F9DF969-7821-47A1-8C06-4A22D451FC9B}" destId="{482961E6-2364-4DBB-9811-136E81958C03}" srcOrd="1" destOrd="0" presId="urn:microsoft.com/office/officeart/2005/8/layout/process5"/>
    <dgm:cxn modelId="{E7872F40-93CB-438D-A3A5-A4AE9E0ED09E}" type="presOf" srcId="{F26F70EC-E779-4452-97E7-E0713E7366DB}" destId="{C56007E9-35BB-4D39-9B1A-57F61D92EDEB}" srcOrd="1" destOrd="0" presId="urn:microsoft.com/office/officeart/2005/8/layout/process5"/>
    <dgm:cxn modelId="{619F5FEC-FBB8-46CD-9D1F-09E30AAEE83E}" type="presOf" srcId="{1B128018-3255-4C3E-A6F2-B681F04F9947}" destId="{B8D77E6C-9E07-4195-BF67-9B25D7196EAA}" srcOrd="0" destOrd="0" presId="urn:microsoft.com/office/officeart/2005/8/layout/process5"/>
    <dgm:cxn modelId="{2571F881-8E05-4115-A8E6-72E2D1F39289}" type="presOf" srcId="{25FBD4B3-25FF-4E45-86FF-AB1F5232052A}" destId="{40DA85B8-AB36-40AB-8A67-B0700BBA8244}" srcOrd="0" destOrd="0" presId="urn:microsoft.com/office/officeart/2005/8/layout/process5"/>
    <dgm:cxn modelId="{65358DDC-90CC-412A-A775-1FBE91D1A40C}" type="presOf" srcId="{8B9E4C69-BF9B-4B9A-BD80-944831447FF2}" destId="{B98488BD-C1A4-477A-8CF9-A79D8E5107F2}" srcOrd="0" destOrd="0" presId="urn:microsoft.com/office/officeart/2005/8/layout/process5"/>
    <dgm:cxn modelId="{A2A114D6-5248-4306-A85E-92113B86F6AD}" type="presOf" srcId="{AEF4EB16-B0C9-452C-B68A-00BB68859A7B}" destId="{2B6E1E24-A7FA-4049-86FC-9D12842052E7}" srcOrd="0" destOrd="0" presId="urn:microsoft.com/office/officeart/2005/8/layout/process5"/>
    <dgm:cxn modelId="{E2A43AF9-53FA-4ADA-88A5-FAC0B7DB1532}" srcId="{262B9D00-C826-4E11-8429-177F52B13C39}" destId="{AD54CEA8-5F53-4347-86E7-E38FF30F9C6D}" srcOrd="0" destOrd="0" parTransId="{DE73FDEF-55AF-4C8C-BC8B-D06C900BD70A}" sibTransId="{7687A3FF-D23F-4D53-AB0F-6B1DA8BA7B9C}"/>
    <dgm:cxn modelId="{C0B7ABB8-80BB-4430-9AF2-71CE1F92D1AF}" type="presOf" srcId="{684D34C8-B14C-43A1-9553-E3A9FBB5773E}" destId="{0E8071CD-006C-4360-B296-0E1A84EE250A}" srcOrd="0" destOrd="0" presId="urn:microsoft.com/office/officeart/2005/8/layout/process5"/>
    <dgm:cxn modelId="{35308027-173E-4810-85DA-3EA8A67C2886}" type="presOf" srcId="{144435B7-8C3A-43C1-B9ED-815C237DE833}" destId="{316B0C22-5E1F-47C4-ABDB-F0D776289AB1}" srcOrd="0" destOrd="0" presId="urn:microsoft.com/office/officeart/2005/8/layout/process5"/>
    <dgm:cxn modelId="{11F43814-194B-4C2D-82A9-425B6856F1FD}" type="presOf" srcId="{7F9DF969-7821-47A1-8C06-4A22D451FC9B}" destId="{F7B36BAE-25BD-4995-A0A7-28D989B3241F}" srcOrd="0" destOrd="0" presId="urn:microsoft.com/office/officeart/2005/8/layout/process5"/>
    <dgm:cxn modelId="{0D22651B-7DEE-4EC5-89B7-76E56AB3225C}" type="presOf" srcId="{997EB590-F184-40B9-B422-CDD04BC86DB3}" destId="{7D66EB39-461E-4387-864C-3DC4290864AF}" srcOrd="0" destOrd="0" presId="urn:microsoft.com/office/officeart/2005/8/layout/process5"/>
    <dgm:cxn modelId="{5B3BE8AD-11CE-4BA4-8466-9833EB934DF2}" type="presOf" srcId="{F26F70EC-E779-4452-97E7-E0713E7366DB}" destId="{39A16790-742C-466A-95A4-0BF22E5FCD7A}" srcOrd="0" destOrd="0" presId="urn:microsoft.com/office/officeart/2005/8/layout/process5"/>
    <dgm:cxn modelId="{630A0158-618B-48F9-9BA4-77B2E4EA9CC9}" type="presOf" srcId="{D13B4EC8-F381-4E7D-AB9E-D011BAF0CD91}" destId="{7848B252-526A-4E26-936C-C9CCF666F5DE}" srcOrd="0" destOrd="0" presId="urn:microsoft.com/office/officeart/2005/8/layout/process5"/>
    <dgm:cxn modelId="{91B78FE0-0815-46DC-8A87-895368F48A1A}" type="presOf" srcId="{A2DE258B-5EDD-47A4-A98D-065D917BEA6A}" destId="{10DF5648-7416-434C-8BC3-0F92F96B97CB}" srcOrd="0" destOrd="0" presId="urn:microsoft.com/office/officeart/2005/8/layout/process5"/>
    <dgm:cxn modelId="{43948289-E131-4304-AE91-B6C17D3362B4}" type="presOf" srcId="{262B9D00-C826-4E11-8429-177F52B13C39}" destId="{98281E7A-B42B-4A60-8F0A-02FBBE192048}" srcOrd="0" destOrd="0" presId="urn:microsoft.com/office/officeart/2005/8/layout/process5"/>
    <dgm:cxn modelId="{3E6FD97D-D333-4FEF-AFC2-7BF045D53976}" type="presOf" srcId="{76611A96-8D89-4ABC-A2D5-6376D1FAA627}" destId="{519EAD41-65A7-4AAB-AFFA-DCC2B68A3AFF}" srcOrd="0" destOrd="0" presId="urn:microsoft.com/office/officeart/2005/8/layout/process5"/>
    <dgm:cxn modelId="{6B347E07-E582-478D-AE04-8DEF52D19C9C}" type="presOf" srcId="{B9A78629-975F-4B90-AE96-9E5B92F536AA}" destId="{16836755-55F7-4A1E-8705-055A4D230720}" srcOrd="1" destOrd="0" presId="urn:microsoft.com/office/officeart/2005/8/layout/process5"/>
    <dgm:cxn modelId="{BF9A43E2-1D21-4746-83E6-0B3A0D6475FB}" srcId="{262B9D00-C826-4E11-8429-177F52B13C39}" destId="{4E899A98-15D4-4256-AA7B-5F8B4291E564}" srcOrd="4" destOrd="0" parTransId="{E60EB875-8DE7-483C-BC93-388F2A9709FE}" sibTransId="{8B9E4C69-BF9B-4B9A-BD80-944831447FF2}"/>
    <dgm:cxn modelId="{005E3AFC-1DFB-422B-9037-8DBE928EF6AD}" type="presOf" srcId="{310EC75C-E063-4A6D-B708-652AE6A98FFB}" destId="{FB08B26A-8E52-454A-9694-166FDA94A66C}" srcOrd="0" destOrd="0" presId="urn:microsoft.com/office/officeart/2005/8/layout/process5"/>
    <dgm:cxn modelId="{03E81614-2C05-4D82-AD24-C91E420E0F41}" srcId="{262B9D00-C826-4E11-8429-177F52B13C39}" destId="{E21B05AE-37BA-4E2B-8FD5-72104FB09C1D}" srcOrd="13" destOrd="0" parTransId="{5C563D78-770A-4DF6-BC95-B4BC1C645274}" sibTransId="{0EC1CEC8-6FEA-419F-B3F7-46016423A010}"/>
    <dgm:cxn modelId="{3EDB76AA-5891-4891-90BB-4A147DE70F80}" type="presOf" srcId="{5F942606-2424-4829-90AD-5B91C84FC30D}" destId="{AABABA15-70F9-4FFF-A43F-542ACDA84C22}" srcOrd="1" destOrd="0" presId="urn:microsoft.com/office/officeart/2005/8/layout/process5"/>
    <dgm:cxn modelId="{3B1519A7-A7A6-4088-953A-80E64E377535}" type="presOf" srcId="{BE8F2A95-D086-4AF1-A9DE-4EF362944DEF}" destId="{42BA764D-ECD5-4996-9C44-8A0A5F19889D}" srcOrd="0" destOrd="0" presId="urn:microsoft.com/office/officeart/2005/8/layout/process5"/>
    <dgm:cxn modelId="{A7AF24D7-7A32-495E-A728-33B6EB87644D}" srcId="{262B9D00-C826-4E11-8429-177F52B13C39}" destId="{21A7C13D-FF6D-4CD5-A5D6-359A981AEAF3}" srcOrd="8" destOrd="0" parTransId="{A1DA8FDB-A69A-4776-85C4-89D44544563B}" sibTransId="{144435B7-8C3A-43C1-B9ED-815C237DE833}"/>
    <dgm:cxn modelId="{F5FAA55E-B2CC-4E81-B1A7-EB30A9E091DD}" type="presOf" srcId="{684D34C8-B14C-43A1-9553-E3A9FBB5773E}" destId="{64E4E5A8-D687-4A18-989B-51516A068551}" srcOrd="1" destOrd="0" presId="urn:microsoft.com/office/officeart/2005/8/layout/process5"/>
    <dgm:cxn modelId="{9EBC6BA9-19A7-434B-954C-DC60DE40421F}" type="presOf" srcId="{8B9E4C69-BF9B-4B9A-BD80-944831447FF2}" destId="{5033852B-6252-4BC2-BA8A-939A6D79CE68}" srcOrd="1" destOrd="0" presId="urn:microsoft.com/office/officeart/2005/8/layout/process5"/>
    <dgm:cxn modelId="{C194C6D3-D183-4F31-B684-2A219E7E2F18}" type="presOf" srcId="{BE8F2A95-D086-4AF1-A9DE-4EF362944DEF}" destId="{8D66E80D-3792-44A1-A555-C859786D3F71}" srcOrd="1" destOrd="0" presId="urn:microsoft.com/office/officeart/2005/8/layout/process5"/>
    <dgm:cxn modelId="{B01F3A65-ADBB-48DE-97E3-5F48C7E86554}" type="presParOf" srcId="{98281E7A-B42B-4A60-8F0A-02FBBE192048}" destId="{01A49A10-DA55-43D2-B848-2A752A4B7FB1}" srcOrd="0" destOrd="0" presId="urn:microsoft.com/office/officeart/2005/8/layout/process5"/>
    <dgm:cxn modelId="{81E04E90-54B0-47F7-AF0B-A11EA97411D7}" type="presParOf" srcId="{98281E7A-B42B-4A60-8F0A-02FBBE192048}" destId="{3877E669-BE62-41BC-9950-13C5D39E30D2}" srcOrd="1" destOrd="0" presId="urn:microsoft.com/office/officeart/2005/8/layout/process5"/>
    <dgm:cxn modelId="{07F3A958-AEE9-40CA-A248-06CDC5518881}" type="presParOf" srcId="{3877E669-BE62-41BC-9950-13C5D39E30D2}" destId="{80702E3B-FA77-4C95-8465-C752588C38FB}" srcOrd="0" destOrd="0" presId="urn:microsoft.com/office/officeart/2005/8/layout/process5"/>
    <dgm:cxn modelId="{D71E5BD5-5AD2-455F-8C8A-90D30554409E}" type="presParOf" srcId="{98281E7A-B42B-4A60-8F0A-02FBBE192048}" destId="{FB08B26A-8E52-454A-9694-166FDA94A66C}" srcOrd="2" destOrd="0" presId="urn:microsoft.com/office/officeart/2005/8/layout/process5"/>
    <dgm:cxn modelId="{06F9B840-DDCB-4307-8B8F-61FFA03D23DB}" type="presParOf" srcId="{98281E7A-B42B-4A60-8F0A-02FBBE192048}" destId="{39A16790-742C-466A-95A4-0BF22E5FCD7A}" srcOrd="3" destOrd="0" presId="urn:microsoft.com/office/officeart/2005/8/layout/process5"/>
    <dgm:cxn modelId="{E7993EB7-7720-49FD-8BDD-DCABFDE715ED}" type="presParOf" srcId="{39A16790-742C-466A-95A4-0BF22E5FCD7A}" destId="{C56007E9-35BB-4D39-9B1A-57F61D92EDEB}" srcOrd="0" destOrd="0" presId="urn:microsoft.com/office/officeart/2005/8/layout/process5"/>
    <dgm:cxn modelId="{253CB756-F99C-4A08-A30E-86C342619DF2}" type="presParOf" srcId="{98281E7A-B42B-4A60-8F0A-02FBBE192048}" destId="{7D12FF1B-AFF2-41BF-A1B9-96394947895C}" srcOrd="4" destOrd="0" presId="urn:microsoft.com/office/officeart/2005/8/layout/process5"/>
    <dgm:cxn modelId="{085E34C9-D9BD-46C1-B2BA-9306406E623E}" type="presParOf" srcId="{98281E7A-B42B-4A60-8F0A-02FBBE192048}" destId="{B8D77E6C-9E07-4195-BF67-9B25D7196EAA}" srcOrd="5" destOrd="0" presId="urn:microsoft.com/office/officeart/2005/8/layout/process5"/>
    <dgm:cxn modelId="{6D823778-B6DE-452F-949A-A32E7CB5031D}" type="presParOf" srcId="{B8D77E6C-9E07-4195-BF67-9B25D7196EAA}" destId="{B03BAD51-824A-4B72-B5C9-F4D969B0FE1F}" srcOrd="0" destOrd="0" presId="urn:microsoft.com/office/officeart/2005/8/layout/process5"/>
    <dgm:cxn modelId="{F92A2B6C-6727-4E65-BE93-495746BE308A}" type="presParOf" srcId="{98281E7A-B42B-4A60-8F0A-02FBBE192048}" destId="{2B6E1E24-A7FA-4049-86FC-9D12842052E7}" srcOrd="6" destOrd="0" presId="urn:microsoft.com/office/officeart/2005/8/layout/process5"/>
    <dgm:cxn modelId="{AEED268E-D436-4408-9F60-4551E9D84E39}" type="presParOf" srcId="{98281E7A-B42B-4A60-8F0A-02FBBE192048}" destId="{1DF05F3B-4E23-47B7-9399-FA0B1A3EC9AF}" srcOrd="7" destOrd="0" presId="urn:microsoft.com/office/officeart/2005/8/layout/process5"/>
    <dgm:cxn modelId="{A0C88DF6-2DCF-4F55-B12E-095369522B61}" type="presParOf" srcId="{1DF05F3B-4E23-47B7-9399-FA0B1A3EC9AF}" destId="{16836755-55F7-4A1E-8705-055A4D230720}" srcOrd="0" destOrd="0" presId="urn:microsoft.com/office/officeart/2005/8/layout/process5"/>
    <dgm:cxn modelId="{11CD0B7E-F1D3-4DFE-9C2B-318AF4BFDEA3}" type="presParOf" srcId="{98281E7A-B42B-4A60-8F0A-02FBBE192048}" destId="{C53C5ED3-16AC-4B3F-9B93-D856278E85E8}" srcOrd="8" destOrd="0" presId="urn:microsoft.com/office/officeart/2005/8/layout/process5"/>
    <dgm:cxn modelId="{A285C4E0-3A59-4F14-8216-5B461D44CDE1}" type="presParOf" srcId="{98281E7A-B42B-4A60-8F0A-02FBBE192048}" destId="{B98488BD-C1A4-477A-8CF9-A79D8E5107F2}" srcOrd="9" destOrd="0" presId="urn:microsoft.com/office/officeart/2005/8/layout/process5"/>
    <dgm:cxn modelId="{7C234511-6D92-4C30-8F36-7BC11B075B65}" type="presParOf" srcId="{B98488BD-C1A4-477A-8CF9-A79D8E5107F2}" destId="{5033852B-6252-4BC2-BA8A-939A6D79CE68}" srcOrd="0" destOrd="0" presId="urn:microsoft.com/office/officeart/2005/8/layout/process5"/>
    <dgm:cxn modelId="{6A996828-E7D1-4CD5-9BB4-5C46B11B4E07}" type="presParOf" srcId="{98281E7A-B42B-4A60-8F0A-02FBBE192048}" destId="{519EAD41-65A7-4AAB-AFFA-DCC2B68A3AFF}" srcOrd="10" destOrd="0" presId="urn:microsoft.com/office/officeart/2005/8/layout/process5"/>
    <dgm:cxn modelId="{B8861F75-11D4-4735-A317-F593E7AF215A}" type="presParOf" srcId="{98281E7A-B42B-4A60-8F0A-02FBBE192048}" destId="{3FF3E634-1966-415E-85D5-38A897C4E7E3}" srcOrd="11" destOrd="0" presId="urn:microsoft.com/office/officeart/2005/8/layout/process5"/>
    <dgm:cxn modelId="{503DFEE3-97DE-4FAC-8EA0-91611667747F}" type="presParOf" srcId="{3FF3E634-1966-415E-85D5-38A897C4E7E3}" destId="{73F9BE4E-A25B-4D57-B8A1-8D52E04917B6}" srcOrd="0" destOrd="0" presId="urn:microsoft.com/office/officeart/2005/8/layout/process5"/>
    <dgm:cxn modelId="{9B16A225-84AE-4952-A84D-FC20D78B7D74}" type="presParOf" srcId="{98281E7A-B42B-4A60-8F0A-02FBBE192048}" destId="{10DF5648-7416-434C-8BC3-0F92F96B97CB}" srcOrd="12" destOrd="0" presId="urn:microsoft.com/office/officeart/2005/8/layout/process5"/>
    <dgm:cxn modelId="{7184791B-FCD3-4E46-9246-F02B157AF675}" type="presParOf" srcId="{98281E7A-B42B-4A60-8F0A-02FBBE192048}" destId="{7848B252-526A-4E26-936C-C9CCF666F5DE}" srcOrd="13" destOrd="0" presId="urn:microsoft.com/office/officeart/2005/8/layout/process5"/>
    <dgm:cxn modelId="{E6776661-FBAD-4AEF-84EE-E9263D38D0DE}" type="presParOf" srcId="{7848B252-526A-4E26-936C-C9CCF666F5DE}" destId="{036AA6AD-A8A4-4086-BC2C-1512CC873A0D}" srcOrd="0" destOrd="0" presId="urn:microsoft.com/office/officeart/2005/8/layout/process5"/>
    <dgm:cxn modelId="{4005C31D-FBF4-4918-A1C1-9B6A7C2B1F04}" type="presParOf" srcId="{98281E7A-B42B-4A60-8F0A-02FBBE192048}" destId="{6D3AEE44-43FD-48EE-8CF1-7C4499C3371A}" srcOrd="14" destOrd="0" presId="urn:microsoft.com/office/officeart/2005/8/layout/process5"/>
    <dgm:cxn modelId="{1B0CEB6F-1686-4E86-BB99-E3980651F369}" type="presParOf" srcId="{98281E7A-B42B-4A60-8F0A-02FBBE192048}" destId="{D5F72D01-FAD7-4120-AE83-1A0F208ED1F8}" srcOrd="15" destOrd="0" presId="urn:microsoft.com/office/officeart/2005/8/layout/process5"/>
    <dgm:cxn modelId="{4A113B46-D21D-4322-89C8-514BB6BC88C6}" type="presParOf" srcId="{D5F72D01-FAD7-4120-AE83-1A0F208ED1F8}" destId="{AABABA15-70F9-4FFF-A43F-542ACDA84C22}" srcOrd="0" destOrd="0" presId="urn:microsoft.com/office/officeart/2005/8/layout/process5"/>
    <dgm:cxn modelId="{2FFE67A2-1FC9-4996-B157-42B5BFBC9272}" type="presParOf" srcId="{98281E7A-B42B-4A60-8F0A-02FBBE192048}" destId="{BF16CC55-EE22-4FA0-B744-3C75ED0CDFB9}" srcOrd="16" destOrd="0" presId="urn:microsoft.com/office/officeart/2005/8/layout/process5"/>
    <dgm:cxn modelId="{CC8957F8-DE75-4557-9FCB-80B172519300}" type="presParOf" srcId="{98281E7A-B42B-4A60-8F0A-02FBBE192048}" destId="{316B0C22-5E1F-47C4-ABDB-F0D776289AB1}" srcOrd="17" destOrd="0" presId="urn:microsoft.com/office/officeart/2005/8/layout/process5"/>
    <dgm:cxn modelId="{1C5F131C-7863-4B72-BCA3-E7ACE3BDA77E}" type="presParOf" srcId="{316B0C22-5E1F-47C4-ABDB-F0D776289AB1}" destId="{6741C56C-4C87-4BA4-8853-C720F6210EC5}" srcOrd="0" destOrd="0" presId="urn:microsoft.com/office/officeart/2005/8/layout/process5"/>
    <dgm:cxn modelId="{E1B4F845-2212-4A0C-BBA6-FF2FD03D628F}" type="presParOf" srcId="{98281E7A-B42B-4A60-8F0A-02FBBE192048}" destId="{7D66EB39-461E-4387-864C-3DC4290864AF}" srcOrd="18" destOrd="0" presId="urn:microsoft.com/office/officeart/2005/8/layout/process5"/>
    <dgm:cxn modelId="{E0C6445E-7445-4A29-8405-2A8A417C7591}" type="presParOf" srcId="{98281E7A-B42B-4A60-8F0A-02FBBE192048}" destId="{9733039C-BA0A-4FD7-AF5B-4CA33D23A3BE}" srcOrd="19" destOrd="0" presId="urn:microsoft.com/office/officeart/2005/8/layout/process5"/>
    <dgm:cxn modelId="{240AB12F-3436-493D-84EE-AE7A88B30C67}" type="presParOf" srcId="{9733039C-BA0A-4FD7-AF5B-4CA33D23A3BE}" destId="{2D5E3A06-7608-427B-8000-20DCF6ED2E43}" srcOrd="0" destOrd="0" presId="urn:microsoft.com/office/officeart/2005/8/layout/process5"/>
    <dgm:cxn modelId="{94BE0A37-8B5E-4F6E-A1CC-D19F66204624}" type="presParOf" srcId="{98281E7A-B42B-4A60-8F0A-02FBBE192048}" destId="{1E8F4112-35A4-4295-87F4-B72985AE28CB}" srcOrd="20" destOrd="0" presId="urn:microsoft.com/office/officeart/2005/8/layout/process5"/>
    <dgm:cxn modelId="{F6E3ACF1-AC7D-43A8-8D03-9CBC0F6BAB38}" type="presParOf" srcId="{98281E7A-B42B-4A60-8F0A-02FBBE192048}" destId="{42BA764D-ECD5-4996-9C44-8A0A5F19889D}" srcOrd="21" destOrd="0" presId="urn:microsoft.com/office/officeart/2005/8/layout/process5"/>
    <dgm:cxn modelId="{0F6F27DC-7AED-415F-9074-4377C257E0DA}" type="presParOf" srcId="{42BA764D-ECD5-4996-9C44-8A0A5F19889D}" destId="{8D66E80D-3792-44A1-A555-C859786D3F71}" srcOrd="0" destOrd="0" presId="urn:microsoft.com/office/officeart/2005/8/layout/process5"/>
    <dgm:cxn modelId="{57E7EBE4-D78C-4DE4-B7B0-9722C5FEBE8F}" type="presParOf" srcId="{98281E7A-B42B-4A60-8F0A-02FBBE192048}" destId="{40DA85B8-AB36-40AB-8A67-B0700BBA8244}" srcOrd="22" destOrd="0" presId="urn:microsoft.com/office/officeart/2005/8/layout/process5"/>
    <dgm:cxn modelId="{B34432BF-949F-437F-9346-D628CCB78461}" type="presParOf" srcId="{98281E7A-B42B-4A60-8F0A-02FBBE192048}" destId="{0E8071CD-006C-4360-B296-0E1A84EE250A}" srcOrd="23" destOrd="0" presId="urn:microsoft.com/office/officeart/2005/8/layout/process5"/>
    <dgm:cxn modelId="{B4515435-36CC-43A2-A95D-F96EFE122CDF}" type="presParOf" srcId="{0E8071CD-006C-4360-B296-0E1A84EE250A}" destId="{64E4E5A8-D687-4A18-989B-51516A068551}" srcOrd="0" destOrd="0" presId="urn:microsoft.com/office/officeart/2005/8/layout/process5"/>
    <dgm:cxn modelId="{738A6277-F6F5-424E-A32B-2E9137CE203E}" type="presParOf" srcId="{98281E7A-B42B-4A60-8F0A-02FBBE192048}" destId="{B3269C98-FE39-4934-95BE-9C10E0C6B355}" srcOrd="24" destOrd="0" presId="urn:microsoft.com/office/officeart/2005/8/layout/process5"/>
    <dgm:cxn modelId="{94E809F9-4C0A-43C7-967B-E4149B057A62}" type="presParOf" srcId="{98281E7A-B42B-4A60-8F0A-02FBBE192048}" destId="{F7B36BAE-25BD-4995-A0A7-28D989B3241F}" srcOrd="25" destOrd="0" presId="urn:microsoft.com/office/officeart/2005/8/layout/process5"/>
    <dgm:cxn modelId="{D5841965-389B-4340-B586-FBD08BC252CF}" type="presParOf" srcId="{F7B36BAE-25BD-4995-A0A7-28D989B3241F}" destId="{482961E6-2364-4DBB-9811-136E81958C03}" srcOrd="0" destOrd="0" presId="urn:microsoft.com/office/officeart/2005/8/layout/process5"/>
    <dgm:cxn modelId="{1D644776-7457-4678-BAD9-971148AB7029}" type="presParOf" srcId="{98281E7A-B42B-4A60-8F0A-02FBBE192048}" destId="{8534CBB5-8797-46BC-A736-3AC7DDECF8A2}" srcOrd="2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262B9D00-C826-4E11-8429-177F52B13C39}" type="doc">
      <dgm:prSet loTypeId="urn:microsoft.com/office/officeart/2005/8/layout/process5" loCatId="process" qsTypeId="urn:microsoft.com/office/officeart/2005/8/quickstyle/3d4" qsCatId="3D" csTypeId="urn:microsoft.com/office/officeart/2005/8/colors/accent6_1" csCatId="accent6" phldr="1"/>
      <dgm:spPr/>
      <dgm:t>
        <a:bodyPr/>
        <a:lstStyle/>
        <a:p>
          <a:endParaRPr lang="id-ID"/>
        </a:p>
      </dgm:t>
    </dgm:pt>
    <dgm:pt modelId="{AD54CEA8-5F53-4347-86E7-E38FF30F9C6D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Mengikuti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Mandiri</a:t>
          </a:r>
          <a:endParaRPr lang="en-US" sz="1200" b="1" dirty="0">
            <a:solidFill>
              <a:srgbClr val="002060"/>
            </a:solidFill>
          </a:endParaRPr>
        </a:p>
      </dgm:t>
    </dgm:pt>
    <dgm:pt modelId="{DE73FDEF-55AF-4C8C-BC8B-D06C900BD70A}" type="parTrans" cxnId="{E2A43AF9-53FA-4ADA-88A5-FAC0B7DB1532}">
      <dgm:prSet/>
      <dgm:spPr/>
      <dgm:t>
        <a:bodyPr/>
        <a:lstStyle/>
        <a:p>
          <a:endParaRPr lang="id-ID"/>
        </a:p>
      </dgm:t>
    </dgm:pt>
    <dgm:pt modelId="{7687A3FF-D23F-4D53-AB0F-6B1DA8BA7B9C}" type="sibTrans" cxnId="{E2A43AF9-53FA-4ADA-88A5-FAC0B7DB1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310EC75C-E063-4A6D-B708-652AE6A98FFB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Mendapatkan</a:t>
          </a:r>
          <a:r>
            <a:rPr lang="en-US" sz="1200" b="1" dirty="0">
              <a:solidFill>
                <a:srgbClr val="002060"/>
              </a:solidFill>
            </a:rPr>
            <a:t> Bukti </a:t>
          </a:r>
          <a:r>
            <a:rPr lang="en-US" sz="1200" b="1" dirty="0" err="1">
              <a:solidFill>
                <a:srgbClr val="002060"/>
              </a:solidFill>
            </a:rPr>
            <a:t>Partisipasi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Mandiri</a:t>
          </a:r>
          <a:r>
            <a:rPr lang="en-US" sz="1200" b="1" dirty="0">
              <a:solidFill>
                <a:srgbClr val="002060"/>
              </a:solidFill>
            </a:rPr>
            <a:t> </a:t>
          </a:r>
        </a:p>
        <a:p>
          <a:r>
            <a:rPr lang="en-US" sz="1200" b="1" dirty="0">
              <a:solidFill>
                <a:srgbClr val="002060"/>
              </a:solidFill>
            </a:rPr>
            <a:t>(Executive Summary, </a:t>
          </a:r>
          <a:r>
            <a:rPr lang="en-US" sz="1200" b="1" dirty="0" err="1">
              <a:solidFill>
                <a:srgbClr val="002060"/>
              </a:solidFill>
            </a:rPr>
            <a:t>Sertifikat</a:t>
          </a:r>
          <a:r>
            <a:rPr lang="en-US" sz="1200" b="1" dirty="0">
              <a:solidFill>
                <a:srgbClr val="002060"/>
              </a:solidFill>
            </a:rPr>
            <a:t>, Ijazah DLL)</a:t>
          </a:r>
          <a:endParaRPr lang="id-ID" sz="1200" b="1" dirty="0">
            <a:solidFill>
              <a:srgbClr val="002060"/>
            </a:solidFill>
          </a:endParaRPr>
        </a:p>
      </dgm:t>
    </dgm:pt>
    <dgm:pt modelId="{DC529E6A-B598-4A66-9DC8-0689D344A803}" type="parTrans" cxnId="{302F391F-B1A8-486D-BCEF-F541FE7143D4}">
      <dgm:prSet/>
      <dgm:spPr/>
      <dgm:t>
        <a:bodyPr/>
        <a:lstStyle/>
        <a:p>
          <a:endParaRPr lang="id-ID"/>
        </a:p>
      </dgm:t>
    </dgm:pt>
    <dgm:pt modelId="{F26F70EC-E779-4452-97E7-E0713E7366DB}" type="sibTrans" cxnId="{302F391F-B1A8-486D-BCEF-F541FE7143D4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2DE258B-5EDD-47A4-A98D-065D917BEA6A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Memilih</a:t>
          </a:r>
          <a:r>
            <a:rPr lang="en-US" sz="1400" b="1" dirty="0">
              <a:solidFill>
                <a:srgbClr val="002060"/>
              </a:solidFill>
            </a:rPr>
            <a:t> Menu </a:t>
          </a:r>
          <a:r>
            <a:rPr lang="en-US" sz="1400" b="1" dirty="0" err="1">
              <a:solidFill>
                <a:srgbClr val="002060"/>
              </a:solidFill>
            </a:rPr>
            <a:t>Kegiatan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Tidak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Terverifikasi</a:t>
          </a:r>
          <a:endParaRPr lang="en-US" sz="1400" b="1" dirty="0">
            <a:solidFill>
              <a:srgbClr val="002060"/>
            </a:solidFill>
          </a:endParaRPr>
        </a:p>
      </dgm:t>
    </dgm:pt>
    <dgm:pt modelId="{FCFAA163-428E-432A-AC4A-0C193CBD4A8D}" type="parTrans" cxnId="{39237697-2E58-484C-ABA4-C86F5629A50A}">
      <dgm:prSet/>
      <dgm:spPr/>
      <dgm:t>
        <a:bodyPr/>
        <a:lstStyle/>
        <a:p>
          <a:endParaRPr lang="id-ID"/>
        </a:p>
      </dgm:t>
    </dgm:pt>
    <dgm:pt modelId="{D13B4EC8-F381-4E7D-AB9E-D011BAF0CD91}" type="sibTrans" cxnId="{39237697-2E58-484C-ABA4-C86F5629A50A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A62AF5F-6435-4364-A72A-478E6CFEE794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Mencatatk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Mandiri</a:t>
          </a:r>
          <a:r>
            <a:rPr lang="en-US" sz="1200" b="1" dirty="0">
              <a:solidFill>
                <a:srgbClr val="002060"/>
              </a:solidFill>
            </a:rPr>
            <a:t> pada </a:t>
          </a:r>
          <a:r>
            <a:rPr lang="en-US" sz="1200" b="1" dirty="0" err="1">
              <a:solidFill>
                <a:srgbClr val="002060"/>
              </a:solidFill>
            </a:rPr>
            <a:t>Buku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Catat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Elektronik</a:t>
          </a:r>
          <a:r>
            <a:rPr lang="en-US" sz="1200" b="1" dirty="0">
              <a:solidFill>
                <a:srgbClr val="002060"/>
              </a:solidFill>
            </a:rPr>
            <a:t> </a:t>
          </a:r>
        </a:p>
      </dgm:t>
    </dgm:pt>
    <dgm:pt modelId="{54E1A5CC-FC95-4B5C-8E76-70D09B9F9705}" type="parTrans" cxnId="{6FE6A8E4-FA3A-49B6-9901-C9DA34466931}">
      <dgm:prSet/>
      <dgm:spPr/>
      <dgm:t>
        <a:bodyPr/>
        <a:lstStyle/>
        <a:p>
          <a:endParaRPr lang="id-ID"/>
        </a:p>
      </dgm:t>
    </dgm:pt>
    <dgm:pt modelId="{5F942606-2424-4829-90AD-5B91C84FC30D}" type="sibTrans" cxnId="{6FE6A8E4-FA3A-49B6-9901-C9DA34466931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5B07F661-21FD-4226-B11E-25E019FF7B66}">
      <dgm:prSet phldrT="[Text]" custT="1"/>
      <dgm:spPr/>
      <dgm:t>
        <a:bodyPr/>
        <a:lstStyle/>
        <a:p>
          <a:r>
            <a:rPr lang="en-US" sz="1200" b="1" dirty="0">
              <a:solidFill>
                <a:srgbClr val="002060"/>
              </a:solidFill>
            </a:rPr>
            <a:t>Login SIJK</a:t>
          </a:r>
        </a:p>
        <a:p>
          <a:r>
            <a:rPr lang="en-US" sz="1200" b="1" dirty="0">
              <a:solidFill>
                <a:srgbClr val="002060"/>
              </a:solidFill>
            </a:rPr>
            <a:t>https://lpjk.pu.go.id</a:t>
          </a:r>
        </a:p>
        <a:p>
          <a:r>
            <a:rPr lang="en-US" sz="1200" b="1" dirty="0">
              <a:solidFill>
                <a:srgbClr val="002060"/>
              </a:solidFill>
            </a:rPr>
            <a:t>Menu PKB</a:t>
          </a:r>
          <a:endParaRPr lang="id-ID" sz="1200" b="1" dirty="0">
            <a:solidFill>
              <a:srgbClr val="002060"/>
            </a:solidFill>
          </a:endParaRPr>
        </a:p>
      </dgm:t>
    </dgm:pt>
    <dgm:pt modelId="{65D33F37-9CD7-40B7-A709-C11C8AC09BA9}" type="parTrans" cxnId="{3B9187A1-A02A-4089-AC67-DB95439638C0}">
      <dgm:prSet/>
      <dgm:spPr/>
      <dgm:t>
        <a:bodyPr/>
        <a:lstStyle/>
        <a:p>
          <a:endParaRPr lang="en-ID"/>
        </a:p>
      </dgm:t>
    </dgm:pt>
    <dgm:pt modelId="{1B128018-3255-4C3E-A6F2-B681F04F9947}" type="sibTrans" cxnId="{3B9187A1-A02A-4089-AC67-DB95439638C0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en-ID"/>
        </a:p>
      </dgm:t>
    </dgm:pt>
    <dgm:pt modelId="{2551C04F-020F-495D-A318-D01245191349}">
      <dgm:prSet phldrT="[Text]" custT="1"/>
      <dgm:spPr/>
      <dgm:t>
        <a:bodyPr/>
        <a:lstStyle/>
        <a:p>
          <a:r>
            <a:rPr lang="en-US" sz="1400" b="1" dirty="0">
              <a:solidFill>
                <a:srgbClr val="002060"/>
              </a:solidFill>
            </a:rPr>
            <a:t>SKPK Masuk </a:t>
          </a:r>
          <a:r>
            <a:rPr lang="en-US" sz="1400" b="1" dirty="0" err="1">
              <a:solidFill>
                <a:srgbClr val="002060"/>
              </a:solidFill>
            </a:rPr>
            <a:t>dalam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id-ID" sz="1400" b="1" dirty="0">
              <a:solidFill>
                <a:srgbClr val="002060"/>
              </a:solidFill>
            </a:rPr>
            <a:t>Buku Catatan Elektronik</a:t>
          </a:r>
          <a:r>
            <a:rPr lang="en-US" sz="1400" b="1" dirty="0">
              <a:solidFill>
                <a:srgbClr val="002060"/>
              </a:solidFill>
            </a:rPr>
            <a:t> TKK</a:t>
          </a:r>
        </a:p>
      </dgm:t>
    </dgm:pt>
    <dgm:pt modelId="{7F9DF969-7821-47A1-8C06-4A22D451FC9B}" type="sibTrans" cxnId="{C68991A4-5230-48BD-8050-DDEA24FF64A5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BCDB9010-55FA-404A-9363-BA57C20B00BD}" type="parTrans" cxnId="{C68991A4-5230-48BD-8050-DDEA24FF64A5}">
      <dgm:prSet/>
      <dgm:spPr/>
      <dgm:t>
        <a:bodyPr/>
        <a:lstStyle/>
        <a:p>
          <a:endParaRPr lang="id-ID"/>
        </a:p>
      </dgm:t>
    </dgm:pt>
    <dgm:pt modelId="{98281E7A-B42B-4A60-8F0A-02FBBE192048}" type="pres">
      <dgm:prSet presAssocID="{262B9D00-C826-4E11-8429-177F52B13C3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1A49A10-DA55-43D2-B848-2A752A4B7FB1}" type="pres">
      <dgm:prSet presAssocID="{AD54CEA8-5F53-4347-86E7-E38FF30F9C6D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77E669-BE62-41BC-9950-13C5D39E30D2}" type="pres">
      <dgm:prSet presAssocID="{7687A3FF-D23F-4D53-AB0F-6B1DA8BA7B9C}" presName="sibTrans" presStyleLbl="sibTrans2D1" presStyleIdx="0" presStyleCnt="5" custLinFactNeighborX="-2697" custLinFactNeighborY="2390"/>
      <dgm:spPr/>
      <dgm:t>
        <a:bodyPr/>
        <a:lstStyle/>
        <a:p>
          <a:endParaRPr lang="en-US"/>
        </a:p>
      </dgm:t>
    </dgm:pt>
    <dgm:pt modelId="{80702E3B-FA77-4C95-8465-C752588C38FB}" type="pres">
      <dgm:prSet presAssocID="{7687A3FF-D23F-4D53-AB0F-6B1DA8BA7B9C}" presName="connectorText" presStyleLbl="sibTrans2D1" presStyleIdx="0" presStyleCnt="5"/>
      <dgm:spPr/>
      <dgm:t>
        <a:bodyPr/>
        <a:lstStyle/>
        <a:p>
          <a:endParaRPr lang="en-US"/>
        </a:p>
      </dgm:t>
    </dgm:pt>
    <dgm:pt modelId="{FB08B26A-8E52-454A-9694-166FDA94A66C}" type="pres">
      <dgm:prSet presAssocID="{310EC75C-E063-4A6D-B708-652AE6A98FFB}" presName="node" presStyleLbl="node1" presStyleIdx="1" presStyleCnt="6" custLinFactNeighborX="442" custLinFactNeighborY="6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A16790-742C-466A-95A4-0BF22E5FCD7A}" type="pres">
      <dgm:prSet presAssocID="{F26F70EC-E779-4452-97E7-E0713E7366DB}" presName="sibTrans" presStyleLbl="sibTrans2D1" presStyleIdx="1" presStyleCnt="5" custLinFactNeighborX="6231" custLinFactNeighborY="-11920"/>
      <dgm:spPr/>
      <dgm:t>
        <a:bodyPr/>
        <a:lstStyle/>
        <a:p>
          <a:endParaRPr lang="en-US"/>
        </a:p>
      </dgm:t>
    </dgm:pt>
    <dgm:pt modelId="{C56007E9-35BB-4D39-9B1A-57F61D92EDEB}" type="pres">
      <dgm:prSet presAssocID="{F26F70EC-E779-4452-97E7-E0713E7366DB}" presName="connectorText" presStyleLbl="sibTrans2D1" presStyleIdx="1" presStyleCnt="5"/>
      <dgm:spPr/>
      <dgm:t>
        <a:bodyPr/>
        <a:lstStyle/>
        <a:p>
          <a:endParaRPr lang="en-US"/>
        </a:p>
      </dgm:t>
    </dgm:pt>
    <dgm:pt modelId="{7D12FF1B-AFF2-41BF-A1B9-96394947895C}" type="pres">
      <dgm:prSet presAssocID="{5B07F661-21FD-4226-B11E-25E019FF7B66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D77E6C-9E07-4195-BF67-9B25D7196EAA}" type="pres">
      <dgm:prSet presAssocID="{1B128018-3255-4C3E-A6F2-B681F04F9947}" presName="sibTrans" presStyleLbl="sibTrans2D1" presStyleIdx="2" presStyleCnt="5" custLinFactNeighborX="11290" custLinFactNeighborY="5553"/>
      <dgm:spPr/>
      <dgm:t>
        <a:bodyPr/>
        <a:lstStyle/>
        <a:p>
          <a:endParaRPr lang="en-US"/>
        </a:p>
      </dgm:t>
    </dgm:pt>
    <dgm:pt modelId="{B03BAD51-824A-4B72-B5C9-F4D969B0FE1F}" type="pres">
      <dgm:prSet presAssocID="{1B128018-3255-4C3E-A6F2-B681F04F9947}" presName="connectorText" presStyleLbl="sibTrans2D1" presStyleIdx="2" presStyleCnt="5"/>
      <dgm:spPr/>
      <dgm:t>
        <a:bodyPr/>
        <a:lstStyle/>
        <a:p>
          <a:endParaRPr lang="en-US"/>
        </a:p>
      </dgm:t>
    </dgm:pt>
    <dgm:pt modelId="{10DF5648-7416-434C-8BC3-0F92F96B97CB}" type="pres">
      <dgm:prSet presAssocID="{A2DE258B-5EDD-47A4-A98D-065D917BEA6A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48B252-526A-4E26-936C-C9CCF666F5DE}" type="pres">
      <dgm:prSet presAssocID="{D13B4EC8-F381-4E7D-AB9E-D011BAF0CD91}" presName="sibTrans" presStyleLbl="sibTrans2D1" presStyleIdx="3" presStyleCnt="5" custLinFactNeighborX="-7376" custLinFactNeighborY="-1344"/>
      <dgm:spPr/>
      <dgm:t>
        <a:bodyPr/>
        <a:lstStyle/>
        <a:p>
          <a:endParaRPr lang="en-US"/>
        </a:p>
      </dgm:t>
    </dgm:pt>
    <dgm:pt modelId="{036AA6AD-A8A4-4086-BC2C-1512CC873A0D}" type="pres">
      <dgm:prSet presAssocID="{D13B4EC8-F381-4E7D-AB9E-D011BAF0CD91}" presName="connectorText" presStyleLbl="sibTrans2D1" presStyleIdx="3" presStyleCnt="5"/>
      <dgm:spPr/>
      <dgm:t>
        <a:bodyPr/>
        <a:lstStyle/>
        <a:p>
          <a:endParaRPr lang="en-US"/>
        </a:p>
      </dgm:t>
    </dgm:pt>
    <dgm:pt modelId="{6D3AEE44-43FD-48EE-8CF1-7C4499C3371A}" type="pres">
      <dgm:prSet presAssocID="{2A62AF5F-6435-4364-A72A-478E6CFEE794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F72D01-FAD7-4120-AE83-1A0F208ED1F8}" type="pres">
      <dgm:prSet presAssocID="{5F942606-2424-4829-90AD-5B91C84FC30D}" presName="sibTrans" presStyleLbl="sibTrans2D1" presStyleIdx="4" presStyleCnt="5" custLinFactNeighborX="17358" custLinFactNeighborY="-4381"/>
      <dgm:spPr/>
      <dgm:t>
        <a:bodyPr/>
        <a:lstStyle/>
        <a:p>
          <a:endParaRPr lang="en-US"/>
        </a:p>
      </dgm:t>
    </dgm:pt>
    <dgm:pt modelId="{AABABA15-70F9-4FFF-A43F-542ACDA84C22}" type="pres">
      <dgm:prSet presAssocID="{5F942606-2424-4829-90AD-5B91C84FC30D}" presName="connectorText" presStyleLbl="sibTrans2D1" presStyleIdx="4" presStyleCnt="5"/>
      <dgm:spPr/>
      <dgm:t>
        <a:bodyPr/>
        <a:lstStyle/>
        <a:p>
          <a:endParaRPr lang="en-US"/>
        </a:p>
      </dgm:t>
    </dgm:pt>
    <dgm:pt modelId="{B3269C98-FE39-4934-95BE-9C10E0C6B355}" type="pres">
      <dgm:prSet presAssocID="{2551C04F-020F-495D-A318-D01245191349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D18B33D-E816-4EC6-BD63-395A4211DF91}" type="presOf" srcId="{AD54CEA8-5F53-4347-86E7-E38FF30F9C6D}" destId="{01A49A10-DA55-43D2-B848-2A752A4B7FB1}" srcOrd="0" destOrd="0" presId="urn:microsoft.com/office/officeart/2005/8/layout/process5"/>
    <dgm:cxn modelId="{E4FE5DDD-BF80-432F-BA24-1E5A053B07FE}" type="presOf" srcId="{310EC75C-E063-4A6D-B708-652AE6A98FFB}" destId="{FB08B26A-8E52-454A-9694-166FDA94A66C}" srcOrd="0" destOrd="0" presId="urn:microsoft.com/office/officeart/2005/8/layout/process5"/>
    <dgm:cxn modelId="{28AD617D-88AD-459D-B12C-ACB646688680}" type="presOf" srcId="{1B128018-3255-4C3E-A6F2-B681F04F9947}" destId="{B8D77E6C-9E07-4195-BF67-9B25D7196EAA}" srcOrd="0" destOrd="0" presId="urn:microsoft.com/office/officeart/2005/8/layout/process5"/>
    <dgm:cxn modelId="{A1ADAAD0-B1ED-4BE3-BA4A-ED78AB467A0D}" type="presOf" srcId="{7687A3FF-D23F-4D53-AB0F-6B1DA8BA7B9C}" destId="{3877E669-BE62-41BC-9950-13C5D39E30D2}" srcOrd="0" destOrd="0" presId="urn:microsoft.com/office/officeart/2005/8/layout/process5"/>
    <dgm:cxn modelId="{875C9722-BAD9-429B-9ADC-48EC16872893}" type="presOf" srcId="{5F942606-2424-4829-90AD-5B91C84FC30D}" destId="{D5F72D01-FAD7-4120-AE83-1A0F208ED1F8}" srcOrd="0" destOrd="0" presId="urn:microsoft.com/office/officeart/2005/8/layout/process5"/>
    <dgm:cxn modelId="{63D2F4EA-2FE3-4C7C-8482-3A4FF28B456A}" type="presOf" srcId="{1B128018-3255-4C3E-A6F2-B681F04F9947}" destId="{B03BAD51-824A-4B72-B5C9-F4D969B0FE1F}" srcOrd="1" destOrd="0" presId="urn:microsoft.com/office/officeart/2005/8/layout/process5"/>
    <dgm:cxn modelId="{6FE6A8E4-FA3A-49B6-9901-C9DA34466931}" srcId="{262B9D00-C826-4E11-8429-177F52B13C39}" destId="{2A62AF5F-6435-4364-A72A-478E6CFEE794}" srcOrd="4" destOrd="0" parTransId="{54E1A5CC-FC95-4B5C-8E76-70D09B9F9705}" sibTransId="{5F942606-2424-4829-90AD-5B91C84FC30D}"/>
    <dgm:cxn modelId="{1656D083-0757-46B3-9377-6F3E889548C7}" type="presOf" srcId="{2A62AF5F-6435-4364-A72A-478E6CFEE794}" destId="{6D3AEE44-43FD-48EE-8CF1-7C4499C3371A}" srcOrd="0" destOrd="0" presId="urn:microsoft.com/office/officeart/2005/8/layout/process5"/>
    <dgm:cxn modelId="{6793AF7E-A8A5-497D-AA2A-4E563CF27AA9}" type="presOf" srcId="{D13B4EC8-F381-4E7D-AB9E-D011BAF0CD91}" destId="{036AA6AD-A8A4-4086-BC2C-1512CC873A0D}" srcOrd="1" destOrd="0" presId="urn:microsoft.com/office/officeart/2005/8/layout/process5"/>
    <dgm:cxn modelId="{E2A43AF9-53FA-4ADA-88A5-FAC0B7DB1532}" srcId="{262B9D00-C826-4E11-8429-177F52B13C39}" destId="{AD54CEA8-5F53-4347-86E7-E38FF30F9C6D}" srcOrd="0" destOrd="0" parTransId="{DE73FDEF-55AF-4C8C-BC8B-D06C900BD70A}" sibTransId="{7687A3FF-D23F-4D53-AB0F-6B1DA8BA7B9C}"/>
    <dgm:cxn modelId="{F65A3407-FE25-48EB-ACE7-6DC37047692A}" type="presOf" srcId="{F26F70EC-E779-4452-97E7-E0713E7366DB}" destId="{39A16790-742C-466A-95A4-0BF22E5FCD7A}" srcOrd="0" destOrd="0" presId="urn:microsoft.com/office/officeart/2005/8/layout/process5"/>
    <dgm:cxn modelId="{008B4A7D-ED4C-4378-B9A7-0788697376C4}" type="presOf" srcId="{7687A3FF-D23F-4D53-AB0F-6B1DA8BA7B9C}" destId="{80702E3B-FA77-4C95-8465-C752588C38FB}" srcOrd="1" destOrd="0" presId="urn:microsoft.com/office/officeart/2005/8/layout/process5"/>
    <dgm:cxn modelId="{302F391F-B1A8-486D-BCEF-F541FE7143D4}" srcId="{262B9D00-C826-4E11-8429-177F52B13C39}" destId="{310EC75C-E063-4A6D-B708-652AE6A98FFB}" srcOrd="1" destOrd="0" parTransId="{DC529E6A-B598-4A66-9DC8-0689D344A803}" sibTransId="{F26F70EC-E779-4452-97E7-E0713E7366DB}"/>
    <dgm:cxn modelId="{CD984245-4988-46F9-A5D6-BB5B8C72CECF}" type="presOf" srcId="{D13B4EC8-F381-4E7D-AB9E-D011BAF0CD91}" destId="{7848B252-526A-4E26-936C-C9CCF666F5DE}" srcOrd="0" destOrd="0" presId="urn:microsoft.com/office/officeart/2005/8/layout/process5"/>
    <dgm:cxn modelId="{2D97E5EF-49C6-419B-9BC8-2C5349D0EBBA}" type="presOf" srcId="{5B07F661-21FD-4226-B11E-25E019FF7B66}" destId="{7D12FF1B-AFF2-41BF-A1B9-96394947895C}" srcOrd="0" destOrd="0" presId="urn:microsoft.com/office/officeart/2005/8/layout/process5"/>
    <dgm:cxn modelId="{328E14F1-1024-48CC-8785-C2E3DD1FB13C}" type="presOf" srcId="{5F942606-2424-4829-90AD-5B91C84FC30D}" destId="{AABABA15-70F9-4FFF-A43F-542ACDA84C22}" srcOrd="1" destOrd="0" presId="urn:microsoft.com/office/officeart/2005/8/layout/process5"/>
    <dgm:cxn modelId="{168EC823-CB49-42DF-B0A2-B4F35D7079A5}" type="presOf" srcId="{2551C04F-020F-495D-A318-D01245191349}" destId="{B3269C98-FE39-4934-95BE-9C10E0C6B355}" srcOrd="0" destOrd="0" presId="urn:microsoft.com/office/officeart/2005/8/layout/process5"/>
    <dgm:cxn modelId="{38032EA9-FF73-4C4A-8A2C-A39883860E86}" type="presOf" srcId="{F26F70EC-E779-4452-97E7-E0713E7366DB}" destId="{C56007E9-35BB-4D39-9B1A-57F61D92EDEB}" srcOrd="1" destOrd="0" presId="urn:microsoft.com/office/officeart/2005/8/layout/process5"/>
    <dgm:cxn modelId="{39237697-2E58-484C-ABA4-C86F5629A50A}" srcId="{262B9D00-C826-4E11-8429-177F52B13C39}" destId="{A2DE258B-5EDD-47A4-A98D-065D917BEA6A}" srcOrd="3" destOrd="0" parTransId="{FCFAA163-428E-432A-AC4A-0C193CBD4A8D}" sibTransId="{D13B4EC8-F381-4E7D-AB9E-D011BAF0CD91}"/>
    <dgm:cxn modelId="{832BF467-9270-4178-8FED-C6527BA12D64}" type="presOf" srcId="{262B9D00-C826-4E11-8429-177F52B13C39}" destId="{98281E7A-B42B-4A60-8F0A-02FBBE192048}" srcOrd="0" destOrd="0" presId="urn:microsoft.com/office/officeart/2005/8/layout/process5"/>
    <dgm:cxn modelId="{BCD3601A-92E9-46AF-B52C-E88EC5E2D680}" type="presOf" srcId="{A2DE258B-5EDD-47A4-A98D-065D917BEA6A}" destId="{10DF5648-7416-434C-8BC3-0F92F96B97CB}" srcOrd="0" destOrd="0" presId="urn:microsoft.com/office/officeart/2005/8/layout/process5"/>
    <dgm:cxn modelId="{3B9187A1-A02A-4089-AC67-DB95439638C0}" srcId="{262B9D00-C826-4E11-8429-177F52B13C39}" destId="{5B07F661-21FD-4226-B11E-25E019FF7B66}" srcOrd="2" destOrd="0" parTransId="{65D33F37-9CD7-40B7-A709-C11C8AC09BA9}" sibTransId="{1B128018-3255-4C3E-A6F2-B681F04F9947}"/>
    <dgm:cxn modelId="{C68991A4-5230-48BD-8050-DDEA24FF64A5}" srcId="{262B9D00-C826-4E11-8429-177F52B13C39}" destId="{2551C04F-020F-495D-A318-D01245191349}" srcOrd="5" destOrd="0" parTransId="{BCDB9010-55FA-404A-9363-BA57C20B00BD}" sibTransId="{7F9DF969-7821-47A1-8C06-4A22D451FC9B}"/>
    <dgm:cxn modelId="{5B969935-3465-4898-8BC9-04BFD05B831E}" type="presParOf" srcId="{98281E7A-B42B-4A60-8F0A-02FBBE192048}" destId="{01A49A10-DA55-43D2-B848-2A752A4B7FB1}" srcOrd="0" destOrd="0" presId="urn:microsoft.com/office/officeart/2005/8/layout/process5"/>
    <dgm:cxn modelId="{D6483392-5945-4147-9F43-43D5C2F502B8}" type="presParOf" srcId="{98281E7A-B42B-4A60-8F0A-02FBBE192048}" destId="{3877E669-BE62-41BC-9950-13C5D39E30D2}" srcOrd="1" destOrd="0" presId="urn:microsoft.com/office/officeart/2005/8/layout/process5"/>
    <dgm:cxn modelId="{68C45D54-5FFF-41A3-A678-052C40FB0938}" type="presParOf" srcId="{3877E669-BE62-41BC-9950-13C5D39E30D2}" destId="{80702E3B-FA77-4C95-8465-C752588C38FB}" srcOrd="0" destOrd="0" presId="urn:microsoft.com/office/officeart/2005/8/layout/process5"/>
    <dgm:cxn modelId="{86B8C8C0-5539-47B4-8476-46F378C94BD3}" type="presParOf" srcId="{98281E7A-B42B-4A60-8F0A-02FBBE192048}" destId="{FB08B26A-8E52-454A-9694-166FDA94A66C}" srcOrd="2" destOrd="0" presId="urn:microsoft.com/office/officeart/2005/8/layout/process5"/>
    <dgm:cxn modelId="{B460A888-DA4D-4138-AEE6-DB899587E677}" type="presParOf" srcId="{98281E7A-B42B-4A60-8F0A-02FBBE192048}" destId="{39A16790-742C-466A-95A4-0BF22E5FCD7A}" srcOrd="3" destOrd="0" presId="urn:microsoft.com/office/officeart/2005/8/layout/process5"/>
    <dgm:cxn modelId="{5E7175D8-96E1-47FA-8A95-3E6D3F2CB548}" type="presParOf" srcId="{39A16790-742C-466A-95A4-0BF22E5FCD7A}" destId="{C56007E9-35BB-4D39-9B1A-57F61D92EDEB}" srcOrd="0" destOrd="0" presId="urn:microsoft.com/office/officeart/2005/8/layout/process5"/>
    <dgm:cxn modelId="{0737D6DB-E76E-42EB-BBF1-160199A825C7}" type="presParOf" srcId="{98281E7A-B42B-4A60-8F0A-02FBBE192048}" destId="{7D12FF1B-AFF2-41BF-A1B9-96394947895C}" srcOrd="4" destOrd="0" presId="urn:microsoft.com/office/officeart/2005/8/layout/process5"/>
    <dgm:cxn modelId="{019E0C01-B7CB-4E5B-B87B-7E38EF98E85D}" type="presParOf" srcId="{98281E7A-B42B-4A60-8F0A-02FBBE192048}" destId="{B8D77E6C-9E07-4195-BF67-9B25D7196EAA}" srcOrd="5" destOrd="0" presId="urn:microsoft.com/office/officeart/2005/8/layout/process5"/>
    <dgm:cxn modelId="{12A17627-182E-42EB-9B4F-B7258F6004A5}" type="presParOf" srcId="{B8D77E6C-9E07-4195-BF67-9B25D7196EAA}" destId="{B03BAD51-824A-4B72-B5C9-F4D969B0FE1F}" srcOrd="0" destOrd="0" presId="urn:microsoft.com/office/officeart/2005/8/layout/process5"/>
    <dgm:cxn modelId="{FBA01DF9-C122-438E-A69E-4E5DD79B7FB1}" type="presParOf" srcId="{98281E7A-B42B-4A60-8F0A-02FBBE192048}" destId="{10DF5648-7416-434C-8BC3-0F92F96B97CB}" srcOrd="6" destOrd="0" presId="urn:microsoft.com/office/officeart/2005/8/layout/process5"/>
    <dgm:cxn modelId="{079C72C4-610B-415D-9C58-1692FF9C69C6}" type="presParOf" srcId="{98281E7A-B42B-4A60-8F0A-02FBBE192048}" destId="{7848B252-526A-4E26-936C-C9CCF666F5DE}" srcOrd="7" destOrd="0" presId="urn:microsoft.com/office/officeart/2005/8/layout/process5"/>
    <dgm:cxn modelId="{BE85C28D-510F-47E6-A5A5-1E5E37C90494}" type="presParOf" srcId="{7848B252-526A-4E26-936C-C9CCF666F5DE}" destId="{036AA6AD-A8A4-4086-BC2C-1512CC873A0D}" srcOrd="0" destOrd="0" presId="urn:microsoft.com/office/officeart/2005/8/layout/process5"/>
    <dgm:cxn modelId="{E84DDCBD-BFC0-46D8-BD5B-7D394F329F92}" type="presParOf" srcId="{98281E7A-B42B-4A60-8F0A-02FBBE192048}" destId="{6D3AEE44-43FD-48EE-8CF1-7C4499C3371A}" srcOrd="8" destOrd="0" presId="urn:microsoft.com/office/officeart/2005/8/layout/process5"/>
    <dgm:cxn modelId="{EF2014A8-9111-40F2-86CD-749D1FD03EE2}" type="presParOf" srcId="{98281E7A-B42B-4A60-8F0A-02FBBE192048}" destId="{D5F72D01-FAD7-4120-AE83-1A0F208ED1F8}" srcOrd="9" destOrd="0" presId="urn:microsoft.com/office/officeart/2005/8/layout/process5"/>
    <dgm:cxn modelId="{005A5B98-B7FA-40EA-8861-528D0630417E}" type="presParOf" srcId="{D5F72D01-FAD7-4120-AE83-1A0F208ED1F8}" destId="{AABABA15-70F9-4FFF-A43F-542ACDA84C22}" srcOrd="0" destOrd="0" presId="urn:microsoft.com/office/officeart/2005/8/layout/process5"/>
    <dgm:cxn modelId="{CC35C833-5B06-4BEC-9F35-8BDD3DEFC54E}" type="presParOf" srcId="{98281E7A-B42B-4A60-8F0A-02FBBE192048}" destId="{B3269C98-FE39-4934-95BE-9C10E0C6B355}" srcOrd="10" destOrd="0" presId="urn:microsoft.com/office/officeart/2005/8/layout/process5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2B9D00-C826-4E11-8429-177F52B13C39}" type="doc">
      <dgm:prSet loTypeId="urn:microsoft.com/office/officeart/2005/8/layout/process5" loCatId="process" qsTypeId="urn:microsoft.com/office/officeart/2005/8/quickstyle/3d4" qsCatId="3D" csTypeId="urn:microsoft.com/office/officeart/2005/8/colors/accent6_1" csCatId="accent6" phldr="1"/>
      <dgm:spPr/>
      <dgm:t>
        <a:bodyPr/>
        <a:lstStyle/>
        <a:p>
          <a:endParaRPr lang="id-ID"/>
        </a:p>
      </dgm:t>
    </dgm:pt>
    <dgm:pt modelId="{AD54CEA8-5F53-4347-86E7-E38FF30F9C6D}">
      <dgm:prSet phldrT="[Text]"/>
      <dgm:spPr/>
      <dgm:t>
        <a:bodyPr/>
        <a:lstStyle/>
        <a:p>
          <a:r>
            <a:rPr lang="en-US" dirty="0" err="1"/>
            <a:t>Akses</a:t>
          </a:r>
          <a:r>
            <a:rPr lang="en-US" dirty="0"/>
            <a:t> Portal </a:t>
          </a:r>
          <a:r>
            <a:rPr lang="en-US" dirty="0" err="1"/>
            <a:t>Perizinan</a:t>
          </a:r>
          <a:r>
            <a:rPr lang="en-US" dirty="0"/>
            <a:t> PUPR</a:t>
          </a:r>
          <a:endParaRPr lang="id-ID" dirty="0"/>
        </a:p>
      </dgm:t>
    </dgm:pt>
    <dgm:pt modelId="{DE73FDEF-55AF-4C8C-BC8B-D06C900BD70A}" type="parTrans" cxnId="{E2A43AF9-53FA-4ADA-88A5-FAC0B7DB1532}">
      <dgm:prSet/>
      <dgm:spPr/>
      <dgm:t>
        <a:bodyPr/>
        <a:lstStyle/>
        <a:p>
          <a:endParaRPr lang="id-ID"/>
        </a:p>
      </dgm:t>
    </dgm:pt>
    <dgm:pt modelId="{7687A3FF-D23F-4D53-AB0F-6B1DA8BA7B9C}" type="sibTrans" cxnId="{E2A43AF9-53FA-4ADA-88A5-FAC0B7DB1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310EC75C-E063-4A6D-B708-652AE6A98FFB}">
      <dgm:prSet phldrT="[Text]"/>
      <dgm:spPr/>
      <dgm:t>
        <a:bodyPr/>
        <a:lstStyle/>
        <a:p>
          <a:r>
            <a:rPr lang="en-US" dirty="0" err="1"/>
            <a:t>Registrasi</a:t>
          </a:r>
          <a:r>
            <a:rPr lang="en-US" dirty="0"/>
            <a:t> Akun SKK-K</a:t>
          </a:r>
          <a:endParaRPr lang="id-ID" dirty="0"/>
        </a:p>
      </dgm:t>
    </dgm:pt>
    <dgm:pt modelId="{DC529E6A-B598-4A66-9DC8-0689D344A803}" type="parTrans" cxnId="{302F391F-B1A8-486D-BCEF-F541FE7143D4}">
      <dgm:prSet/>
      <dgm:spPr/>
      <dgm:t>
        <a:bodyPr/>
        <a:lstStyle/>
        <a:p>
          <a:endParaRPr lang="id-ID"/>
        </a:p>
      </dgm:t>
    </dgm:pt>
    <dgm:pt modelId="{F26F70EC-E779-4452-97E7-E0713E7366DB}" type="sibTrans" cxnId="{302F391F-B1A8-486D-BCEF-F541FE7143D4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EF4EB16-B0C9-452C-B68A-00BB68859A7B}">
      <dgm:prSet phldrT="[Text]"/>
      <dgm:spPr/>
      <dgm:t>
        <a:bodyPr/>
        <a:lstStyle/>
        <a:p>
          <a:r>
            <a:rPr lang="en-US" dirty="0" err="1"/>
            <a:t>Permohonan</a:t>
          </a:r>
          <a:r>
            <a:rPr lang="en-US" dirty="0"/>
            <a:t> </a:t>
          </a:r>
          <a:r>
            <a:rPr lang="en-US" dirty="0">
              <a:sym typeface="Wingdings" panose="05000000000000000000" pitchFamily="2" charset="2"/>
            </a:rPr>
            <a:t> Baru  </a:t>
          </a:r>
          <a:r>
            <a:rPr lang="en-US" b="1" i="1" dirty="0" err="1">
              <a:sym typeface="Wingdings" panose="05000000000000000000" pitchFamily="2" charset="2"/>
            </a:rPr>
            <a:t>Freshgraduate</a:t>
          </a:r>
          <a:endParaRPr lang="id-ID" b="1" i="1" dirty="0"/>
        </a:p>
      </dgm:t>
    </dgm:pt>
    <dgm:pt modelId="{0FF0BCAB-0768-45C1-BC0F-0C57BDC601F9}" type="parTrans" cxnId="{6306278D-C6FA-40B1-933C-9AA417BA0B56}">
      <dgm:prSet/>
      <dgm:spPr/>
      <dgm:t>
        <a:bodyPr/>
        <a:lstStyle/>
        <a:p>
          <a:endParaRPr lang="id-ID"/>
        </a:p>
      </dgm:t>
    </dgm:pt>
    <dgm:pt modelId="{B9A78629-975F-4B90-AE96-9E5B92F536AA}" type="sibTrans" cxnId="{6306278D-C6FA-40B1-933C-9AA417BA0B56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4E899A98-15D4-4256-AA7B-5F8B4291E564}">
      <dgm:prSet phldrT="[Text]"/>
      <dgm:spPr/>
      <dgm:t>
        <a:bodyPr/>
        <a:lstStyle/>
        <a:p>
          <a:r>
            <a:rPr lang="en-US" dirty="0" err="1"/>
            <a:t>Pengisian</a:t>
          </a:r>
          <a:r>
            <a:rPr lang="en-US" dirty="0"/>
            <a:t> Data </a:t>
          </a:r>
          <a:r>
            <a:rPr lang="en-US" dirty="0" err="1"/>
            <a:t>Pemohon</a:t>
          </a:r>
          <a:r>
            <a:rPr lang="en-US" dirty="0"/>
            <a:t> dan </a:t>
          </a:r>
          <a:r>
            <a:rPr lang="en-US" dirty="0" err="1"/>
            <a:t>Persyaratan</a:t>
          </a:r>
          <a:endParaRPr lang="id-ID" dirty="0"/>
        </a:p>
      </dgm:t>
    </dgm:pt>
    <dgm:pt modelId="{E60EB875-8DE7-483C-BC93-388F2A9709FE}" type="parTrans" cxnId="{BF9A43E2-1D21-4746-83E6-0B3A0D6475FB}">
      <dgm:prSet/>
      <dgm:spPr/>
      <dgm:t>
        <a:bodyPr/>
        <a:lstStyle/>
        <a:p>
          <a:endParaRPr lang="id-ID"/>
        </a:p>
      </dgm:t>
    </dgm:pt>
    <dgm:pt modelId="{8B9E4C69-BF9B-4B9A-BD80-944831447FF2}" type="sibTrans" cxnId="{BF9A43E2-1D21-4746-83E6-0B3A0D6475FB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76611A96-8D89-4ABC-A2D5-6376D1FAA627}">
      <dgm:prSet phldrT="[Text]"/>
      <dgm:spPr/>
      <dgm:t>
        <a:bodyPr/>
        <a:lstStyle/>
        <a:p>
          <a:r>
            <a:rPr lang="en-US" dirty="0"/>
            <a:t>Ijazah/SKL, </a:t>
          </a:r>
          <a:r>
            <a:rPr lang="en-US" b="1" dirty="0" err="1"/>
            <a:t>Sertifikat</a:t>
          </a:r>
          <a:r>
            <a:rPr lang="en-US" b="1" dirty="0"/>
            <a:t> SIBIMA</a:t>
          </a:r>
          <a:r>
            <a:rPr lang="en-US" dirty="0"/>
            <a:t>, dan </a:t>
          </a:r>
          <a:r>
            <a:rPr lang="en-US" b="1" dirty="0" err="1"/>
            <a:t>Sertifikat</a:t>
          </a:r>
          <a:r>
            <a:rPr lang="en-US" b="1" dirty="0"/>
            <a:t> PKT (32 JPL)</a:t>
          </a:r>
        </a:p>
      </dgm:t>
    </dgm:pt>
    <dgm:pt modelId="{664007BD-9DE2-40B1-A604-17B906DB5D4F}" type="parTrans" cxnId="{E17DD8EA-AF9B-49B8-9FE5-8D3BE60DC532}">
      <dgm:prSet/>
      <dgm:spPr/>
      <dgm:t>
        <a:bodyPr/>
        <a:lstStyle/>
        <a:p>
          <a:endParaRPr lang="id-ID"/>
        </a:p>
      </dgm:t>
    </dgm:pt>
    <dgm:pt modelId="{3C94571C-248A-4A3D-B20F-21729F420AE2}" type="sibTrans" cxnId="{E17DD8EA-AF9B-49B8-9FE5-8D3BE60DC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2DE258B-5EDD-47A4-A98D-065D917BEA6A}">
      <dgm:prSet phldrT="[Text]"/>
      <dgm:spPr>
        <a:solidFill>
          <a:srgbClr val="FFFF00"/>
        </a:solidFill>
      </dgm:spPr>
      <dgm:t>
        <a:bodyPr/>
        <a:lstStyle/>
        <a:p>
          <a:r>
            <a:rPr lang="en-US" b="1" dirty="0" err="1"/>
            <a:t>Sertifikat</a:t>
          </a:r>
          <a:r>
            <a:rPr lang="en-US" b="1" dirty="0"/>
            <a:t> PKT </a:t>
          </a:r>
          <a:r>
            <a:rPr lang="en-US" dirty="0" err="1"/>
            <a:t>didapat</a:t>
          </a:r>
          <a:r>
            <a:rPr lang="en-US" dirty="0"/>
            <a:t> </a:t>
          </a:r>
          <a:r>
            <a:rPr lang="en-US" dirty="0" err="1"/>
            <a:t>dengan</a:t>
          </a:r>
          <a:r>
            <a:rPr lang="en-US" dirty="0"/>
            <a:t> </a:t>
          </a:r>
          <a:r>
            <a:rPr lang="en-US" dirty="0" err="1"/>
            <a:t>mengikuti</a:t>
          </a:r>
          <a:r>
            <a:rPr lang="en-US" dirty="0"/>
            <a:t> </a:t>
          </a:r>
          <a:r>
            <a:rPr lang="en-US" dirty="0" err="1"/>
            <a:t>kegiatan</a:t>
          </a:r>
          <a:r>
            <a:rPr lang="en-US" dirty="0"/>
            <a:t> </a:t>
          </a:r>
          <a:r>
            <a:rPr lang="en-US" dirty="0" err="1"/>
            <a:t>pelatihan</a:t>
          </a:r>
          <a:r>
            <a:rPr lang="en-US" dirty="0"/>
            <a:t> </a:t>
          </a:r>
          <a:r>
            <a:rPr lang="en-US" b="1" dirty="0"/>
            <a:t>BJKW</a:t>
          </a:r>
        </a:p>
      </dgm:t>
    </dgm:pt>
    <dgm:pt modelId="{FCFAA163-428E-432A-AC4A-0C193CBD4A8D}" type="parTrans" cxnId="{39237697-2E58-484C-ABA4-C86F5629A50A}">
      <dgm:prSet/>
      <dgm:spPr/>
      <dgm:t>
        <a:bodyPr/>
        <a:lstStyle/>
        <a:p>
          <a:endParaRPr lang="id-ID"/>
        </a:p>
      </dgm:t>
    </dgm:pt>
    <dgm:pt modelId="{D13B4EC8-F381-4E7D-AB9E-D011BAF0CD91}" type="sibTrans" cxnId="{39237697-2E58-484C-ABA4-C86F5629A50A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A62AF5F-6435-4364-A72A-478E6CFEE794}">
      <dgm:prSet phldrT="[Text]"/>
      <dgm:spPr/>
      <dgm:t>
        <a:bodyPr/>
        <a:lstStyle/>
        <a:p>
          <a:r>
            <a:rPr lang="en-US" dirty="0" err="1"/>
            <a:t>Verifikasi</a:t>
          </a:r>
          <a:r>
            <a:rPr lang="en-US" dirty="0"/>
            <a:t> </a:t>
          </a:r>
          <a:r>
            <a:rPr lang="en-US" dirty="0" err="1"/>
            <a:t>Kelengkapan</a:t>
          </a:r>
          <a:r>
            <a:rPr lang="en-US" dirty="0"/>
            <a:t> oleh LSP</a:t>
          </a:r>
        </a:p>
      </dgm:t>
    </dgm:pt>
    <dgm:pt modelId="{54E1A5CC-FC95-4B5C-8E76-70D09B9F9705}" type="parTrans" cxnId="{6FE6A8E4-FA3A-49B6-9901-C9DA34466931}">
      <dgm:prSet/>
      <dgm:spPr/>
      <dgm:t>
        <a:bodyPr/>
        <a:lstStyle/>
        <a:p>
          <a:endParaRPr lang="id-ID"/>
        </a:p>
      </dgm:t>
    </dgm:pt>
    <dgm:pt modelId="{5F942606-2424-4829-90AD-5B91C84FC30D}" type="sibTrans" cxnId="{6FE6A8E4-FA3A-49B6-9901-C9DA34466931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1A7C13D-FF6D-4CD5-A5D6-359A981AEAF3}">
      <dgm:prSet phldrT="[Text]"/>
      <dgm:spPr/>
      <dgm:t>
        <a:bodyPr/>
        <a:lstStyle/>
        <a:p>
          <a:r>
            <a:rPr lang="en-US" dirty="0" err="1"/>
            <a:t>Pembayaran</a:t>
          </a:r>
          <a:endParaRPr lang="en-US" dirty="0"/>
        </a:p>
      </dgm:t>
    </dgm:pt>
    <dgm:pt modelId="{A1DA8FDB-A69A-4776-85C4-89D44544563B}" type="parTrans" cxnId="{A7AF24D7-7A32-495E-A728-33B6EB87644D}">
      <dgm:prSet/>
      <dgm:spPr/>
      <dgm:t>
        <a:bodyPr/>
        <a:lstStyle/>
        <a:p>
          <a:endParaRPr lang="id-ID"/>
        </a:p>
      </dgm:t>
    </dgm:pt>
    <dgm:pt modelId="{144435B7-8C3A-43C1-B9ED-815C237DE833}" type="sibTrans" cxnId="{A7AF24D7-7A32-495E-A728-33B6EB87644D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997EB590-F184-40B9-B422-CDD04BC86DB3}">
      <dgm:prSet phldrT="[Text]"/>
      <dgm:spPr/>
      <dgm:t>
        <a:bodyPr/>
        <a:lstStyle/>
        <a:p>
          <a:r>
            <a:rPr lang="en-US" dirty="0"/>
            <a:t>Uji </a:t>
          </a:r>
          <a:r>
            <a:rPr lang="en-US" dirty="0" err="1"/>
            <a:t>Kompetensi</a:t>
          </a:r>
          <a:endParaRPr lang="en-US" dirty="0"/>
        </a:p>
      </dgm:t>
    </dgm:pt>
    <dgm:pt modelId="{1DA14726-53EF-4823-B553-F4F5FB0C2891}" type="parTrans" cxnId="{248E913F-F986-4C61-B0CA-ADDBD4285CD9}">
      <dgm:prSet/>
      <dgm:spPr/>
      <dgm:t>
        <a:bodyPr/>
        <a:lstStyle/>
        <a:p>
          <a:endParaRPr lang="id-ID"/>
        </a:p>
      </dgm:t>
    </dgm:pt>
    <dgm:pt modelId="{F831478C-E0B0-48C6-A4A5-1917C276FBD6}" type="sibTrans" cxnId="{248E913F-F986-4C61-B0CA-ADDBD4285CD9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0D1DC267-EDB7-48C8-8BFA-4E7B7031A1E1}">
      <dgm:prSet phldrT="[Text]"/>
      <dgm:spPr/>
      <dgm:t>
        <a:bodyPr/>
        <a:lstStyle/>
        <a:p>
          <a:r>
            <a:rPr lang="en-US" dirty="0" err="1"/>
            <a:t>Penetapan</a:t>
          </a:r>
          <a:r>
            <a:rPr lang="en-US" dirty="0"/>
            <a:t> Hasil Uji </a:t>
          </a:r>
          <a:r>
            <a:rPr lang="en-US" dirty="0" err="1"/>
            <a:t>Kompetensi</a:t>
          </a:r>
          <a:r>
            <a:rPr lang="en-US" dirty="0"/>
            <a:t> oleh </a:t>
          </a:r>
          <a:r>
            <a:rPr lang="en-US" dirty="0" err="1"/>
            <a:t>Komite</a:t>
          </a:r>
          <a:r>
            <a:rPr lang="en-US" dirty="0"/>
            <a:t> Teknis</a:t>
          </a:r>
        </a:p>
      </dgm:t>
    </dgm:pt>
    <dgm:pt modelId="{AB64DA9E-ABDB-4FF6-911E-D6747CAD5678}" type="parTrans" cxnId="{744DF3DB-9E55-4042-8AB2-40EDDE4E90F7}">
      <dgm:prSet/>
      <dgm:spPr/>
      <dgm:t>
        <a:bodyPr/>
        <a:lstStyle/>
        <a:p>
          <a:endParaRPr lang="id-ID"/>
        </a:p>
      </dgm:t>
    </dgm:pt>
    <dgm:pt modelId="{BE8F2A95-D086-4AF1-A9DE-4EF362944DEF}" type="sibTrans" cxnId="{744DF3DB-9E55-4042-8AB2-40EDDE4E90F7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5FBD4B3-25FF-4E45-86FF-AB1F5232052A}">
      <dgm:prSet phldrT="[Text]"/>
      <dgm:spPr/>
      <dgm:t>
        <a:bodyPr/>
        <a:lstStyle/>
        <a:p>
          <a:r>
            <a:rPr lang="en-US" dirty="0" err="1"/>
            <a:t>Pencatatan</a:t>
          </a:r>
          <a:endParaRPr lang="en-US" dirty="0"/>
        </a:p>
      </dgm:t>
    </dgm:pt>
    <dgm:pt modelId="{C6107E0F-C51C-4220-A03E-3198B31EACA2}" type="parTrans" cxnId="{C27BF15E-E6C0-4A17-AC67-E89E003C9B66}">
      <dgm:prSet/>
      <dgm:spPr/>
      <dgm:t>
        <a:bodyPr/>
        <a:lstStyle/>
        <a:p>
          <a:endParaRPr lang="id-ID"/>
        </a:p>
      </dgm:t>
    </dgm:pt>
    <dgm:pt modelId="{684D34C8-B14C-43A1-9553-E3A9FBB5773E}" type="sibTrans" cxnId="{C27BF15E-E6C0-4A17-AC67-E89E003C9B66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551C04F-020F-495D-A318-D01245191349}">
      <dgm:prSet phldrT="[Text]"/>
      <dgm:spPr/>
      <dgm:t>
        <a:bodyPr/>
        <a:lstStyle/>
        <a:p>
          <a:r>
            <a:rPr lang="en-US" dirty="0" err="1"/>
            <a:t>Penerbitan</a:t>
          </a:r>
          <a:r>
            <a:rPr lang="en-US" dirty="0"/>
            <a:t> SKK-K </a:t>
          </a:r>
          <a:r>
            <a:rPr lang="en-US" dirty="0" err="1"/>
            <a:t>elektronik</a:t>
          </a:r>
          <a:endParaRPr lang="en-US" dirty="0"/>
        </a:p>
      </dgm:t>
    </dgm:pt>
    <dgm:pt modelId="{BCDB9010-55FA-404A-9363-BA57C20B00BD}" type="parTrans" cxnId="{C68991A4-5230-48BD-8050-DDEA24FF64A5}">
      <dgm:prSet/>
      <dgm:spPr/>
      <dgm:t>
        <a:bodyPr/>
        <a:lstStyle/>
        <a:p>
          <a:endParaRPr lang="id-ID"/>
        </a:p>
      </dgm:t>
    </dgm:pt>
    <dgm:pt modelId="{7F9DF969-7821-47A1-8C06-4A22D451FC9B}" type="sibTrans" cxnId="{C68991A4-5230-48BD-8050-DDEA24FF64A5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E21B05AE-37BA-4E2B-8FD5-72104FB09C1D}">
      <dgm:prSet phldrT="[Text]"/>
      <dgm:spPr/>
      <dgm:t>
        <a:bodyPr/>
        <a:lstStyle/>
        <a:p>
          <a:r>
            <a:rPr lang="en-US" dirty="0"/>
            <a:t>SKK-K </a:t>
          </a:r>
          <a:r>
            <a:rPr lang="en-US" dirty="0" err="1"/>
            <a:t>elektronik</a:t>
          </a:r>
          <a:r>
            <a:rPr lang="en-US" dirty="0"/>
            <a:t> </a:t>
          </a:r>
          <a:r>
            <a:rPr lang="en-US" dirty="0" err="1"/>
            <a:t>diterima</a:t>
          </a:r>
          <a:r>
            <a:rPr lang="en-US" dirty="0"/>
            <a:t> </a:t>
          </a:r>
          <a:r>
            <a:rPr lang="en-US" dirty="0" err="1"/>
            <a:t>melalui</a:t>
          </a:r>
          <a:r>
            <a:rPr lang="en-US" dirty="0"/>
            <a:t> Portal </a:t>
          </a:r>
          <a:r>
            <a:rPr lang="en-US" dirty="0" err="1"/>
            <a:t>Perizinan</a:t>
          </a:r>
          <a:r>
            <a:rPr lang="en-US" dirty="0"/>
            <a:t> PUPR</a:t>
          </a:r>
        </a:p>
      </dgm:t>
    </dgm:pt>
    <dgm:pt modelId="{5C563D78-770A-4DF6-BC95-B4BC1C645274}" type="parTrans" cxnId="{03E81614-2C05-4D82-AD24-C91E420E0F41}">
      <dgm:prSet/>
      <dgm:spPr/>
      <dgm:t>
        <a:bodyPr/>
        <a:lstStyle/>
        <a:p>
          <a:endParaRPr lang="id-ID"/>
        </a:p>
      </dgm:t>
    </dgm:pt>
    <dgm:pt modelId="{0EC1CEC8-6FEA-419F-B3F7-46016423A010}" type="sibTrans" cxnId="{03E81614-2C05-4D82-AD24-C91E420E0F41}">
      <dgm:prSet/>
      <dgm:spPr/>
      <dgm:t>
        <a:bodyPr/>
        <a:lstStyle/>
        <a:p>
          <a:endParaRPr lang="id-ID"/>
        </a:p>
      </dgm:t>
    </dgm:pt>
    <dgm:pt modelId="{5B07F661-21FD-4226-B11E-25E019FF7B66}">
      <dgm:prSet phldrT="[Text]"/>
      <dgm:spPr/>
      <dgm:t>
        <a:bodyPr/>
        <a:lstStyle/>
        <a:p>
          <a:r>
            <a:rPr lang="en-US" dirty="0"/>
            <a:t>Login </a:t>
          </a:r>
          <a:r>
            <a:rPr lang="en-US" dirty="0" err="1"/>
            <a:t>dengan</a:t>
          </a:r>
          <a:r>
            <a:rPr lang="en-US" dirty="0"/>
            <a:t> </a:t>
          </a:r>
          <a:r>
            <a:rPr lang="en-US" dirty="0" err="1"/>
            <a:t>akun</a:t>
          </a:r>
          <a:r>
            <a:rPr lang="en-US" dirty="0"/>
            <a:t> </a:t>
          </a:r>
          <a:r>
            <a:rPr lang="en-US" dirty="0" err="1"/>
            <a:t>yg</a:t>
          </a:r>
          <a:r>
            <a:rPr lang="en-US" dirty="0"/>
            <a:t> </a:t>
          </a:r>
          <a:r>
            <a:rPr lang="en-US" dirty="0" err="1"/>
            <a:t>dikirim</a:t>
          </a:r>
          <a:r>
            <a:rPr lang="en-US" dirty="0"/>
            <a:t> </a:t>
          </a:r>
          <a:r>
            <a:rPr lang="en-US" dirty="0" err="1"/>
            <a:t>melalui</a:t>
          </a:r>
          <a:r>
            <a:rPr lang="en-US" dirty="0"/>
            <a:t> Email</a:t>
          </a:r>
          <a:endParaRPr lang="id-ID" dirty="0"/>
        </a:p>
      </dgm:t>
    </dgm:pt>
    <dgm:pt modelId="{65D33F37-9CD7-40B7-A709-C11C8AC09BA9}" type="parTrans" cxnId="{3B9187A1-A02A-4089-AC67-DB95439638C0}">
      <dgm:prSet/>
      <dgm:spPr/>
      <dgm:t>
        <a:bodyPr/>
        <a:lstStyle/>
        <a:p>
          <a:endParaRPr lang="en-ID"/>
        </a:p>
      </dgm:t>
    </dgm:pt>
    <dgm:pt modelId="{1B128018-3255-4C3E-A6F2-B681F04F9947}" type="sibTrans" cxnId="{3B9187A1-A02A-4089-AC67-DB95439638C0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en-ID"/>
        </a:p>
      </dgm:t>
    </dgm:pt>
    <dgm:pt modelId="{98281E7A-B42B-4A60-8F0A-02FBBE192048}" type="pres">
      <dgm:prSet presAssocID="{262B9D00-C826-4E11-8429-177F52B13C3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1A49A10-DA55-43D2-B848-2A752A4B7FB1}" type="pres">
      <dgm:prSet presAssocID="{AD54CEA8-5F53-4347-86E7-E38FF30F9C6D}" presName="node" presStyleLbl="node1" presStyleIdx="0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77E669-BE62-41BC-9950-13C5D39E30D2}" type="pres">
      <dgm:prSet presAssocID="{7687A3FF-D23F-4D53-AB0F-6B1DA8BA7B9C}" presName="sibTrans" presStyleLbl="sibTrans2D1" presStyleIdx="0" presStyleCnt="13"/>
      <dgm:spPr/>
      <dgm:t>
        <a:bodyPr/>
        <a:lstStyle/>
        <a:p>
          <a:endParaRPr lang="en-US"/>
        </a:p>
      </dgm:t>
    </dgm:pt>
    <dgm:pt modelId="{80702E3B-FA77-4C95-8465-C752588C38FB}" type="pres">
      <dgm:prSet presAssocID="{7687A3FF-D23F-4D53-AB0F-6B1DA8BA7B9C}" presName="connectorText" presStyleLbl="sibTrans2D1" presStyleIdx="0" presStyleCnt="13"/>
      <dgm:spPr/>
      <dgm:t>
        <a:bodyPr/>
        <a:lstStyle/>
        <a:p>
          <a:endParaRPr lang="en-US"/>
        </a:p>
      </dgm:t>
    </dgm:pt>
    <dgm:pt modelId="{FB08B26A-8E52-454A-9694-166FDA94A66C}" type="pres">
      <dgm:prSet presAssocID="{310EC75C-E063-4A6D-B708-652AE6A98FFB}" presName="node" presStyleLbl="node1" presStyleIdx="1" presStyleCnt="14" custLinFactNeighborX="442" custLinFactNeighborY="6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A16790-742C-466A-95A4-0BF22E5FCD7A}" type="pres">
      <dgm:prSet presAssocID="{F26F70EC-E779-4452-97E7-E0713E7366DB}" presName="sibTrans" presStyleLbl="sibTrans2D1" presStyleIdx="1" presStyleCnt="13" custLinFactNeighborX="-27435" custLinFactNeighborY="4219"/>
      <dgm:spPr/>
      <dgm:t>
        <a:bodyPr/>
        <a:lstStyle/>
        <a:p>
          <a:endParaRPr lang="en-US"/>
        </a:p>
      </dgm:t>
    </dgm:pt>
    <dgm:pt modelId="{C56007E9-35BB-4D39-9B1A-57F61D92EDEB}" type="pres">
      <dgm:prSet presAssocID="{F26F70EC-E779-4452-97E7-E0713E7366DB}" presName="connectorText" presStyleLbl="sibTrans2D1" presStyleIdx="1" presStyleCnt="13"/>
      <dgm:spPr/>
      <dgm:t>
        <a:bodyPr/>
        <a:lstStyle/>
        <a:p>
          <a:endParaRPr lang="en-US"/>
        </a:p>
      </dgm:t>
    </dgm:pt>
    <dgm:pt modelId="{7D12FF1B-AFF2-41BF-A1B9-96394947895C}" type="pres">
      <dgm:prSet presAssocID="{5B07F661-21FD-4226-B11E-25E019FF7B66}" presName="node" presStyleLbl="node1" presStyleIdx="2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D77E6C-9E07-4195-BF67-9B25D7196EAA}" type="pres">
      <dgm:prSet presAssocID="{1B128018-3255-4C3E-A6F2-B681F04F9947}" presName="sibTrans" presStyleLbl="sibTrans2D1" presStyleIdx="2" presStyleCnt="13" custLinFactNeighborX="-38153" custLinFactNeighborY="-7346"/>
      <dgm:spPr/>
      <dgm:t>
        <a:bodyPr/>
        <a:lstStyle/>
        <a:p>
          <a:endParaRPr lang="en-US"/>
        </a:p>
      </dgm:t>
    </dgm:pt>
    <dgm:pt modelId="{B03BAD51-824A-4B72-B5C9-F4D969B0FE1F}" type="pres">
      <dgm:prSet presAssocID="{1B128018-3255-4C3E-A6F2-B681F04F9947}" presName="connectorText" presStyleLbl="sibTrans2D1" presStyleIdx="2" presStyleCnt="13"/>
      <dgm:spPr/>
      <dgm:t>
        <a:bodyPr/>
        <a:lstStyle/>
        <a:p>
          <a:endParaRPr lang="en-US"/>
        </a:p>
      </dgm:t>
    </dgm:pt>
    <dgm:pt modelId="{2B6E1E24-A7FA-4049-86FC-9D12842052E7}" type="pres">
      <dgm:prSet presAssocID="{AEF4EB16-B0C9-452C-B68A-00BB68859A7B}" presName="node" presStyleLbl="node1" presStyleIdx="3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F05F3B-4E23-47B7-9399-FA0B1A3EC9AF}" type="pres">
      <dgm:prSet presAssocID="{B9A78629-975F-4B90-AE96-9E5B92F536AA}" presName="sibTrans" presStyleLbl="sibTrans2D1" presStyleIdx="3" presStyleCnt="13"/>
      <dgm:spPr/>
      <dgm:t>
        <a:bodyPr/>
        <a:lstStyle/>
        <a:p>
          <a:endParaRPr lang="en-US"/>
        </a:p>
      </dgm:t>
    </dgm:pt>
    <dgm:pt modelId="{16836755-55F7-4A1E-8705-055A4D230720}" type="pres">
      <dgm:prSet presAssocID="{B9A78629-975F-4B90-AE96-9E5B92F536AA}" presName="connectorText" presStyleLbl="sibTrans2D1" presStyleIdx="3" presStyleCnt="13"/>
      <dgm:spPr/>
      <dgm:t>
        <a:bodyPr/>
        <a:lstStyle/>
        <a:p>
          <a:endParaRPr lang="en-US"/>
        </a:p>
      </dgm:t>
    </dgm:pt>
    <dgm:pt modelId="{C53C5ED3-16AC-4B3F-9B93-D856278E85E8}" type="pres">
      <dgm:prSet presAssocID="{4E899A98-15D4-4256-AA7B-5F8B4291E564}" presName="node" presStyleLbl="node1" presStyleIdx="4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8488BD-C1A4-477A-8CF9-A79D8E5107F2}" type="pres">
      <dgm:prSet presAssocID="{8B9E4C69-BF9B-4B9A-BD80-944831447FF2}" presName="sibTrans" presStyleLbl="sibTrans2D1" presStyleIdx="4" presStyleCnt="13" custLinFactNeighborX="11768" custLinFactNeighborY="9680"/>
      <dgm:spPr/>
      <dgm:t>
        <a:bodyPr/>
        <a:lstStyle/>
        <a:p>
          <a:endParaRPr lang="en-US"/>
        </a:p>
      </dgm:t>
    </dgm:pt>
    <dgm:pt modelId="{5033852B-6252-4BC2-BA8A-939A6D79CE68}" type="pres">
      <dgm:prSet presAssocID="{8B9E4C69-BF9B-4B9A-BD80-944831447FF2}" presName="connectorText" presStyleLbl="sibTrans2D1" presStyleIdx="4" presStyleCnt="13"/>
      <dgm:spPr/>
      <dgm:t>
        <a:bodyPr/>
        <a:lstStyle/>
        <a:p>
          <a:endParaRPr lang="en-US"/>
        </a:p>
      </dgm:t>
    </dgm:pt>
    <dgm:pt modelId="{519EAD41-65A7-4AAB-AFFA-DCC2B68A3AFF}" type="pres">
      <dgm:prSet presAssocID="{76611A96-8D89-4ABC-A2D5-6376D1FAA627}" presName="node" presStyleLbl="node1" presStyleIdx="5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F3E634-1966-415E-85D5-38A897C4E7E3}" type="pres">
      <dgm:prSet presAssocID="{3C94571C-248A-4A3D-B20F-21729F420AE2}" presName="sibTrans" presStyleLbl="sibTrans2D1" presStyleIdx="5" presStyleCnt="13" custLinFactNeighborX="29919" custLinFactNeighborY="-5863"/>
      <dgm:spPr/>
      <dgm:t>
        <a:bodyPr/>
        <a:lstStyle/>
        <a:p>
          <a:endParaRPr lang="en-US"/>
        </a:p>
      </dgm:t>
    </dgm:pt>
    <dgm:pt modelId="{73F9BE4E-A25B-4D57-B8A1-8D52E04917B6}" type="pres">
      <dgm:prSet presAssocID="{3C94571C-248A-4A3D-B20F-21729F420AE2}" presName="connectorText" presStyleLbl="sibTrans2D1" presStyleIdx="5" presStyleCnt="13"/>
      <dgm:spPr/>
      <dgm:t>
        <a:bodyPr/>
        <a:lstStyle/>
        <a:p>
          <a:endParaRPr lang="en-US"/>
        </a:p>
      </dgm:t>
    </dgm:pt>
    <dgm:pt modelId="{10DF5648-7416-434C-8BC3-0F92F96B97CB}" type="pres">
      <dgm:prSet presAssocID="{A2DE258B-5EDD-47A4-A98D-065D917BEA6A}" presName="node" presStyleLbl="node1" presStyleIdx="6" presStyleCnt="14" custScaleX="93136" custScaleY="118155">
        <dgm:presLayoutVars>
          <dgm:bulletEnabled val="1"/>
        </dgm:presLayoutVars>
      </dgm:prSet>
      <dgm:spPr>
        <a:prstGeom prst="flowChartDocument">
          <a:avLst/>
        </a:prstGeom>
      </dgm:spPr>
      <dgm:t>
        <a:bodyPr/>
        <a:lstStyle/>
        <a:p>
          <a:endParaRPr lang="en-US"/>
        </a:p>
      </dgm:t>
    </dgm:pt>
    <dgm:pt modelId="{7848B252-526A-4E26-936C-C9CCF666F5DE}" type="pres">
      <dgm:prSet presAssocID="{D13B4EC8-F381-4E7D-AB9E-D011BAF0CD91}" presName="sibTrans" presStyleLbl="sibTrans2D1" presStyleIdx="6" presStyleCnt="13" custLinFactNeighborX="18823" custLinFactNeighborY="-233"/>
      <dgm:spPr/>
      <dgm:t>
        <a:bodyPr/>
        <a:lstStyle/>
        <a:p>
          <a:endParaRPr lang="en-US"/>
        </a:p>
      </dgm:t>
    </dgm:pt>
    <dgm:pt modelId="{036AA6AD-A8A4-4086-BC2C-1512CC873A0D}" type="pres">
      <dgm:prSet presAssocID="{D13B4EC8-F381-4E7D-AB9E-D011BAF0CD91}" presName="connectorText" presStyleLbl="sibTrans2D1" presStyleIdx="6" presStyleCnt="13"/>
      <dgm:spPr/>
      <dgm:t>
        <a:bodyPr/>
        <a:lstStyle/>
        <a:p>
          <a:endParaRPr lang="en-US"/>
        </a:p>
      </dgm:t>
    </dgm:pt>
    <dgm:pt modelId="{6D3AEE44-43FD-48EE-8CF1-7C4499C3371A}" type="pres">
      <dgm:prSet presAssocID="{2A62AF5F-6435-4364-A72A-478E6CFEE794}" presName="node" presStyleLbl="node1" presStyleIdx="7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F72D01-FAD7-4120-AE83-1A0F208ED1F8}" type="pres">
      <dgm:prSet presAssocID="{5F942606-2424-4829-90AD-5B91C84FC30D}" presName="sibTrans" presStyleLbl="sibTrans2D1" presStyleIdx="7" presStyleCnt="13" custLinFactNeighborX="21686" custLinFactNeighborY="1961"/>
      <dgm:spPr/>
      <dgm:t>
        <a:bodyPr/>
        <a:lstStyle/>
        <a:p>
          <a:endParaRPr lang="en-US"/>
        </a:p>
      </dgm:t>
    </dgm:pt>
    <dgm:pt modelId="{AABABA15-70F9-4FFF-A43F-542ACDA84C22}" type="pres">
      <dgm:prSet presAssocID="{5F942606-2424-4829-90AD-5B91C84FC30D}" presName="connectorText" presStyleLbl="sibTrans2D1" presStyleIdx="7" presStyleCnt="13"/>
      <dgm:spPr/>
      <dgm:t>
        <a:bodyPr/>
        <a:lstStyle/>
        <a:p>
          <a:endParaRPr lang="en-US"/>
        </a:p>
      </dgm:t>
    </dgm:pt>
    <dgm:pt modelId="{BF16CC55-EE22-4FA0-B744-3C75ED0CDFB9}" type="pres">
      <dgm:prSet presAssocID="{21A7C13D-FF6D-4CD5-A5D6-359A981AEAF3}" presName="node" presStyleLbl="node1" presStyleIdx="8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6B0C22-5E1F-47C4-ABDB-F0D776289AB1}" type="pres">
      <dgm:prSet presAssocID="{144435B7-8C3A-43C1-B9ED-815C237DE833}" presName="sibTrans" presStyleLbl="sibTrans2D1" presStyleIdx="8" presStyleCnt="13"/>
      <dgm:spPr/>
      <dgm:t>
        <a:bodyPr/>
        <a:lstStyle/>
        <a:p>
          <a:endParaRPr lang="en-US"/>
        </a:p>
      </dgm:t>
    </dgm:pt>
    <dgm:pt modelId="{6741C56C-4C87-4BA4-8853-C720F6210EC5}" type="pres">
      <dgm:prSet presAssocID="{144435B7-8C3A-43C1-B9ED-815C237DE833}" presName="connectorText" presStyleLbl="sibTrans2D1" presStyleIdx="8" presStyleCnt="13"/>
      <dgm:spPr/>
      <dgm:t>
        <a:bodyPr/>
        <a:lstStyle/>
        <a:p>
          <a:endParaRPr lang="en-US"/>
        </a:p>
      </dgm:t>
    </dgm:pt>
    <dgm:pt modelId="{7D66EB39-461E-4387-864C-3DC4290864AF}" type="pres">
      <dgm:prSet presAssocID="{997EB590-F184-40B9-B422-CDD04BC86DB3}" presName="node" presStyleLbl="node1" presStyleIdx="9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33039C-BA0A-4FD7-AF5B-4CA33D23A3BE}" type="pres">
      <dgm:prSet presAssocID="{F831478C-E0B0-48C6-A4A5-1917C276FBD6}" presName="sibTrans" presStyleLbl="sibTrans2D1" presStyleIdx="9" presStyleCnt="13"/>
      <dgm:spPr/>
      <dgm:t>
        <a:bodyPr/>
        <a:lstStyle/>
        <a:p>
          <a:endParaRPr lang="en-US"/>
        </a:p>
      </dgm:t>
    </dgm:pt>
    <dgm:pt modelId="{2D5E3A06-7608-427B-8000-20DCF6ED2E43}" type="pres">
      <dgm:prSet presAssocID="{F831478C-E0B0-48C6-A4A5-1917C276FBD6}" presName="connectorText" presStyleLbl="sibTrans2D1" presStyleIdx="9" presStyleCnt="13"/>
      <dgm:spPr/>
      <dgm:t>
        <a:bodyPr/>
        <a:lstStyle/>
        <a:p>
          <a:endParaRPr lang="en-US"/>
        </a:p>
      </dgm:t>
    </dgm:pt>
    <dgm:pt modelId="{1E8F4112-35A4-4295-87F4-B72985AE28CB}" type="pres">
      <dgm:prSet presAssocID="{0D1DC267-EDB7-48C8-8BFA-4E7B7031A1E1}" presName="node" presStyleLbl="node1" presStyleIdx="10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BA764D-ECD5-4996-9C44-8A0A5F19889D}" type="pres">
      <dgm:prSet presAssocID="{BE8F2A95-D086-4AF1-A9DE-4EF362944DEF}" presName="sibTrans" presStyleLbl="sibTrans2D1" presStyleIdx="10" presStyleCnt="13" custLinFactNeighborX="-21133" custLinFactNeighborY="-2615"/>
      <dgm:spPr/>
      <dgm:t>
        <a:bodyPr/>
        <a:lstStyle/>
        <a:p>
          <a:endParaRPr lang="en-US"/>
        </a:p>
      </dgm:t>
    </dgm:pt>
    <dgm:pt modelId="{8D66E80D-3792-44A1-A555-C859786D3F71}" type="pres">
      <dgm:prSet presAssocID="{BE8F2A95-D086-4AF1-A9DE-4EF362944DEF}" presName="connectorText" presStyleLbl="sibTrans2D1" presStyleIdx="10" presStyleCnt="13"/>
      <dgm:spPr/>
      <dgm:t>
        <a:bodyPr/>
        <a:lstStyle/>
        <a:p>
          <a:endParaRPr lang="en-US"/>
        </a:p>
      </dgm:t>
    </dgm:pt>
    <dgm:pt modelId="{40DA85B8-AB36-40AB-8A67-B0700BBA8244}" type="pres">
      <dgm:prSet presAssocID="{25FBD4B3-25FF-4E45-86FF-AB1F5232052A}" presName="node" presStyleLbl="node1" presStyleIdx="11" presStyleCnt="14" custScaleY="822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8071CD-006C-4360-B296-0E1A84EE250A}" type="pres">
      <dgm:prSet presAssocID="{684D34C8-B14C-43A1-9553-E3A9FBB5773E}" presName="sibTrans" presStyleLbl="sibTrans2D1" presStyleIdx="11" presStyleCnt="13" custLinFactNeighborX="-12207" custLinFactNeighborY="-128"/>
      <dgm:spPr/>
      <dgm:t>
        <a:bodyPr/>
        <a:lstStyle/>
        <a:p>
          <a:endParaRPr lang="en-US"/>
        </a:p>
      </dgm:t>
    </dgm:pt>
    <dgm:pt modelId="{64E4E5A8-D687-4A18-989B-51516A068551}" type="pres">
      <dgm:prSet presAssocID="{684D34C8-B14C-43A1-9553-E3A9FBB5773E}" presName="connectorText" presStyleLbl="sibTrans2D1" presStyleIdx="11" presStyleCnt="13"/>
      <dgm:spPr/>
      <dgm:t>
        <a:bodyPr/>
        <a:lstStyle/>
        <a:p>
          <a:endParaRPr lang="en-US"/>
        </a:p>
      </dgm:t>
    </dgm:pt>
    <dgm:pt modelId="{B3269C98-FE39-4934-95BE-9C10E0C6B355}" type="pres">
      <dgm:prSet presAssocID="{2551C04F-020F-495D-A318-D01245191349}" presName="node" presStyleLbl="node1" presStyleIdx="12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B36BAE-25BD-4995-A0A7-28D989B3241F}" type="pres">
      <dgm:prSet presAssocID="{7F9DF969-7821-47A1-8C06-4A22D451FC9B}" presName="sibTrans" presStyleLbl="sibTrans2D1" presStyleIdx="12" presStyleCnt="13" custLinFactNeighborX="-18839" custLinFactNeighborY="-128"/>
      <dgm:spPr/>
      <dgm:t>
        <a:bodyPr/>
        <a:lstStyle/>
        <a:p>
          <a:endParaRPr lang="en-US"/>
        </a:p>
      </dgm:t>
    </dgm:pt>
    <dgm:pt modelId="{482961E6-2364-4DBB-9811-136E81958C03}" type="pres">
      <dgm:prSet presAssocID="{7F9DF969-7821-47A1-8C06-4A22D451FC9B}" presName="connectorText" presStyleLbl="sibTrans2D1" presStyleIdx="12" presStyleCnt="13"/>
      <dgm:spPr/>
      <dgm:t>
        <a:bodyPr/>
        <a:lstStyle/>
        <a:p>
          <a:endParaRPr lang="en-US"/>
        </a:p>
      </dgm:t>
    </dgm:pt>
    <dgm:pt modelId="{8534CBB5-8797-46BC-A736-3AC7DDECF8A2}" type="pres">
      <dgm:prSet presAssocID="{E21B05AE-37BA-4E2B-8FD5-72104FB09C1D}" presName="node" presStyleLbl="node1" presStyleIdx="13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0083FB7-890A-4C40-BE55-DC934DD638EF}" type="presOf" srcId="{7687A3FF-D23F-4D53-AB0F-6B1DA8BA7B9C}" destId="{80702E3B-FA77-4C95-8465-C752588C38FB}" srcOrd="1" destOrd="0" presId="urn:microsoft.com/office/officeart/2005/8/layout/process5"/>
    <dgm:cxn modelId="{C27BF15E-E6C0-4A17-AC67-E89E003C9B66}" srcId="{262B9D00-C826-4E11-8429-177F52B13C39}" destId="{25FBD4B3-25FF-4E45-86FF-AB1F5232052A}" srcOrd="11" destOrd="0" parTransId="{C6107E0F-C51C-4220-A03E-3198B31EACA2}" sibTransId="{684D34C8-B14C-43A1-9553-E3A9FBB5773E}"/>
    <dgm:cxn modelId="{B6FF7955-5BF2-482C-8E2F-ECB6A5230C44}" type="presOf" srcId="{E21B05AE-37BA-4E2B-8FD5-72104FB09C1D}" destId="{8534CBB5-8797-46BC-A736-3AC7DDECF8A2}" srcOrd="0" destOrd="0" presId="urn:microsoft.com/office/officeart/2005/8/layout/process5"/>
    <dgm:cxn modelId="{416628E3-879E-41E4-AB35-FDC336352673}" type="presOf" srcId="{F831478C-E0B0-48C6-A4A5-1917C276FBD6}" destId="{2D5E3A06-7608-427B-8000-20DCF6ED2E43}" srcOrd="1" destOrd="0" presId="urn:microsoft.com/office/officeart/2005/8/layout/process5"/>
    <dgm:cxn modelId="{7B8AE53F-195F-4014-BFA9-B213849DDAFA}" type="presOf" srcId="{AD54CEA8-5F53-4347-86E7-E38FF30F9C6D}" destId="{01A49A10-DA55-43D2-B848-2A752A4B7FB1}" srcOrd="0" destOrd="0" presId="urn:microsoft.com/office/officeart/2005/8/layout/process5"/>
    <dgm:cxn modelId="{7B3462C4-9B0E-4820-83FA-90DA1380143A}" type="presOf" srcId="{5F942606-2424-4829-90AD-5B91C84FC30D}" destId="{D5F72D01-FAD7-4120-AE83-1A0F208ED1F8}" srcOrd="0" destOrd="0" presId="urn:microsoft.com/office/officeart/2005/8/layout/process5"/>
    <dgm:cxn modelId="{C255E6C0-3F8D-4468-86E8-127B2E62BE21}" type="presOf" srcId="{7687A3FF-D23F-4D53-AB0F-6B1DA8BA7B9C}" destId="{3877E669-BE62-41BC-9950-13C5D39E30D2}" srcOrd="0" destOrd="0" presId="urn:microsoft.com/office/officeart/2005/8/layout/process5"/>
    <dgm:cxn modelId="{39237697-2E58-484C-ABA4-C86F5629A50A}" srcId="{262B9D00-C826-4E11-8429-177F52B13C39}" destId="{A2DE258B-5EDD-47A4-A98D-065D917BEA6A}" srcOrd="6" destOrd="0" parTransId="{FCFAA163-428E-432A-AC4A-0C193CBD4A8D}" sibTransId="{D13B4EC8-F381-4E7D-AB9E-D011BAF0CD91}"/>
    <dgm:cxn modelId="{7EB27C14-F06A-4B19-883E-00E9FF8E75AE}" type="presOf" srcId="{2551C04F-020F-495D-A318-D01245191349}" destId="{B3269C98-FE39-4934-95BE-9C10E0C6B355}" srcOrd="0" destOrd="0" presId="urn:microsoft.com/office/officeart/2005/8/layout/process5"/>
    <dgm:cxn modelId="{3B9187A1-A02A-4089-AC67-DB95439638C0}" srcId="{262B9D00-C826-4E11-8429-177F52B13C39}" destId="{5B07F661-21FD-4226-B11E-25E019FF7B66}" srcOrd="2" destOrd="0" parTransId="{65D33F37-9CD7-40B7-A709-C11C8AC09BA9}" sibTransId="{1B128018-3255-4C3E-A6F2-B681F04F9947}"/>
    <dgm:cxn modelId="{302F391F-B1A8-486D-BCEF-F541FE7143D4}" srcId="{262B9D00-C826-4E11-8429-177F52B13C39}" destId="{310EC75C-E063-4A6D-B708-652AE6A98FFB}" srcOrd="1" destOrd="0" parTransId="{DC529E6A-B598-4A66-9DC8-0689D344A803}" sibTransId="{F26F70EC-E779-4452-97E7-E0713E7366DB}"/>
    <dgm:cxn modelId="{E17DD8EA-AF9B-49B8-9FE5-8D3BE60DC532}" srcId="{262B9D00-C826-4E11-8429-177F52B13C39}" destId="{76611A96-8D89-4ABC-A2D5-6376D1FAA627}" srcOrd="5" destOrd="0" parTransId="{664007BD-9DE2-40B1-A604-17B906DB5D4F}" sibTransId="{3C94571C-248A-4A3D-B20F-21729F420AE2}"/>
    <dgm:cxn modelId="{6306278D-C6FA-40B1-933C-9AA417BA0B56}" srcId="{262B9D00-C826-4E11-8429-177F52B13C39}" destId="{AEF4EB16-B0C9-452C-B68A-00BB68859A7B}" srcOrd="3" destOrd="0" parTransId="{0FF0BCAB-0768-45C1-BC0F-0C57BDC601F9}" sibTransId="{B9A78629-975F-4B90-AE96-9E5B92F536AA}"/>
    <dgm:cxn modelId="{248E913F-F986-4C61-B0CA-ADDBD4285CD9}" srcId="{262B9D00-C826-4E11-8429-177F52B13C39}" destId="{997EB590-F184-40B9-B422-CDD04BC86DB3}" srcOrd="9" destOrd="0" parTransId="{1DA14726-53EF-4823-B553-F4F5FB0C2891}" sibTransId="{F831478C-E0B0-48C6-A4A5-1917C276FBD6}"/>
    <dgm:cxn modelId="{BEE5DA8E-00E1-49B8-BDB8-B6408F2F0348}" type="presOf" srcId="{144435B7-8C3A-43C1-B9ED-815C237DE833}" destId="{6741C56C-4C87-4BA4-8853-C720F6210EC5}" srcOrd="1" destOrd="0" presId="urn:microsoft.com/office/officeart/2005/8/layout/process5"/>
    <dgm:cxn modelId="{340A4B49-10D8-401C-8384-0750E984BA77}" type="presOf" srcId="{3C94571C-248A-4A3D-B20F-21729F420AE2}" destId="{3FF3E634-1966-415E-85D5-38A897C4E7E3}" srcOrd="0" destOrd="0" presId="urn:microsoft.com/office/officeart/2005/8/layout/process5"/>
    <dgm:cxn modelId="{C48AACEA-3A23-48D5-B699-4CE980EAEA3A}" type="presOf" srcId="{1B128018-3255-4C3E-A6F2-B681F04F9947}" destId="{B03BAD51-824A-4B72-B5C9-F4D969B0FE1F}" srcOrd="1" destOrd="0" presId="urn:microsoft.com/office/officeart/2005/8/layout/process5"/>
    <dgm:cxn modelId="{64BAD65F-A11D-49A4-997E-751DD7B8CB25}" type="presOf" srcId="{0D1DC267-EDB7-48C8-8BFA-4E7B7031A1E1}" destId="{1E8F4112-35A4-4295-87F4-B72985AE28CB}" srcOrd="0" destOrd="0" presId="urn:microsoft.com/office/officeart/2005/8/layout/process5"/>
    <dgm:cxn modelId="{177312D8-D17B-49C6-BA0A-4969FFEDBEDA}" type="presOf" srcId="{3C94571C-248A-4A3D-B20F-21729F420AE2}" destId="{73F9BE4E-A25B-4D57-B8A1-8D52E04917B6}" srcOrd="1" destOrd="0" presId="urn:microsoft.com/office/officeart/2005/8/layout/process5"/>
    <dgm:cxn modelId="{C68991A4-5230-48BD-8050-DDEA24FF64A5}" srcId="{262B9D00-C826-4E11-8429-177F52B13C39}" destId="{2551C04F-020F-495D-A318-D01245191349}" srcOrd="12" destOrd="0" parTransId="{BCDB9010-55FA-404A-9363-BA57C20B00BD}" sibTransId="{7F9DF969-7821-47A1-8C06-4A22D451FC9B}"/>
    <dgm:cxn modelId="{20EC3A5B-B693-4807-A4AB-D870E78BAE83}" type="presOf" srcId="{2A62AF5F-6435-4364-A72A-478E6CFEE794}" destId="{6D3AEE44-43FD-48EE-8CF1-7C4499C3371A}" srcOrd="0" destOrd="0" presId="urn:microsoft.com/office/officeart/2005/8/layout/process5"/>
    <dgm:cxn modelId="{B7B16AAC-9C3A-40E2-B54C-1F2A9955C9BA}" type="presOf" srcId="{5B07F661-21FD-4226-B11E-25E019FF7B66}" destId="{7D12FF1B-AFF2-41BF-A1B9-96394947895C}" srcOrd="0" destOrd="0" presId="urn:microsoft.com/office/officeart/2005/8/layout/process5"/>
    <dgm:cxn modelId="{6FE6A8E4-FA3A-49B6-9901-C9DA34466931}" srcId="{262B9D00-C826-4E11-8429-177F52B13C39}" destId="{2A62AF5F-6435-4364-A72A-478E6CFEE794}" srcOrd="7" destOrd="0" parTransId="{54E1A5CC-FC95-4B5C-8E76-70D09B9F9705}" sibTransId="{5F942606-2424-4829-90AD-5B91C84FC30D}"/>
    <dgm:cxn modelId="{EFD90F5E-B59E-40D7-B900-F1AD7F842899}" type="presOf" srcId="{D13B4EC8-F381-4E7D-AB9E-D011BAF0CD91}" destId="{036AA6AD-A8A4-4086-BC2C-1512CC873A0D}" srcOrd="1" destOrd="0" presId="urn:microsoft.com/office/officeart/2005/8/layout/process5"/>
    <dgm:cxn modelId="{ECB66D85-0B4F-4302-BC9A-EAA9FF961773}" type="presOf" srcId="{F831478C-E0B0-48C6-A4A5-1917C276FBD6}" destId="{9733039C-BA0A-4FD7-AF5B-4CA33D23A3BE}" srcOrd="0" destOrd="0" presId="urn:microsoft.com/office/officeart/2005/8/layout/process5"/>
    <dgm:cxn modelId="{D8CF3AFA-BFEE-4EBC-921D-50159962186A}" type="presOf" srcId="{B9A78629-975F-4B90-AE96-9E5B92F536AA}" destId="{1DF05F3B-4E23-47B7-9399-FA0B1A3EC9AF}" srcOrd="0" destOrd="0" presId="urn:microsoft.com/office/officeart/2005/8/layout/process5"/>
    <dgm:cxn modelId="{744DF3DB-9E55-4042-8AB2-40EDDE4E90F7}" srcId="{262B9D00-C826-4E11-8429-177F52B13C39}" destId="{0D1DC267-EDB7-48C8-8BFA-4E7B7031A1E1}" srcOrd="10" destOrd="0" parTransId="{AB64DA9E-ABDB-4FF6-911E-D6747CAD5678}" sibTransId="{BE8F2A95-D086-4AF1-A9DE-4EF362944DEF}"/>
    <dgm:cxn modelId="{0C090810-A16E-4645-B75D-D6E1554C70B7}" type="presOf" srcId="{4E899A98-15D4-4256-AA7B-5F8B4291E564}" destId="{C53C5ED3-16AC-4B3F-9B93-D856278E85E8}" srcOrd="0" destOrd="0" presId="urn:microsoft.com/office/officeart/2005/8/layout/process5"/>
    <dgm:cxn modelId="{763822A2-C896-4EE1-9CE7-E4EBAFAC0CAD}" type="presOf" srcId="{21A7C13D-FF6D-4CD5-A5D6-359A981AEAF3}" destId="{BF16CC55-EE22-4FA0-B744-3C75ED0CDFB9}" srcOrd="0" destOrd="0" presId="urn:microsoft.com/office/officeart/2005/8/layout/process5"/>
    <dgm:cxn modelId="{7C3D67A8-FD1E-47C1-B23E-7C4E037AB475}" type="presOf" srcId="{7F9DF969-7821-47A1-8C06-4A22D451FC9B}" destId="{482961E6-2364-4DBB-9811-136E81958C03}" srcOrd="1" destOrd="0" presId="urn:microsoft.com/office/officeart/2005/8/layout/process5"/>
    <dgm:cxn modelId="{E7872F40-93CB-438D-A3A5-A4AE9E0ED09E}" type="presOf" srcId="{F26F70EC-E779-4452-97E7-E0713E7366DB}" destId="{C56007E9-35BB-4D39-9B1A-57F61D92EDEB}" srcOrd="1" destOrd="0" presId="urn:microsoft.com/office/officeart/2005/8/layout/process5"/>
    <dgm:cxn modelId="{619F5FEC-FBB8-46CD-9D1F-09E30AAEE83E}" type="presOf" srcId="{1B128018-3255-4C3E-A6F2-B681F04F9947}" destId="{B8D77E6C-9E07-4195-BF67-9B25D7196EAA}" srcOrd="0" destOrd="0" presId="urn:microsoft.com/office/officeart/2005/8/layout/process5"/>
    <dgm:cxn modelId="{2571F881-8E05-4115-A8E6-72E2D1F39289}" type="presOf" srcId="{25FBD4B3-25FF-4E45-86FF-AB1F5232052A}" destId="{40DA85B8-AB36-40AB-8A67-B0700BBA8244}" srcOrd="0" destOrd="0" presId="urn:microsoft.com/office/officeart/2005/8/layout/process5"/>
    <dgm:cxn modelId="{65358DDC-90CC-412A-A775-1FBE91D1A40C}" type="presOf" srcId="{8B9E4C69-BF9B-4B9A-BD80-944831447FF2}" destId="{B98488BD-C1A4-477A-8CF9-A79D8E5107F2}" srcOrd="0" destOrd="0" presId="urn:microsoft.com/office/officeart/2005/8/layout/process5"/>
    <dgm:cxn modelId="{A2A114D6-5248-4306-A85E-92113B86F6AD}" type="presOf" srcId="{AEF4EB16-B0C9-452C-B68A-00BB68859A7B}" destId="{2B6E1E24-A7FA-4049-86FC-9D12842052E7}" srcOrd="0" destOrd="0" presId="urn:microsoft.com/office/officeart/2005/8/layout/process5"/>
    <dgm:cxn modelId="{E2A43AF9-53FA-4ADA-88A5-FAC0B7DB1532}" srcId="{262B9D00-C826-4E11-8429-177F52B13C39}" destId="{AD54CEA8-5F53-4347-86E7-E38FF30F9C6D}" srcOrd="0" destOrd="0" parTransId="{DE73FDEF-55AF-4C8C-BC8B-D06C900BD70A}" sibTransId="{7687A3FF-D23F-4D53-AB0F-6B1DA8BA7B9C}"/>
    <dgm:cxn modelId="{C0B7ABB8-80BB-4430-9AF2-71CE1F92D1AF}" type="presOf" srcId="{684D34C8-B14C-43A1-9553-E3A9FBB5773E}" destId="{0E8071CD-006C-4360-B296-0E1A84EE250A}" srcOrd="0" destOrd="0" presId="urn:microsoft.com/office/officeart/2005/8/layout/process5"/>
    <dgm:cxn modelId="{35308027-173E-4810-85DA-3EA8A67C2886}" type="presOf" srcId="{144435B7-8C3A-43C1-B9ED-815C237DE833}" destId="{316B0C22-5E1F-47C4-ABDB-F0D776289AB1}" srcOrd="0" destOrd="0" presId="urn:microsoft.com/office/officeart/2005/8/layout/process5"/>
    <dgm:cxn modelId="{11F43814-194B-4C2D-82A9-425B6856F1FD}" type="presOf" srcId="{7F9DF969-7821-47A1-8C06-4A22D451FC9B}" destId="{F7B36BAE-25BD-4995-A0A7-28D989B3241F}" srcOrd="0" destOrd="0" presId="urn:microsoft.com/office/officeart/2005/8/layout/process5"/>
    <dgm:cxn modelId="{0D22651B-7DEE-4EC5-89B7-76E56AB3225C}" type="presOf" srcId="{997EB590-F184-40B9-B422-CDD04BC86DB3}" destId="{7D66EB39-461E-4387-864C-3DC4290864AF}" srcOrd="0" destOrd="0" presId="urn:microsoft.com/office/officeart/2005/8/layout/process5"/>
    <dgm:cxn modelId="{5B3BE8AD-11CE-4BA4-8466-9833EB934DF2}" type="presOf" srcId="{F26F70EC-E779-4452-97E7-E0713E7366DB}" destId="{39A16790-742C-466A-95A4-0BF22E5FCD7A}" srcOrd="0" destOrd="0" presId="urn:microsoft.com/office/officeart/2005/8/layout/process5"/>
    <dgm:cxn modelId="{630A0158-618B-48F9-9BA4-77B2E4EA9CC9}" type="presOf" srcId="{D13B4EC8-F381-4E7D-AB9E-D011BAF0CD91}" destId="{7848B252-526A-4E26-936C-C9CCF666F5DE}" srcOrd="0" destOrd="0" presId="urn:microsoft.com/office/officeart/2005/8/layout/process5"/>
    <dgm:cxn modelId="{91B78FE0-0815-46DC-8A87-895368F48A1A}" type="presOf" srcId="{A2DE258B-5EDD-47A4-A98D-065D917BEA6A}" destId="{10DF5648-7416-434C-8BC3-0F92F96B97CB}" srcOrd="0" destOrd="0" presId="urn:microsoft.com/office/officeart/2005/8/layout/process5"/>
    <dgm:cxn modelId="{43948289-E131-4304-AE91-B6C17D3362B4}" type="presOf" srcId="{262B9D00-C826-4E11-8429-177F52B13C39}" destId="{98281E7A-B42B-4A60-8F0A-02FBBE192048}" srcOrd="0" destOrd="0" presId="urn:microsoft.com/office/officeart/2005/8/layout/process5"/>
    <dgm:cxn modelId="{3E6FD97D-D333-4FEF-AFC2-7BF045D53976}" type="presOf" srcId="{76611A96-8D89-4ABC-A2D5-6376D1FAA627}" destId="{519EAD41-65A7-4AAB-AFFA-DCC2B68A3AFF}" srcOrd="0" destOrd="0" presId="urn:microsoft.com/office/officeart/2005/8/layout/process5"/>
    <dgm:cxn modelId="{6B347E07-E582-478D-AE04-8DEF52D19C9C}" type="presOf" srcId="{B9A78629-975F-4B90-AE96-9E5B92F536AA}" destId="{16836755-55F7-4A1E-8705-055A4D230720}" srcOrd="1" destOrd="0" presId="urn:microsoft.com/office/officeart/2005/8/layout/process5"/>
    <dgm:cxn modelId="{BF9A43E2-1D21-4746-83E6-0B3A0D6475FB}" srcId="{262B9D00-C826-4E11-8429-177F52B13C39}" destId="{4E899A98-15D4-4256-AA7B-5F8B4291E564}" srcOrd="4" destOrd="0" parTransId="{E60EB875-8DE7-483C-BC93-388F2A9709FE}" sibTransId="{8B9E4C69-BF9B-4B9A-BD80-944831447FF2}"/>
    <dgm:cxn modelId="{005E3AFC-1DFB-422B-9037-8DBE928EF6AD}" type="presOf" srcId="{310EC75C-E063-4A6D-B708-652AE6A98FFB}" destId="{FB08B26A-8E52-454A-9694-166FDA94A66C}" srcOrd="0" destOrd="0" presId="urn:microsoft.com/office/officeart/2005/8/layout/process5"/>
    <dgm:cxn modelId="{03E81614-2C05-4D82-AD24-C91E420E0F41}" srcId="{262B9D00-C826-4E11-8429-177F52B13C39}" destId="{E21B05AE-37BA-4E2B-8FD5-72104FB09C1D}" srcOrd="13" destOrd="0" parTransId="{5C563D78-770A-4DF6-BC95-B4BC1C645274}" sibTransId="{0EC1CEC8-6FEA-419F-B3F7-46016423A010}"/>
    <dgm:cxn modelId="{3EDB76AA-5891-4891-90BB-4A147DE70F80}" type="presOf" srcId="{5F942606-2424-4829-90AD-5B91C84FC30D}" destId="{AABABA15-70F9-4FFF-A43F-542ACDA84C22}" srcOrd="1" destOrd="0" presId="urn:microsoft.com/office/officeart/2005/8/layout/process5"/>
    <dgm:cxn modelId="{3B1519A7-A7A6-4088-953A-80E64E377535}" type="presOf" srcId="{BE8F2A95-D086-4AF1-A9DE-4EF362944DEF}" destId="{42BA764D-ECD5-4996-9C44-8A0A5F19889D}" srcOrd="0" destOrd="0" presId="urn:microsoft.com/office/officeart/2005/8/layout/process5"/>
    <dgm:cxn modelId="{A7AF24D7-7A32-495E-A728-33B6EB87644D}" srcId="{262B9D00-C826-4E11-8429-177F52B13C39}" destId="{21A7C13D-FF6D-4CD5-A5D6-359A981AEAF3}" srcOrd="8" destOrd="0" parTransId="{A1DA8FDB-A69A-4776-85C4-89D44544563B}" sibTransId="{144435B7-8C3A-43C1-B9ED-815C237DE833}"/>
    <dgm:cxn modelId="{F5FAA55E-B2CC-4E81-B1A7-EB30A9E091DD}" type="presOf" srcId="{684D34C8-B14C-43A1-9553-E3A9FBB5773E}" destId="{64E4E5A8-D687-4A18-989B-51516A068551}" srcOrd="1" destOrd="0" presId="urn:microsoft.com/office/officeart/2005/8/layout/process5"/>
    <dgm:cxn modelId="{9EBC6BA9-19A7-434B-954C-DC60DE40421F}" type="presOf" srcId="{8B9E4C69-BF9B-4B9A-BD80-944831447FF2}" destId="{5033852B-6252-4BC2-BA8A-939A6D79CE68}" srcOrd="1" destOrd="0" presId="urn:microsoft.com/office/officeart/2005/8/layout/process5"/>
    <dgm:cxn modelId="{C194C6D3-D183-4F31-B684-2A219E7E2F18}" type="presOf" srcId="{BE8F2A95-D086-4AF1-A9DE-4EF362944DEF}" destId="{8D66E80D-3792-44A1-A555-C859786D3F71}" srcOrd="1" destOrd="0" presId="urn:microsoft.com/office/officeart/2005/8/layout/process5"/>
    <dgm:cxn modelId="{B01F3A65-ADBB-48DE-97E3-5F48C7E86554}" type="presParOf" srcId="{98281E7A-B42B-4A60-8F0A-02FBBE192048}" destId="{01A49A10-DA55-43D2-B848-2A752A4B7FB1}" srcOrd="0" destOrd="0" presId="urn:microsoft.com/office/officeart/2005/8/layout/process5"/>
    <dgm:cxn modelId="{81E04E90-54B0-47F7-AF0B-A11EA97411D7}" type="presParOf" srcId="{98281E7A-B42B-4A60-8F0A-02FBBE192048}" destId="{3877E669-BE62-41BC-9950-13C5D39E30D2}" srcOrd="1" destOrd="0" presId="urn:microsoft.com/office/officeart/2005/8/layout/process5"/>
    <dgm:cxn modelId="{07F3A958-AEE9-40CA-A248-06CDC5518881}" type="presParOf" srcId="{3877E669-BE62-41BC-9950-13C5D39E30D2}" destId="{80702E3B-FA77-4C95-8465-C752588C38FB}" srcOrd="0" destOrd="0" presId="urn:microsoft.com/office/officeart/2005/8/layout/process5"/>
    <dgm:cxn modelId="{D71E5BD5-5AD2-455F-8C8A-90D30554409E}" type="presParOf" srcId="{98281E7A-B42B-4A60-8F0A-02FBBE192048}" destId="{FB08B26A-8E52-454A-9694-166FDA94A66C}" srcOrd="2" destOrd="0" presId="urn:microsoft.com/office/officeart/2005/8/layout/process5"/>
    <dgm:cxn modelId="{06F9B840-DDCB-4307-8B8F-61FFA03D23DB}" type="presParOf" srcId="{98281E7A-B42B-4A60-8F0A-02FBBE192048}" destId="{39A16790-742C-466A-95A4-0BF22E5FCD7A}" srcOrd="3" destOrd="0" presId="urn:microsoft.com/office/officeart/2005/8/layout/process5"/>
    <dgm:cxn modelId="{E7993EB7-7720-49FD-8BDD-DCABFDE715ED}" type="presParOf" srcId="{39A16790-742C-466A-95A4-0BF22E5FCD7A}" destId="{C56007E9-35BB-4D39-9B1A-57F61D92EDEB}" srcOrd="0" destOrd="0" presId="urn:microsoft.com/office/officeart/2005/8/layout/process5"/>
    <dgm:cxn modelId="{253CB756-F99C-4A08-A30E-86C342619DF2}" type="presParOf" srcId="{98281E7A-B42B-4A60-8F0A-02FBBE192048}" destId="{7D12FF1B-AFF2-41BF-A1B9-96394947895C}" srcOrd="4" destOrd="0" presId="urn:microsoft.com/office/officeart/2005/8/layout/process5"/>
    <dgm:cxn modelId="{085E34C9-D9BD-46C1-B2BA-9306406E623E}" type="presParOf" srcId="{98281E7A-B42B-4A60-8F0A-02FBBE192048}" destId="{B8D77E6C-9E07-4195-BF67-9B25D7196EAA}" srcOrd="5" destOrd="0" presId="urn:microsoft.com/office/officeart/2005/8/layout/process5"/>
    <dgm:cxn modelId="{6D823778-B6DE-452F-949A-A32E7CB5031D}" type="presParOf" srcId="{B8D77E6C-9E07-4195-BF67-9B25D7196EAA}" destId="{B03BAD51-824A-4B72-B5C9-F4D969B0FE1F}" srcOrd="0" destOrd="0" presId="urn:microsoft.com/office/officeart/2005/8/layout/process5"/>
    <dgm:cxn modelId="{F92A2B6C-6727-4E65-BE93-495746BE308A}" type="presParOf" srcId="{98281E7A-B42B-4A60-8F0A-02FBBE192048}" destId="{2B6E1E24-A7FA-4049-86FC-9D12842052E7}" srcOrd="6" destOrd="0" presId="urn:microsoft.com/office/officeart/2005/8/layout/process5"/>
    <dgm:cxn modelId="{AEED268E-D436-4408-9F60-4551E9D84E39}" type="presParOf" srcId="{98281E7A-B42B-4A60-8F0A-02FBBE192048}" destId="{1DF05F3B-4E23-47B7-9399-FA0B1A3EC9AF}" srcOrd="7" destOrd="0" presId="urn:microsoft.com/office/officeart/2005/8/layout/process5"/>
    <dgm:cxn modelId="{A0C88DF6-2DCF-4F55-B12E-095369522B61}" type="presParOf" srcId="{1DF05F3B-4E23-47B7-9399-FA0B1A3EC9AF}" destId="{16836755-55F7-4A1E-8705-055A4D230720}" srcOrd="0" destOrd="0" presId="urn:microsoft.com/office/officeart/2005/8/layout/process5"/>
    <dgm:cxn modelId="{11CD0B7E-F1D3-4DFE-9C2B-318AF4BFDEA3}" type="presParOf" srcId="{98281E7A-B42B-4A60-8F0A-02FBBE192048}" destId="{C53C5ED3-16AC-4B3F-9B93-D856278E85E8}" srcOrd="8" destOrd="0" presId="urn:microsoft.com/office/officeart/2005/8/layout/process5"/>
    <dgm:cxn modelId="{A285C4E0-3A59-4F14-8216-5B461D44CDE1}" type="presParOf" srcId="{98281E7A-B42B-4A60-8F0A-02FBBE192048}" destId="{B98488BD-C1A4-477A-8CF9-A79D8E5107F2}" srcOrd="9" destOrd="0" presId="urn:microsoft.com/office/officeart/2005/8/layout/process5"/>
    <dgm:cxn modelId="{7C234511-6D92-4C30-8F36-7BC11B075B65}" type="presParOf" srcId="{B98488BD-C1A4-477A-8CF9-A79D8E5107F2}" destId="{5033852B-6252-4BC2-BA8A-939A6D79CE68}" srcOrd="0" destOrd="0" presId="urn:microsoft.com/office/officeart/2005/8/layout/process5"/>
    <dgm:cxn modelId="{6A996828-E7D1-4CD5-9BB4-5C46B11B4E07}" type="presParOf" srcId="{98281E7A-B42B-4A60-8F0A-02FBBE192048}" destId="{519EAD41-65A7-4AAB-AFFA-DCC2B68A3AFF}" srcOrd="10" destOrd="0" presId="urn:microsoft.com/office/officeart/2005/8/layout/process5"/>
    <dgm:cxn modelId="{B8861F75-11D4-4735-A317-F593E7AF215A}" type="presParOf" srcId="{98281E7A-B42B-4A60-8F0A-02FBBE192048}" destId="{3FF3E634-1966-415E-85D5-38A897C4E7E3}" srcOrd="11" destOrd="0" presId="urn:microsoft.com/office/officeart/2005/8/layout/process5"/>
    <dgm:cxn modelId="{503DFEE3-97DE-4FAC-8EA0-91611667747F}" type="presParOf" srcId="{3FF3E634-1966-415E-85D5-38A897C4E7E3}" destId="{73F9BE4E-A25B-4D57-B8A1-8D52E04917B6}" srcOrd="0" destOrd="0" presId="urn:microsoft.com/office/officeart/2005/8/layout/process5"/>
    <dgm:cxn modelId="{9B16A225-84AE-4952-A84D-FC20D78B7D74}" type="presParOf" srcId="{98281E7A-B42B-4A60-8F0A-02FBBE192048}" destId="{10DF5648-7416-434C-8BC3-0F92F96B97CB}" srcOrd="12" destOrd="0" presId="urn:microsoft.com/office/officeart/2005/8/layout/process5"/>
    <dgm:cxn modelId="{7184791B-FCD3-4E46-9246-F02B157AF675}" type="presParOf" srcId="{98281E7A-B42B-4A60-8F0A-02FBBE192048}" destId="{7848B252-526A-4E26-936C-C9CCF666F5DE}" srcOrd="13" destOrd="0" presId="urn:microsoft.com/office/officeart/2005/8/layout/process5"/>
    <dgm:cxn modelId="{E6776661-FBAD-4AEF-84EE-E9263D38D0DE}" type="presParOf" srcId="{7848B252-526A-4E26-936C-C9CCF666F5DE}" destId="{036AA6AD-A8A4-4086-BC2C-1512CC873A0D}" srcOrd="0" destOrd="0" presId="urn:microsoft.com/office/officeart/2005/8/layout/process5"/>
    <dgm:cxn modelId="{4005C31D-FBF4-4918-A1C1-9B6A7C2B1F04}" type="presParOf" srcId="{98281E7A-B42B-4A60-8F0A-02FBBE192048}" destId="{6D3AEE44-43FD-48EE-8CF1-7C4499C3371A}" srcOrd="14" destOrd="0" presId="urn:microsoft.com/office/officeart/2005/8/layout/process5"/>
    <dgm:cxn modelId="{1B0CEB6F-1686-4E86-BB99-E3980651F369}" type="presParOf" srcId="{98281E7A-B42B-4A60-8F0A-02FBBE192048}" destId="{D5F72D01-FAD7-4120-AE83-1A0F208ED1F8}" srcOrd="15" destOrd="0" presId="urn:microsoft.com/office/officeart/2005/8/layout/process5"/>
    <dgm:cxn modelId="{4A113B46-D21D-4322-89C8-514BB6BC88C6}" type="presParOf" srcId="{D5F72D01-FAD7-4120-AE83-1A0F208ED1F8}" destId="{AABABA15-70F9-4FFF-A43F-542ACDA84C22}" srcOrd="0" destOrd="0" presId="urn:microsoft.com/office/officeart/2005/8/layout/process5"/>
    <dgm:cxn modelId="{2FFE67A2-1FC9-4996-B157-42B5BFBC9272}" type="presParOf" srcId="{98281E7A-B42B-4A60-8F0A-02FBBE192048}" destId="{BF16CC55-EE22-4FA0-B744-3C75ED0CDFB9}" srcOrd="16" destOrd="0" presId="urn:microsoft.com/office/officeart/2005/8/layout/process5"/>
    <dgm:cxn modelId="{CC8957F8-DE75-4557-9FCB-80B172519300}" type="presParOf" srcId="{98281E7A-B42B-4A60-8F0A-02FBBE192048}" destId="{316B0C22-5E1F-47C4-ABDB-F0D776289AB1}" srcOrd="17" destOrd="0" presId="urn:microsoft.com/office/officeart/2005/8/layout/process5"/>
    <dgm:cxn modelId="{1C5F131C-7863-4B72-BCA3-E7ACE3BDA77E}" type="presParOf" srcId="{316B0C22-5E1F-47C4-ABDB-F0D776289AB1}" destId="{6741C56C-4C87-4BA4-8853-C720F6210EC5}" srcOrd="0" destOrd="0" presId="urn:microsoft.com/office/officeart/2005/8/layout/process5"/>
    <dgm:cxn modelId="{E1B4F845-2212-4A0C-BBA6-FF2FD03D628F}" type="presParOf" srcId="{98281E7A-B42B-4A60-8F0A-02FBBE192048}" destId="{7D66EB39-461E-4387-864C-3DC4290864AF}" srcOrd="18" destOrd="0" presId="urn:microsoft.com/office/officeart/2005/8/layout/process5"/>
    <dgm:cxn modelId="{E0C6445E-7445-4A29-8405-2A8A417C7591}" type="presParOf" srcId="{98281E7A-B42B-4A60-8F0A-02FBBE192048}" destId="{9733039C-BA0A-4FD7-AF5B-4CA33D23A3BE}" srcOrd="19" destOrd="0" presId="urn:microsoft.com/office/officeart/2005/8/layout/process5"/>
    <dgm:cxn modelId="{240AB12F-3436-493D-84EE-AE7A88B30C67}" type="presParOf" srcId="{9733039C-BA0A-4FD7-AF5B-4CA33D23A3BE}" destId="{2D5E3A06-7608-427B-8000-20DCF6ED2E43}" srcOrd="0" destOrd="0" presId="urn:microsoft.com/office/officeart/2005/8/layout/process5"/>
    <dgm:cxn modelId="{94BE0A37-8B5E-4F6E-A1CC-D19F66204624}" type="presParOf" srcId="{98281E7A-B42B-4A60-8F0A-02FBBE192048}" destId="{1E8F4112-35A4-4295-87F4-B72985AE28CB}" srcOrd="20" destOrd="0" presId="urn:microsoft.com/office/officeart/2005/8/layout/process5"/>
    <dgm:cxn modelId="{F6E3ACF1-AC7D-43A8-8D03-9CBC0F6BAB38}" type="presParOf" srcId="{98281E7A-B42B-4A60-8F0A-02FBBE192048}" destId="{42BA764D-ECD5-4996-9C44-8A0A5F19889D}" srcOrd="21" destOrd="0" presId="urn:microsoft.com/office/officeart/2005/8/layout/process5"/>
    <dgm:cxn modelId="{0F6F27DC-7AED-415F-9074-4377C257E0DA}" type="presParOf" srcId="{42BA764D-ECD5-4996-9C44-8A0A5F19889D}" destId="{8D66E80D-3792-44A1-A555-C859786D3F71}" srcOrd="0" destOrd="0" presId="urn:microsoft.com/office/officeart/2005/8/layout/process5"/>
    <dgm:cxn modelId="{57E7EBE4-D78C-4DE4-B7B0-9722C5FEBE8F}" type="presParOf" srcId="{98281E7A-B42B-4A60-8F0A-02FBBE192048}" destId="{40DA85B8-AB36-40AB-8A67-B0700BBA8244}" srcOrd="22" destOrd="0" presId="urn:microsoft.com/office/officeart/2005/8/layout/process5"/>
    <dgm:cxn modelId="{B34432BF-949F-437F-9346-D628CCB78461}" type="presParOf" srcId="{98281E7A-B42B-4A60-8F0A-02FBBE192048}" destId="{0E8071CD-006C-4360-B296-0E1A84EE250A}" srcOrd="23" destOrd="0" presId="urn:microsoft.com/office/officeart/2005/8/layout/process5"/>
    <dgm:cxn modelId="{B4515435-36CC-43A2-A95D-F96EFE122CDF}" type="presParOf" srcId="{0E8071CD-006C-4360-B296-0E1A84EE250A}" destId="{64E4E5A8-D687-4A18-989B-51516A068551}" srcOrd="0" destOrd="0" presId="urn:microsoft.com/office/officeart/2005/8/layout/process5"/>
    <dgm:cxn modelId="{738A6277-F6F5-424E-A32B-2E9137CE203E}" type="presParOf" srcId="{98281E7A-B42B-4A60-8F0A-02FBBE192048}" destId="{B3269C98-FE39-4934-95BE-9C10E0C6B355}" srcOrd="24" destOrd="0" presId="urn:microsoft.com/office/officeart/2005/8/layout/process5"/>
    <dgm:cxn modelId="{94E809F9-4C0A-43C7-967B-E4149B057A62}" type="presParOf" srcId="{98281E7A-B42B-4A60-8F0A-02FBBE192048}" destId="{F7B36BAE-25BD-4995-A0A7-28D989B3241F}" srcOrd="25" destOrd="0" presId="urn:microsoft.com/office/officeart/2005/8/layout/process5"/>
    <dgm:cxn modelId="{D5841965-389B-4340-B586-FBD08BC252CF}" type="presParOf" srcId="{F7B36BAE-25BD-4995-A0A7-28D989B3241F}" destId="{482961E6-2364-4DBB-9811-136E81958C03}" srcOrd="0" destOrd="0" presId="urn:microsoft.com/office/officeart/2005/8/layout/process5"/>
    <dgm:cxn modelId="{1D644776-7457-4678-BAD9-971148AB7029}" type="presParOf" srcId="{98281E7A-B42B-4A60-8F0A-02FBBE192048}" destId="{8534CBB5-8797-46BC-A736-3AC7DDECF8A2}" srcOrd="2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2B9D00-C826-4E11-8429-177F52B13C39}" type="doc">
      <dgm:prSet loTypeId="urn:microsoft.com/office/officeart/2005/8/layout/process5" loCatId="process" qsTypeId="urn:microsoft.com/office/officeart/2005/8/quickstyle/3d4" qsCatId="3D" csTypeId="urn:microsoft.com/office/officeart/2005/8/colors/accent6_1" csCatId="accent6" phldr="1"/>
      <dgm:spPr/>
      <dgm:t>
        <a:bodyPr/>
        <a:lstStyle/>
        <a:p>
          <a:endParaRPr lang="id-ID"/>
        </a:p>
      </dgm:t>
    </dgm:pt>
    <dgm:pt modelId="{AD54CEA8-5F53-4347-86E7-E38FF30F9C6D}">
      <dgm:prSet phldrT="[Text]" custT="1"/>
      <dgm:spPr/>
      <dgm:t>
        <a:bodyPr/>
        <a:lstStyle/>
        <a:p>
          <a:r>
            <a:rPr lang="en-US" sz="1200" dirty="0" err="1"/>
            <a:t>Akses</a:t>
          </a:r>
          <a:r>
            <a:rPr lang="en-US" sz="1200" dirty="0"/>
            <a:t> Portal </a:t>
          </a:r>
          <a:r>
            <a:rPr lang="en-US" sz="1200" dirty="0" err="1"/>
            <a:t>Perizinan</a:t>
          </a:r>
          <a:r>
            <a:rPr lang="en-US" sz="1200" dirty="0"/>
            <a:t> PUPR</a:t>
          </a:r>
          <a:endParaRPr lang="id-ID" sz="1200" dirty="0"/>
        </a:p>
      </dgm:t>
    </dgm:pt>
    <dgm:pt modelId="{DE73FDEF-55AF-4C8C-BC8B-D06C900BD70A}" type="parTrans" cxnId="{E2A43AF9-53FA-4ADA-88A5-FAC0B7DB1532}">
      <dgm:prSet/>
      <dgm:spPr/>
      <dgm:t>
        <a:bodyPr/>
        <a:lstStyle/>
        <a:p>
          <a:endParaRPr lang="id-ID"/>
        </a:p>
      </dgm:t>
    </dgm:pt>
    <dgm:pt modelId="{7687A3FF-D23F-4D53-AB0F-6B1DA8BA7B9C}" type="sibTrans" cxnId="{E2A43AF9-53FA-4ADA-88A5-FAC0B7DB1532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310EC75C-E063-4A6D-B708-652AE6A98FFB}">
      <dgm:prSet phldrT="[Text]" custT="1"/>
      <dgm:spPr/>
      <dgm:t>
        <a:bodyPr/>
        <a:lstStyle/>
        <a:p>
          <a:r>
            <a:rPr lang="en-US" sz="1200" dirty="0"/>
            <a:t>Login Akun Portal</a:t>
          </a:r>
          <a:endParaRPr lang="id-ID" sz="1200" dirty="0"/>
        </a:p>
      </dgm:t>
    </dgm:pt>
    <dgm:pt modelId="{DC529E6A-B598-4A66-9DC8-0689D344A803}" type="parTrans" cxnId="{302F391F-B1A8-486D-BCEF-F541FE7143D4}">
      <dgm:prSet/>
      <dgm:spPr/>
      <dgm:t>
        <a:bodyPr/>
        <a:lstStyle/>
        <a:p>
          <a:endParaRPr lang="id-ID"/>
        </a:p>
      </dgm:t>
    </dgm:pt>
    <dgm:pt modelId="{F26F70EC-E779-4452-97E7-E0713E7366DB}" type="sibTrans" cxnId="{302F391F-B1A8-486D-BCEF-F541FE7143D4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AEF4EB16-B0C9-452C-B68A-00BB68859A7B}">
      <dgm:prSet phldrT="[Text]" custT="1"/>
      <dgm:spPr/>
      <dgm:t>
        <a:bodyPr/>
        <a:lstStyle/>
        <a:p>
          <a:r>
            <a:rPr lang="en-US" sz="1200" dirty="0" err="1">
              <a:solidFill>
                <a:prstClr val="black"/>
              </a:solidFill>
              <a:latin typeface="Calibri" panose="020F0502020204030204"/>
            </a:rPr>
            <a:t>Menyampaikan</a:t>
          </a:r>
          <a:r>
            <a:rPr lang="en-US" sz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dirty="0" err="1">
              <a:solidFill>
                <a:prstClr val="black"/>
              </a:solidFill>
              <a:latin typeface="Calibri" panose="020F0502020204030204"/>
            </a:rPr>
            <a:t>bukti</a:t>
          </a:r>
          <a:r>
            <a:rPr lang="en-US" sz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dirty="0" err="1">
              <a:solidFill>
                <a:prstClr val="black"/>
              </a:solidFill>
              <a:latin typeface="Calibri" panose="020F0502020204030204"/>
            </a:rPr>
            <a:t>pemenuhan</a:t>
          </a:r>
          <a:r>
            <a:rPr lang="en-US" sz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dirty="0" err="1">
              <a:solidFill>
                <a:prstClr val="black"/>
              </a:solidFill>
              <a:latin typeface="Calibri" panose="020F0502020204030204"/>
            </a:rPr>
            <a:t>angka</a:t>
          </a:r>
          <a:r>
            <a:rPr lang="en-US" sz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dirty="0" err="1">
              <a:solidFill>
                <a:prstClr val="black"/>
              </a:solidFill>
              <a:latin typeface="Calibri" panose="020F0502020204030204"/>
            </a:rPr>
            <a:t>kredit</a:t>
          </a:r>
          <a:r>
            <a:rPr lang="en-US" sz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b="1" dirty="0">
              <a:solidFill>
                <a:prstClr val="black"/>
              </a:solidFill>
              <a:latin typeface="Calibri" panose="020F0502020204030204"/>
            </a:rPr>
            <a:t>PKB</a:t>
          </a:r>
          <a:endParaRPr lang="id-ID" sz="1200" dirty="0"/>
        </a:p>
      </dgm:t>
    </dgm:pt>
    <dgm:pt modelId="{0FF0BCAB-0768-45C1-BC0F-0C57BDC601F9}" type="parTrans" cxnId="{6306278D-C6FA-40B1-933C-9AA417BA0B56}">
      <dgm:prSet/>
      <dgm:spPr/>
      <dgm:t>
        <a:bodyPr/>
        <a:lstStyle/>
        <a:p>
          <a:endParaRPr lang="id-ID"/>
        </a:p>
      </dgm:t>
    </dgm:pt>
    <dgm:pt modelId="{B9A78629-975F-4B90-AE96-9E5B92F536AA}" type="sibTrans" cxnId="{6306278D-C6FA-40B1-933C-9AA417BA0B56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4E899A98-15D4-4256-AA7B-5F8B4291E564}">
      <dgm:prSet phldrT="[Text]" custT="1"/>
      <dgm:spPr/>
      <dgm:t>
        <a:bodyPr/>
        <a:lstStyle/>
        <a:p>
          <a:r>
            <a:rPr lang="en-US" sz="1200" dirty="0" err="1"/>
            <a:t>Pengisian</a:t>
          </a:r>
          <a:r>
            <a:rPr lang="en-US" sz="1200" dirty="0"/>
            <a:t> Data Personal dan </a:t>
          </a:r>
          <a:r>
            <a:rPr lang="en-US" sz="1200" dirty="0" err="1"/>
            <a:t>Persyaratan</a:t>
          </a:r>
          <a:endParaRPr lang="id-ID" sz="1200" dirty="0"/>
        </a:p>
      </dgm:t>
    </dgm:pt>
    <dgm:pt modelId="{E60EB875-8DE7-483C-BC93-388F2A9709FE}" type="parTrans" cxnId="{BF9A43E2-1D21-4746-83E6-0B3A0D6475FB}">
      <dgm:prSet/>
      <dgm:spPr/>
      <dgm:t>
        <a:bodyPr/>
        <a:lstStyle/>
        <a:p>
          <a:endParaRPr lang="id-ID"/>
        </a:p>
      </dgm:t>
    </dgm:pt>
    <dgm:pt modelId="{8B9E4C69-BF9B-4B9A-BD80-944831447FF2}" type="sibTrans" cxnId="{BF9A43E2-1D21-4746-83E6-0B3A0D6475FB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76611A96-8D89-4ABC-A2D5-6376D1FAA627}">
      <dgm:prSet phldrT="[Text]" custT="1"/>
      <dgm:spPr/>
      <dgm:t>
        <a:bodyPr/>
        <a:lstStyle/>
        <a:p>
          <a:r>
            <a:rPr lang="en-US" sz="1200" dirty="0" err="1"/>
            <a:t>Mendapatkan</a:t>
          </a:r>
          <a:r>
            <a:rPr lang="en-US" sz="1200" dirty="0"/>
            <a:t> ID-</a:t>
          </a:r>
          <a:r>
            <a:rPr lang="en-US" sz="1200" dirty="0" err="1"/>
            <a:t>Izin</a:t>
          </a:r>
          <a:endParaRPr lang="en-US" sz="1200" dirty="0"/>
        </a:p>
      </dgm:t>
    </dgm:pt>
    <dgm:pt modelId="{664007BD-9DE2-40B1-A604-17B906DB5D4F}" type="parTrans" cxnId="{E17DD8EA-AF9B-49B8-9FE5-8D3BE60DC532}">
      <dgm:prSet/>
      <dgm:spPr/>
      <dgm:t>
        <a:bodyPr/>
        <a:lstStyle/>
        <a:p>
          <a:endParaRPr lang="id-ID"/>
        </a:p>
      </dgm:t>
    </dgm:pt>
    <dgm:pt modelId="{3C94571C-248A-4A3D-B20F-21729F420AE2}" type="sibTrans" cxnId="{E17DD8EA-AF9B-49B8-9FE5-8D3BE60DC532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A2DE258B-5EDD-47A4-A98D-065D917BEA6A}">
      <dgm:prSet phldrT="[Text]" custT="1"/>
      <dgm:spPr/>
      <dgm:t>
        <a:bodyPr/>
        <a:lstStyle/>
        <a:p>
          <a:r>
            <a:rPr lang="en-US" sz="1200" dirty="0" err="1"/>
            <a:t>Verifikasi</a:t>
          </a:r>
          <a:r>
            <a:rPr lang="en-US" sz="1200" dirty="0"/>
            <a:t> </a:t>
          </a:r>
          <a:r>
            <a:rPr lang="en-US" sz="1200" dirty="0" err="1"/>
            <a:t>Kelengkapan</a:t>
          </a:r>
          <a:r>
            <a:rPr lang="en-US" sz="1200" dirty="0"/>
            <a:t> oleh LSP</a:t>
          </a:r>
        </a:p>
      </dgm:t>
    </dgm:pt>
    <dgm:pt modelId="{FCFAA163-428E-432A-AC4A-0C193CBD4A8D}" type="parTrans" cxnId="{39237697-2E58-484C-ABA4-C86F5629A50A}">
      <dgm:prSet/>
      <dgm:spPr/>
      <dgm:t>
        <a:bodyPr/>
        <a:lstStyle/>
        <a:p>
          <a:endParaRPr lang="id-ID"/>
        </a:p>
      </dgm:t>
    </dgm:pt>
    <dgm:pt modelId="{D13B4EC8-F381-4E7D-AB9E-D011BAF0CD91}" type="sibTrans" cxnId="{39237697-2E58-484C-ABA4-C86F5629A50A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2A62AF5F-6435-4364-A72A-478E6CFEE794}">
      <dgm:prSet phldrT="[Text]"/>
      <dgm:spPr/>
      <dgm:t>
        <a:bodyPr/>
        <a:lstStyle/>
        <a:p>
          <a:pPr algn="ctr"/>
          <a:r>
            <a:rPr lang="en-US" b="1" dirty="0" err="1"/>
            <a:t>Verifikasi</a:t>
          </a:r>
          <a:r>
            <a:rPr lang="en-US" b="1" dirty="0"/>
            <a:t> </a:t>
          </a:r>
          <a:r>
            <a:rPr lang="en-US" b="1" dirty="0" err="1"/>
            <a:t>kecukupan</a:t>
          </a:r>
          <a:r>
            <a:rPr lang="en-US" b="1" dirty="0"/>
            <a:t> SKPK oleh LSP</a:t>
          </a:r>
        </a:p>
      </dgm:t>
    </dgm:pt>
    <dgm:pt modelId="{54E1A5CC-FC95-4B5C-8E76-70D09B9F9705}" type="parTrans" cxnId="{6FE6A8E4-FA3A-49B6-9901-C9DA34466931}">
      <dgm:prSet/>
      <dgm:spPr/>
      <dgm:t>
        <a:bodyPr/>
        <a:lstStyle/>
        <a:p>
          <a:endParaRPr lang="id-ID"/>
        </a:p>
      </dgm:t>
    </dgm:pt>
    <dgm:pt modelId="{5F942606-2424-4829-90AD-5B91C84FC30D}" type="sibTrans" cxnId="{6FE6A8E4-FA3A-49B6-9901-C9DA34466931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21A7C13D-FF6D-4CD5-A5D6-359A981AEAF3}">
      <dgm:prSet phldrT="[Text]" custT="1"/>
      <dgm:spPr/>
      <dgm:t>
        <a:bodyPr/>
        <a:lstStyle/>
        <a:p>
          <a:r>
            <a:rPr lang="en-US" sz="1200" dirty="0" err="1"/>
            <a:t>Pembayaran</a:t>
          </a:r>
          <a:r>
            <a:rPr lang="en-US" sz="1200" dirty="0"/>
            <a:t> oleh </a:t>
          </a:r>
          <a:r>
            <a:rPr lang="en-US" sz="1200" dirty="0" err="1"/>
            <a:t>Pemohon</a:t>
          </a:r>
          <a:endParaRPr lang="en-US" sz="1200" dirty="0"/>
        </a:p>
      </dgm:t>
    </dgm:pt>
    <dgm:pt modelId="{A1DA8FDB-A69A-4776-85C4-89D44544563B}" type="parTrans" cxnId="{A7AF24D7-7A32-495E-A728-33B6EB87644D}">
      <dgm:prSet/>
      <dgm:spPr/>
      <dgm:t>
        <a:bodyPr/>
        <a:lstStyle/>
        <a:p>
          <a:endParaRPr lang="id-ID"/>
        </a:p>
      </dgm:t>
    </dgm:pt>
    <dgm:pt modelId="{144435B7-8C3A-43C1-B9ED-815C237DE833}" type="sibTrans" cxnId="{A7AF24D7-7A32-495E-A728-33B6EB87644D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997EB590-F184-40B9-B422-CDD04BC86DB3}">
      <dgm:prSet phldrT="[Text]" custT="1"/>
      <dgm:spPr/>
      <dgm:t>
        <a:bodyPr/>
        <a:lstStyle/>
        <a:p>
          <a:r>
            <a:rPr lang="en-US" sz="1200" b="1" dirty="0"/>
            <a:t>Uji </a:t>
          </a:r>
          <a:r>
            <a:rPr lang="en-US" sz="1200" b="1" dirty="0" err="1"/>
            <a:t>Kompetensi</a:t>
          </a:r>
          <a:endParaRPr lang="en-US" sz="1200" b="1" dirty="0"/>
        </a:p>
      </dgm:t>
    </dgm:pt>
    <dgm:pt modelId="{1DA14726-53EF-4823-B553-F4F5FB0C2891}" type="parTrans" cxnId="{248E913F-F986-4C61-B0CA-ADDBD4285CD9}">
      <dgm:prSet/>
      <dgm:spPr/>
      <dgm:t>
        <a:bodyPr/>
        <a:lstStyle/>
        <a:p>
          <a:endParaRPr lang="id-ID"/>
        </a:p>
      </dgm:t>
    </dgm:pt>
    <dgm:pt modelId="{F831478C-E0B0-48C6-A4A5-1917C276FBD6}" type="sibTrans" cxnId="{248E913F-F986-4C61-B0CA-ADDBD4285CD9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0D1DC267-EDB7-48C8-8BFA-4E7B7031A1E1}">
      <dgm:prSet phldrT="[Text]"/>
      <dgm:spPr/>
      <dgm:t>
        <a:bodyPr/>
        <a:lstStyle/>
        <a:p>
          <a:r>
            <a:rPr lang="en-US" dirty="0" err="1"/>
            <a:t>Penetapan</a:t>
          </a:r>
          <a:r>
            <a:rPr lang="en-US" dirty="0"/>
            <a:t> Hasil Uji </a:t>
          </a:r>
          <a:r>
            <a:rPr lang="en-US" dirty="0" err="1"/>
            <a:t>Kompetensi</a:t>
          </a:r>
          <a:r>
            <a:rPr lang="en-US" dirty="0"/>
            <a:t> oleh </a:t>
          </a:r>
          <a:r>
            <a:rPr lang="en-US" dirty="0" err="1"/>
            <a:t>Komite</a:t>
          </a:r>
          <a:r>
            <a:rPr lang="en-US" dirty="0"/>
            <a:t> Teknis</a:t>
          </a:r>
        </a:p>
      </dgm:t>
    </dgm:pt>
    <dgm:pt modelId="{AB64DA9E-ABDB-4FF6-911E-D6747CAD5678}" type="parTrans" cxnId="{744DF3DB-9E55-4042-8AB2-40EDDE4E90F7}">
      <dgm:prSet/>
      <dgm:spPr/>
      <dgm:t>
        <a:bodyPr/>
        <a:lstStyle/>
        <a:p>
          <a:endParaRPr lang="id-ID"/>
        </a:p>
      </dgm:t>
    </dgm:pt>
    <dgm:pt modelId="{BE8F2A95-D086-4AF1-A9DE-4EF362944DEF}" type="sibTrans" cxnId="{744DF3DB-9E55-4042-8AB2-40EDDE4E90F7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25FBD4B3-25FF-4E45-86FF-AB1F5232052A}">
      <dgm:prSet phldrT="[Text]"/>
      <dgm:spPr/>
      <dgm:t>
        <a:bodyPr/>
        <a:lstStyle/>
        <a:p>
          <a:r>
            <a:rPr lang="en-US" dirty="0" err="1"/>
            <a:t>Pencatatan</a:t>
          </a:r>
          <a:r>
            <a:rPr lang="en-US" dirty="0"/>
            <a:t> : </a:t>
          </a:r>
        </a:p>
        <a:p>
          <a:r>
            <a:rPr lang="en-US" dirty="0"/>
            <a:t>No. </a:t>
          </a:r>
          <a:r>
            <a:rPr lang="en-US" dirty="0" err="1"/>
            <a:t>Blangko</a:t>
          </a:r>
          <a:r>
            <a:rPr lang="en-US" dirty="0"/>
            <a:t>, No. </a:t>
          </a:r>
          <a:r>
            <a:rPr lang="en-US" dirty="0" err="1"/>
            <a:t>Sertifikat</a:t>
          </a:r>
          <a:r>
            <a:rPr lang="en-US" dirty="0"/>
            <a:t>, No. Reg BNSP, No. Reg LPJK</a:t>
          </a:r>
        </a:p>
      </dgm:t>
    </dgm:pt>
    <dgm:pt modelId="{C6107E0F-C51C-4220-A03E-3198B31EACA2}" type="parTrans" cxnId="{C27BF15E-E6C0-4A17-AC67-E89E003C9B66}">
      <dgm:prSet/>
      <dgm:spPr/>
      <dgm:t>
        <a:bodyPr/>
        <a:lstStyle/>
        <a:p>
          <a:endParaRPr lang="id-ID"/>
        </a:p>
      </dgm:t>
    </dgm:pt>
    <dgm:pt modelId="{684D34C8-B14C-43A1-9553-E3A9FBB5773E}" type="sibTrans" cxnId="{C27BF15E-E6C0-4A17-AC67-E89E003C9B66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2551C04F-020F-495D-A318-D01245191349}">
      <dgm:prSet phldrT="[Text]" custT="1"/>
      <dgm:spPr/>
      <dgm:t>
        <a:bodyPr/>
        <a:lstStyle/>
        <a:p>
          <a:r>
            <a:rPr lang="en-US" sz="1200" dirty="0" err="1"/>
            <a:t>Penerbitan</a:t>
          </a:r>
          <a:r>
            <a:rPr lang="en-US" sz="1200" dirty="0"/>
            <a:t> SKK-K </a:t>
          </a:r>
          <a:r>
            <a:rPr lang="en-US" sz="1200" dirty="0" err="1"/>
            <a:t>elektronik</a:t>
          </a:r>
          <a:endParaRPr lang="en-US" sz="1200" dirty="0"/>
        </a:p>
      </dgm:t>
    </dgm:pt>
    <dgm:pt modelId="{BCDB9010-55FA-404A-9363-BA57C20B00BD}" type="parTrans" cxnId="{C68991A4-5230-48BD-8050-DDEA24FF64A5}">
      <dgm:prSet/>
      <dgm:spPr/>
      <dgm:t>
        <a:bodyPr/>
        <a:lstStyle/>
        <a:p>
          <a:endParaRPr lang="id-ID"/>
        </a:p>
      </dgm:t>
    </dgm:pt>
    <dgm:pt modelId="{7F9DF969-7821-47A1-8C06-4A22D451FC9B}" type="sibTrans" cxnId="{C68991A4-5230-48BD-8050-DDEA24FF64A5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E21B05AE-37BA-4E2B-8FD5-72104FB09C1D}">
      <dgm:prSet phldrT="[Text]"/>
      <dgm:spPr/>
      <dgm:t>
        <a:bodyPr/>
        <a:lstStyle/>
        <a:p>
          <a:r>
            <a:rPr lang="en-US" dirty="0"/>
            <a:t>SKK-K </a:t>
          </a:r>
          <a:r>
            <a:rPr lang="en-US" dirty="0" err="1"/>
            <a:t>elektronik</a:t>
          </a:r>
          <a:r>
            <a:rPr lang="en-US" dirty="0"/>
            <a:t> </a:t>
          </a:r>
          <a:r>
            <a:rPr lang="en-US" dirty="0" err="1"/>
            <a:t>diterima</a:t>
          </a:r>
          <a:r>
            <a:rPr lang="en-US" dirty="0"/>
            <a:t> </a:t>
          </a:r>
          <a:r>
            <a:rPr lang="en-US" dirty="0" err="1"/>
            <a:t>melalui</a:t>
          </a:r>
          <a:r>
            <a:rPr lang="en-US" dirty="0"/>
            <a:t> Portal </a:t>
          </a:r>
          <a:r>
            <a:rPr lang="en-US" dirty="0" err="1"/>
            <a:t>Perizinan</a:t>
          </a:r>
          <a:r>
            <a:rPr lang="en-US" dirty="0"/>
            <a:t> PUPR</a:t>
          </a:r>
        </a:p>
      </dgm:t>
    </dgm:pt>
    <dgm:pt modelId="{5C563D78-770A-4DF6-BC95-B4BC1C645274}" type="parTrans" cxnId="{03E81614-2C05-4D82-AD24-C91E420E0F41}">
      <dgm:prSet/>
      <dgm:spPr/>
      <dgm:t>
        <a:bodyPr/>
        <a:lstStyle/>
        <a:p>
          <a:endParaRPr lang="id-ID"/>
        </a:p>
      </dgm:t>
    </dgm:pt>
    <dgm:pt modelId="{0EC1CEC8-6FEA-419F-B3F7-46016423A010}" type="sibTrans" cxnId="{03E81614-2C05-4D82-AD24-C91E420E0F41}">
      <dgm:prSet/>
      <dgm:spPr/>
      <dgm:t>
        <a:bodyPr/>
        <a:lstStyle/>
        <a:p>
          <a:endParaRPr lang="id-ID"/>
        </a:p>
      </dgm:t>
    </dgm:pt>
    <dgm:pt modelId="{5B07F661-21FD-4226-B11E-25E019FF7B66}">
      <dgm:prSet phldrT="[Text]" custT="1"/>
      <dgm:spPr/>
      <dgm:t>
        <a:bodyPr/>
        <a:lstStyle/>
        <a:p>
          <a:r>
            <a:rPr lang="en-US" sz="1200" dirty="0" err="1"/>
            <a:t>Permohonan</a:t>
          </a:r>
          <a:r>
            <a:rPr lang="en-US" sz="1200" dirty="0"/>
            <a:t> </a:t>
          </a:r>
          <a:r>
            <a:rPr lang="en-US" sz="1200" dirty="0">
              <a:sym typeface="Wingdings" panose="05000000000000000000" pitchFamily="2" charset="2"/>
            </a:rPr>
            <a:t> </a:t>
          </a:r>
          <a:r>
            <a:rPr lang="en-US" sz="1200" b="1" dirty="0" err="1">
              <a:sym typeface="Wingdings" panose="05000000000000000000" pitchFamily="2" charset="2"/>
            </a:rPr>
            <a:t>Perpanjangan</a:t>
          </a:r>
          <a:r>
            <a:rPr lang="en-US" sz="1200" b="1" dirty="0">
              <a:sym typeface="Wingdings" panose="05000000000000000000" pitchFamily="2" charset="2"/>
            </a:rPr>
            <a:t> SKK</a:t>
          </a:r>
          <a:endParaRPr lang="id-ID" sz="1200" b="1" dirty="0"/>
        </a:p>
      </dgm:t>
    </dgm:pt>
    <dgm:pt modelId="{65D33F37-9CD7-40B7-A709-C11C8AC09BA9}" type="parTrans" cxnId="{3B9187A1-A02A-4089-AC67-DB95439638C0}">
      <dgm:prSet/>
      <dgm:spPr/>
      <dgm:t>
        <a:bodyPr/>
        <a:lstStyle/>
        <a:p>
          <a:endParaRPr lang="en-ID"/>
        </a:p>
      </dgm:t>
    </dgm:pt>
    <dgm:pt modelId="{1B128018-3255-4C3E-A6F2-B681F04F9947}" type="sibTrans" cxnId="{3B9187A1-A02A-4089-AC67-DB95439638C0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en-ID"/>
        </a:p>
      </dgm:t>
    </dgm:pt>
    <dgm:pt modelId="{98281E7A-B42B-4A60-8F0A-02FBBE192048}" type="pres">
      <dgm:prSet presAssocID="{262B9D00-C826-4E11-8429-177F52B13C3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1A49A10-DA55-43D2-B848-2A752A4B7FB1}" type="pres">
      <dgm:prSet presAssocID="{AD54CEA8-5F53-4347-86E7-E38FF30F9C6D}" presName="node" presStyleLbl="node1" presStyleIdx="0" presStyleCnt="14" custLinFactNeighborX="-1697" custLinFactNeighborY="38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77E669-BE62-41BC-9950-13C5D39E30D2}" type="pres">
      <dgm:prSet presAssocID="{7687A3FF-D23F-4D53-AB0F-6B1DA8BA7B9C}" presName="sibTrans" presStyleLbl="sibTrans2D1" presStyleIdx="0" presStyleCnt="13"/>
      <dgm:spPr/>
      <dgm:t>
        <a:bodyPr/>
        <a:lstStyle/>
        <a:p>
          <a:endParaRPr lang="en-US"/>
        </a:p>
      </dgm:t>
    </dgm:pt>
    <dgm:pt modelId="{80702E3B-FA77-4C95-8465-C752588C38FB}" type="pres">
      <dgm:prSet presAssocID="{7687A3FF-D23F-4D53-AB0F-6B1DA8BA7B9C}" presName="connectorText" presStyleLbl="sibTrans2D1" presStyleIdx="0" presStyleCnt="13"/>
      <dgm:spPr/>
      <dgm:t>
        <a:bodyPr/>
        <a:lstStyle/>
        <a:p>
          <a:endParaRPr lang="en-US"/>
        </a:p>
      </dgm:t>
    </dgm:pt>
    <dgm:pt modelId="{FB08B26A-8E52-454A-9694-166FDA94A66C}" type="pres">
      <dgm:prSet presAssocID="{310EC75C-E063-4A6D-B708-652AE6A98FFB}" presName="node" presStyleLbl="node1" presStyleIdx="1" presStyleCnt="14" custScaleX="73521" custLinFactNeighborX="-17752" custLinFactNeighborY="22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A16790-742C-466A-95A4-0BF22E5FCD7A}" type="pres">
      <dgm:prSet presAssocID="{F26F70EC-E779-4452-97E7-E0713E7366DB}" presName="sibTrans" presStyleLbl="sibTrans2D1" presStyleIdx="1" presStyleCnt="13" custLinFactNeighborX="-27435" custLinFactNeighborY="4219"/>
      <dgm:spPr/>
      <dgm:t>
        <a:bodyPr/>
        <a:lstStyle/>
        <a:p>
          <a:endParaRPr lang="en-US"/>
        </a:p>
      </dgm:t>
    </dgm:pt>
    <dgm:pt modelId="{C56007E9-35BB-4D39-9B1A-57F61D92EDEB}" type="pres">
      <dgm:prSet presAssocID="{F26F70EC-E779-4452-97E7-E0713E7366DB}" presName="connectorText" presStyleLbl="sibTrans2D1" presStyleIdx="1" presStyleCnt="13"/>
      <dgm:spPr/>
      <dgm:t>
        <a:bodyPr/>
        <a:lstStyle/>
        <a:p>
          <a:endParaRPr lang="en-US"/>
        </a:p>
      </dgm:t>
    </dgm:pt>
    <dgm:pt modelId="{7D12FF1B-AFF2-41BF-A1B9-96394947895C}" type="pres">
      <dgm:prSet presAssocID="{5B07F661-21FD-4226-B11E-25E019FF7B66}" presName="node" presStyleLbl="node1" presStyleIdx="2" presStyleCnt="14" custLinFactNeighborX="-18127" custLinFactNeighborY="22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D77E6C-9E07-4195-BF67-9B25D7196EAA}" type="pres">
      <dgm:prSet presAssocID="{1B128018-3255-4C3E-A6F2-B681F04F9947}" presName="sibTrans" presStyleLbl="sibTrans2D1" presStyleIdx="2" presStyleCnt="13" custLinFactNeighborX="-36347" custLinFactNeighborY="-7304"/>
      <dgm:spPr/>
      <dgm:t>
        <a:bodyPr/>
        <a:lstStyle/>
        <a:p>
          <a:endParaRPr lang="en-US"/>
        </a:p>
      </dgm:t>
    </dgm:pt>
    <dgm:pt modelId="{B03BAD51-824A-4B72-B5C9-F4D969B0FE1F}" type="pres">
      <dgm:prSet presAssocID="{1B128018-3255-4C3E-A6F2-B681F04F9947}" presName="connectorText" presStyleLbl="sibTrans2D1" presStyleIdx="2" presStyleCnt="13"/>
      <dgm:spPr/>
      <dgm:t>
        <a:bodyPr/>
        <a:lstStyle/>
        <a:p>
          <a:endParaRPr lang="en-US"/>
        </a:p>
      </dgm:t>
    </dgm:pt>
    <dgm:pt modelId="{C53C5ED3-16AC-4B3F-9B93-D856278E85E8}" type="pres">
      <dgm:prSet presAssocID="{4E899A98-15D4-4256-AA7B-5F8B4291E564}" presName="node" presStyleLbl="node1" presStyleIdx="3" presStyleCnt="14" custLinFactNeighborX="-30828" custLinFactNeighborY="20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8488BD-C1A4-477A-8CF9-A79D8E5107F2}" type="pres">
      <dgm:prSet presAssocID="{8B9E4C69-BF9B-4B9A-BD80-944831447FF2}" presName="sibTrans" presStyleLbl="sibTrans2D1" presStyleIdx="3" presStyleCnt="13" custScaleX="148442" custLinFactNeighborX="3247" custLinFactNeighborY="-15302"/>
      <dgm:spPr/>
      <dgm:t>
        <a:bodyPr/>
        <a:lstStyle/>
        <a:p>
          <a:endParaRPr lang="en-US"/>
        </a:p>
      </dgm:t>
    </dgm:pt>
    <dgm:pt modelId="{5033852B-6252-4BC2-BA8A-939A6D79CE68}" type="pres">
      <dgm:prSet presAssocID="{8B9E4C69-BF9B-4B9A-BD80-944831447FF2}" presName="connectorText" presStyleLbl="sibTrans2D1" presStyleIdx="3" presStyleCnt="13"/>
      <dgm:spPr/>
      <dgm:t>
        <a:bodyPr/>
        <a:lstStyle/>
        <a:p>
          <a:endParaRPr lang="en-US"/>
        </a:p>
      </dgm:t>
    </dgm:pt>
    <dgm:pt modelId="{2B6E1E24-A7FA-4049-86FC-9D12842052E7}" type="pres">
      <dgm:prSet presAssocID="{AEF4EB16-B0C9-452C-B68A-00BB68859A7B}" presName="node" presStyleLbl="node1" presStyleIdx="4" presStyleCnt="14" custScaleX="107192" custLinFactNeighborX="-31997" custLinFactNeighborY="418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1DF05F3B-4E23-47B7-9399-FA0B1A3EC9AF}" type="pres">
      <dgm:prSet presAssocID="{B9A78629-975F-4B90-AE96-9E5B92F536AA}" presName="sibTrans" presStyleLbl="sibTrans2D1" presStyleIdx="4" presStyleCnt="13" custAng="699290" custLinFactNeighborX="-13898" custLinFactNeighborY="338"/>
      <dgm:spPr/>
      <dgm:t>
        <a:bodyPr/>
        <a:lstStyle/>
        <a:p>
          <a:endParaRPr lang="en-US"/>
        </a:p>
      </dgm:t>
    </dgm:pt>
    <dgm:pt modelId="{16836755-55F7-4A1E-8705-055A4D230720}" type="pres">
      <dgm:prSet presAssocID="{B9A78629-975F-4B90-AE96-9E5B92F536AA}" presName="connectorText" presStyleLbl="sibTrans2D1" presStyleIdx="4" presStyleCnt="13"/>
      <dgm:spPr/>
      <dgm:t>
        <a:bodyPr/>
        <a:lstStyle/>
        <a:p>
          <a:endParaRPr lang="en-US"/>
        </a:p>
      </dgm:t>
    </dgm:pt>
    <dgm:pt modelId="{519EAD41-65A7-4AAB-AFFA-DCC2B68A3AFF}" type="pres">
      <dgm:prSet presAssocID="{76611A96-8D89-4ABC-A2D5-6376D1FAA627}" presName="node" presStyleLbl="node1" presStyleIdx="5" presStyleCnt="14" custLinFactNeighborX="-15486" custLinFactNeighborY="-1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F3E634-1966-415E-85D5-38A897C4E7E3}" type="pres">
      <dgm:prSet presAssocID="{3C94571C-248A-4A3D-B20F-21729F420AE2}" presName="sibTrans" presStyleLbl="sibTrans2D1" presStyleIdx="5" presStyleCnt="13" custLinFactNeighborX="29919" custLinFactNeighborY="-5863"/>
      <dgm:spPr/>
      <dgm:t>
        <a:bodyPr/>
        <a:lstStyle/>
        <a:p>
          <a:endParaRPr lang="en-US"/>
        </a:p>
      </dgm:t>
    </dgm:pt>
    <dgm:pt modelId="{73F9BE4E-A25B-4D57-B8A1-8D52E04917B6}" type="pres">
      <dgm:prSet presAssocID="{3C94571C-248A-4A3D-B20F-21729F420AE2}" presName="connectorText" presStyleLbl="sibTrans2D1" presStyleIdx="5" presStyleCnt="13"/>
      <dgm:spPr/>
      <dgm:t>
        <a:bodyPr/>
        <a:lstStyle/>
        <a:p>
          <a:endParaRPr lang="en-US"/>
        </a:p>
      </dgm:t>
    </dgm:pt>
    <dgm:pt modelId="{10DF5648-7416-434C-8BC3-0F92F96B97CB}" type="pres">
      <dgm:prSet presAssocID="{A2DE258B-5EDD-47A4-A98D-065D917BEA6A}" presName="node" presStyleLbl="node1" presStyleIdx="6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48B252-526A-4E26-936C-C9CCF666F5DE}" type="pres">
      <dgm:prSet presAssocID="{D13B4EC8-F381-4E7D-AB9E-D011BAF0CD91}" presName="sibTrans" presStyleLbl="sibTrans2D1" presStyleIdx="6" presStyleCnt="13" custLinFactNeighborX="4321" custLinFactNeighborY="-2491"/>
      <dgm:spPr/>
      <dgm:t>
        <a:bodyPr/>
        <a:lstStyle/>
        <a:p>
          <a:endParaRPr lang="en-US"/>
        </a:p>
      </dgm:t>
    </dgm:pt>
    <dgm:pt modelId="{036AA6AD-A8A4-4086-BC2C-1512CC873A0D}" type="pres">
      <dgm:prSet presAssocID="{D13B4EC8-F381-4E7D-AB9E-D011BAF0CD91}" presName="connectorText" presStyleLbl="sibTrans2D1" presStyleIdx="6" presStyleCnt="13"/>
      <dgm:spPr/>
      <dgm:t>
        <a:bodyPr/>
        <a:lstStyle/>
        <a:p>
          <a:endParaRPr lang="en-US"/>
        </a:p>
      </dgm:t>
    </dgm:pt>
    <dgm:pt modelId="{6D3AEE44-43FD-48EE-8CF1-7C4499C3371A}" type="pres">
      <dgm:prSet presAssocID="{2A62AF5F-6435-4364-A72A-478E6CFEE794}" presName="node" presStyleLbl="node1" presStyleIdx="7" presStyleCnt="14" custScaleX="90069" custLinFactNeighborX="-2708" custLinFactNeighborY="-34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F72D01-FAD7-4120-AE83-1A0F208ED1F8}" type="pres">
      <dgm:prSet presAssocID="{5F942606-2424-4829-90AD-5B91C84FC30D}" presName="sibTrans" presStyleLbl="sibTrans2D1" presStyleIdx="7" presStyleCnt="13" custScaleX="90496" custScaleY="95950" custLinFactNeighborX="2341" custLinFactNeighborY="-25862"/>
      <dgm:spPr/>
      <dgm:t>
        <a:bodyPr/>
        <a:lstStyle/>
        <a:p>
          <a:endParaRPr lang="en-US"/>
        </a:p>
      </dgm:t>
    </dgm:pt>
    <dgm:pt modelId="{AABABA15-70F9-4FFF-A43F-542ACDA84C22}" type="pres">
      <dgm:prSet presAssocID="{5F942606-2424-4829-90AD-5B91C84FC30D}" presName="connectorText" presStyleLbl="sibTrans2D1" presStyleIdx="7" presStyleCnt="13"/>
      <dgm:spPr/>
      <dgm:t>
        <a:bodyPr/>
        <a:lstStyle/>
        <a:p>
          <a:endParaRPr lang="en-US"/>
        </a:p>
      </dgm:t>
    </dgm:pt>
    <dgm:pt modelId="{BF16CC55-EE22-4FA0-B744-3C75ED0CDFB9}" type="pres">
      <dgm:prSet presAssocID="{21A7C13D-FF6D-4CD5-A5D6-359A981AEAF3}" presName="node" presStyleLbl="node1" presStyleIdx="8" presStyleCnt="14" custScaleX="91506" custLinFactNeighborX="-3178" custLinFactNeighborY="-13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6B0C22-5E1F-47C4-ABDB-F0D776289AB1}" type="pres">
      <dgm:prSet presAssocID="{144435B7-8C3A-43C1-B9ED-815C237DE833}" presName="sibTrans" presStyleLbl="sibTrans2D1" presStyleIdx="8" presStyleCnt="13"/>
      <dgm:spPr/>
      <dgm:t>
        <a:bodyPr/>
        <a:lstStyle/>
        <a:p>
          <a:endParaRPr lang="en-US"/>
        </a:p>
      </dgm:t>
    </dgm:pt>
    <dgm:pt modelId="{6741C56C-4C87-4BA4-8853-C720F6210EC5}" type="pres">
      <dgm:prSet presAssocID="{144435B7-8C3A-43C1-B9ED-815C237DE833}" presName="connectorText" presStyleLbl="sibTrans2D1" presStyleIdx="8" presStyleCnt="13"/>
      <dgm:spPr/>
      <dgm:t>
        <a:bodyPr/>
        <a:lstStyle/>
        <a:p>
          <a:endParaRPr lang="en-US"/>
        </a:p>
      </dgm:t>
    </dgm:pt>
    <dgm:pt modelId="{7D66EB39-461E-4387-864C-3DC4290864AF}" type="pres">
      <dgm:prSet presAssocID="{997EB590-F184-40B9-B422-CDD04BC86DB3}" presName="node" presStyleLbl="node1" presStyleIdx="9" presStyleCnt="1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33039C-BA0A-4FD7-AF5B-4CA33D23A3BE}" type="pres">
      <dgm:prSet presAssocID="{F831478C-E0B0-48C6-A4A5-1917C276FBD6}" presName="sibTrans" presStyleLbl="sibTrans2D1" presStyleIdx="9" presStyleCnt="13"/>
      <dgm:spPr/>
      <dgm:t>
        <a:bodyPr/>
        <a:lstStyle/>
        <a:p>
          <a:endParaRPr lang="en-US"/>
        </a:p>
      </dgm:t>
    </dgm:pt>
    <dgm:pt modelId="{2D5E3A06-7608-427B-8000-20DCF6ED2E43}" type="pres">
      <dgm:prSet presAssocID="{F831478C-E0B0-48C6-A4A5-1917C276FBD6}" presName="connectorText" presStyleLbl="sibTrans2D1" presStyleIdx="9" presStyleCnt="13"/>
      <dgm:spPr/>
      <dgm:t>
        <a:bodyPr/>
        <a:lstStyle/>
        <a:p>
          <a:endParaRPr lang="en-US"/>
        </a:p>
      </dgm:t>
    </dgm:pt>
    <dgm:pt modelId="{1E8F4112-35A4-4295-87F4-B72985AE28CB}" type="pres">
      <dgm:prSet presAssocID="{0D1DC267-EDB7-48C8-8BFA-4E7B7031A1E1}" presName="node" presStyleLbl="node1" presStyleIdx="10" presStyleCnt="14" custLinFactNeighborX="-49" custLinFactNeighborY="-2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BA764D-ECD5-4996-9C44-8A0A5F19889D}" type="pres">
      <dgm:prSet presAssocID="{BE8F2A95-D086-4AF1-A9DE-4EF362944DEF}" presName="sibTrans" presStyleLbl="sibTrans2D1" presStyleIdx="10" presStyleCnt="13" custLinFactNeighborX="11371" custLinFactNeighborY="-9351"/>
      <dgm:spPr/>
      <dgm:t>
        <a:bodyPr/>
        <a:lstStyle/>
        <a:p>
          <a:endParaRPr lang="en-US"/>
        </a:p>
      </dgm:t>
    </dgm:pt>
    <dgm:pt modelId="{8D66E80D-3792-44A1-A555-C859786D3F71}" type="pres">
      <dgm:prSet presAssocID="{BE8F2A95-D086-4AF1-A9DE-4EF362944DEF}" presName="connectorText" presStyleLbl="sibTrans2D1" presStyleIdx="10" presStyleCnt="13"/>
      <dgm:spPr/>
      <dgm:t>
        <a:bodyPr/>
        <a:lstStyle/>
        <a:p>
          <a:endParaRPr lang="en-US"/>
        </a:p>
      </dgm:t>
    </dgm:pt>
    <dgm:pt modelId="{40DA85B8-AB36-40AB-8A67-B0700BBA8244}" type="pres">
      <dgm:prSet presAssocID="{25FBD4B3-25FF-4E45-86FF-AB1F5232052A}" presName="node" presStyleLbl="node1" presStyleIdx="11" presStyleCnt="14" custScaleY="8221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8071CD-006C-4360-B296-0E1A84EE250A}" type="pres">
      <dgm:prSet presAssocID="{684D34C8-B14C-43A1-9553-E3A9FBB5773E}" presName="sibTrans" presStyleLbl="sibTrans2D1" presStyleIdx="11" presStyleCnt="13" custScaleX="163273" custLinFactNeighborX="13963" custLinFactNeighborY="7750"/>
      <dgm:spPr/>
      <dgm:t>
        <a:bodyPr/>
        <a:lstStyle/>
        <a:p>
          <a:endParaRPr lang="en-US"/>
        </a:p>
      </dgm:t>
    </dgm:pt>
    <dgm:pt modelId="{64E4E5A8-D687-4A18-989B-51516A068551}" type="pres">
      <dgm:prSet presAssocID="{684D34C8-B14C-43A1-9553-E3A9FBB5773E}" presName="connectorText" presStyleLbl="sibTrans2D1" presStyleIdx="11" presStyleCnt="13"/>
      <dgm:spPr/>
      <dgm:t>
        <a:bodyPr/>
        <a:lstStyle/>
        <a:p>
          <a:endParaRPr lang="en-US"/>
        </a:p>
      </dgm:t>
    </dgm:pt>
    <dgm:pt modelId="{B3269C98-FE39-4934-95BE-9C10E0C6B355}" type="pres">
      <dgm:prSet presAssocID="{2551C04F-020F-495D-A318-D01245191349}" presName="node" presStyleLbl="node1" presStyleIdx="12" presStyleCnt="14" custLinFactNeighborX="5384" custLinFactNeighborY="-107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B36BAE-25BD-4995-A0A7-28D989B3241F}" type="pres">
      <dgm:prSet presAssocID="{7F9DF969-7821-47A1-8C06-4A22D451FC9B}" presName="sibTrans" presStyleLbl="sibTrans2D1" presStyleIdx="12" presStyleCnt="13" custScaleX="185182" custLinFactNeighborX="2279" custLinFactNeighborY="1737"/>
      <dgm:spPr/>
      <dgm:t>
        <a:bodyPr/>
        <a:lstStyle/>
        <a:p>
          <a:endParaRPr lang="en-US"/>
        </a:p>
      </dgm:t>
    </dgm:pt>
    <dgm:pt modelId="{482961E6-2364-4DBB-9811-136E81958C03}" type="pres">
      <dgm:prSet presAssocID="{7F9DF969-7821-47A1-8C06-4A22D451FC9B}" presName="connectorText" presStyleLbl="sibTrans2D1" presStyleIdx="12" presStyleCnt="13"/>
      <dgm:spPr/>
      <dgm:t>
        <a:bodyPr/>
        <a:lstStyle/>
        <a:p>
          <a:endParaRPr lang="en-US"/>
        </a:p>
      </dgm:t>
    </dgm:pt>
    <dgm:pt modelId="{8534CBB5-8797-46BC-A736-3AC7DDECF8A2}" type="pres">
      <dgm:prSet presAssocID="{E21B05AE-37BA-4E2B-8FD5-72104FB09C1D}" presName="node" presStyleLbl="node1" presStyleIdx="13" presStyleCnt="14" custLinFactNeighborX="-10726" custLinFactNeighborY="-368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B17DA82-4520-4FB0-9569-3EA231863761}" type="presOf" srcId="{144435B7-8C3A-43C1-B9ED-815C237DE833}" destId="{316B0C22-5E1F-47C4-ABDB-F0D776289AB1}" srcOrd="0" destOrd="0" presId="urn:microsoft.com/office/officeart/2005/8/layout/process5"/>
    <dgm:cxn modelId="{FE7A1218-4189-4617-B643-9F1236A77450}" type="presOf" srcId="{3C94571C-248A-4A3D-B20F-21729F420AE2}" destId="{3FF3E634-1966-415E-85D5-38A897C4E7E3}" srcOrd="0" destOrd="0" presId="urn:microsoft.com/office/officeart/2005/8/layout/process5"/>
    <dgm:cxn modelId="{C27BF15E-E6C0-4A17-AC67-E89E003C9B66}" srcId="{262B9D00-C826-4E11-8429-177F52B13C39}" destId="{25FBD4B3-25FF-4E45-86FF-AB1F5232052A}" srcOrd="11" destOrd="0" parTransId="{C6107E0F-C51C-4220-A03E-3198B31EACA2}" sibTransId="{684D34C8-B14C-43A1-9553-E3A9FBB5773E}"/>
    <dgm:cxn modelId="{AB442365-166D-4152-9DB9-81C3179CD9C3}" type="presOf" srcId="{21A7C13D-FF6D-4CD5-A5D6-359A981AEAF3}" destId="{BF16CC55-EE22-4FA0-B744-3C75ED0CDFB9}" srcOrd="0" destOrd="0" presId="urn:microsoft.com/office/officeart/2005/8/layout/process5"/>
    <dgm:cxn modelId="{2B82A383-8213-4D83-9DC6-29B01925B172}" type="presOf" srcId="{7687A3FF-D23F-4D53-AB0F-6B1DA8BA7B9C}" destId="{80702E3B-FA77-4C95-8465-C752588C38FB}" srcOrd="1" destOrd="0" presId="urn:microsoft.com/office/officeart/2005/8/layout/process5"/>
    <dgm:cxn modelId="{9BBD6BA0-E0E0-489B-AAFE-DE3D3AE1D49D}" type="presOf" srcId="{D13B4EC8-F381-4E7D-AB9E-D011BAF0CD91}" destId="{036AA6AD-A8A4-4086-BC2C-1512CC873A0D}" srcOrd="1" destOrd="0" presId="urn:microsoft.com/office/officeart/2005/8/layout/process5"/>
    <dgm:cxn modelId="{302F69F8-52C2-470B-981D-72589B1EA27A}" type="presOf" srcId="{2551C04F-020F-495D-A318-D01245191349}" destId="{B3269C98-FE39-4934-95BE-9C10E0C6B355}" srcOrd="0" destOrd="0" presId="urn:microsoft.com/office/officeart/2005/8/layout/process5"/>
    <dgm:cxn modelId="{F1D0DE58-E84C-49EB-A434-939A643CAAEA}" type="presOf" srcId="{4E899A98-15D4-4256-AA7B-5F8B4291E564}" destId="{C53C5ED3-16AC-4B3F-9B93-D856278E85E8}" srcOrd="0" destOrd="0" presId="urn:microsoft.com/office/officeart/2005/8/layout/process5"/>
    <dgm:cxn modelId="{7FB3818B-EE2C-4B8E-AC0F-6D17C5E79AE1}" type="presOf" srcId="{B9A78629-975F-4B90-AE96-9E5B92F536AA}" destId="{1DF05F3B-4E23-47B7-9399-FA0B1A3EC9AF}" srcOrd="0" destOrd="0" presId="urn:microsoft.com/office/officeart/2005/8/layout/process5"/>
    <dgm:cxn modelId="{39237697-2E58-484C-ABA4-C86F5629A50A}" srcId="{262B9D00-C826-4E11-8429-177F52B13C39}" destId="{A2DE258B-5EDD-47A4-A98D-065D917BEA6A}" srcOrd="6" destOrd="0" parTransId="{FCFAA163-428E-432A-AC4A-0C193CBD4A8D}" sibTransId="{D13B4EC8-F381-4E7D-AB9E-D011BAF0CD91}"/>
    <dgm:cxn modelId="{50F0D06C-68B8-4CE1-AC53-21A7F1ED3225}" type="presOf" srcId="{7F9DF969-7821-47A1-8C06-4A22D451FC9B}" destId="{482961E6-2364-4DBB-9811-136E81958C03}" srcOrd="1" destOrd="0" presId="urn:microsoft.com/office/officeart/2005/8/layout/process5"/>
    <dgm:cxn modelId="{DB253591-F938-43D0-BE73-B90D0FC6AD5E}" type="presOf" srcId="{F831478C-E0B0-48C6-A4A5-1917C276FBD6}" destId="{2D5E3A06-7608-427B-8000-20DCF6ED2E43}" srcOrd="1" destOrd="0" presId="urn:microsoft.com/office/officeart/2005/8/layout/process5"/>
    <dgm:cxn modelId="{08100226-19F4-4C30-A6C0-70309BFF571C}" type="presOf" srcId="{25FBD4B3-25FF-4E45-86FF-AB1F5232052A}" destId="{40DA85B8-AB36-40AB-8A67-B0700BBA8244}" srcOrd="0" destOrd="0" presId="urn:microsoft.com/office/officeart/2005/8/layout/process5"/>
    <dgm:cxn modelId="{3B9187A1-A02A-4089-AC67-DB95439638C0}" srcId="{262B9D00-C826-4E11-8429-177F52B13C39}" destId="{5B07F661-21FD-4226-B11E-25E019FF7B66}" srcOrd="2" destOrd="0" parTransId="{65D33F37-9CD7-40B7-A709-C11C8AC09BA9}" sibTransId="{1B128018-3255-4C3E-A6F2-B681F04F9947}"/>
    <dgm:cxn modelId="{302F391F-B1A8-486D-BCEF-F541FE7143D4}" srcId="{262B9D00-C826-4E11-8429-177F52B13C39}" destId="{310EC75C-E063-4A6D-B708-652AE6A98FFB}" srcOrd="1" destOrd="0" parTransId="{DC529E6A-B598-4A66-9DC8-0689D344A803}" sibTransId="{F26F70EC-E779-4452-97E7-E0713E7366DB}"/>
    <dgm:cxn modelId="{D3125814-1D82-4DCC-BBAA-35D49EEE780F}" type="presOf" srcId="{BE8F2A95-D086-4AF1-A9DE-4EF362944DEF}" destId="{8D66E80D-3792-44A1-A555-C859786D3F71}" srcOrd="1" destOrd="0" presId="urn:microsoft.com/office/officeart/2005/8/layout/process5"/>
    <dgm:cxn modelId="{08C32B21-84A9-423D-A45A-9D8EF6D901FE}" type="presOf" srcId="{3C94571C-248A-4A3D-B20F-21729F420AE2}" destId="{73F9BE4E-A25B-4D57-B8A1-8D52E04917B6}" srcOrd="1" destOrd="0" presId="urn:microsoft.com/office/officeart/2005/8/layout/process5"/>
    <dgm:cxn modelId="{E17DD8EA-AF9B-49B8-9FE5-8D3BE60DC532}" srcId="{262B9D00-C826-4E11-8429-177F52B13C39}" destId="{76611A96-8D89-4ABC-A2D5-6376D1FAA627}" srcOrd="5" destOrd="0" parTransId="{664007BD-9DE2-40B1-A604-17B906DB5D4F}" sibTransId="{3C94571C-248A-4A3D-B20F-21729F420AE2}"/>
    <dgm:cxn modelId="{6306278D-C6FA-40B1-933C-9AA417BA0B56}" srcId="{262B9D00-C826-4E11-8429-177F52B13C39}" destId="{AEF4EB16-B0C9-452C-B68A-00BB68859A7B}" srcOrd="4" destOrd="0" parTransId="{0FF0BCAB-0768-45C1-BC0F-0C57BDC601F9}" sibTransId="{B9A78629-975F-4B90-AE96-9E5B92F536AA}"/>
    <dgm:cxn modelId="{248E913F-F986-4C61-B0CA-ADDBD4285CD9}" srcId="{262B9D00-C826-4E11-8429-177F52B13C39}" destId="{997EB590-F184-40B9-B422-CDD04BC86DB3}" srcOrd="9" destOrd="0" parTransId="{1DA14726-53EF-4823-B553-F4F5FB0C2891}" sibTransId="{F831478C-E0B0-48C6-A4A5-1917C276FBD6}"/>
    <dgm:cxn modelId="{321A10C5-5657-49B6-B666-A221FEDA8C86}" type="presOf" srcId="{F26F70EC-E779-4452-97E7-E0713E7366DB}" destId="{39A16790-742C-466A-95A4-0BF22E5FCD7A}" srcOrd="0" destOrd="0" presId="urn:microsoft.com/office/officeart/2005/8/layout/process5"/>
    <dgm:cxn modelId="{9BF3E685-3805-48F8-A1C1-3A4961AE72E9}" type="presOf" srcId="{A2DE258B-5EDD-47A4-A98D-065D917BEA6A}" destId="{10DF5648-7416-434C-8BC3-0F92F96B97CB}" srcOrd="0" destOrd="0" presId="urn:microsoft.com/office/officeart/2005/8/layout/process5"/>
    <dgm:cxn modelId="{A2C20CC0-07CE-4975-9792-C0D3DD215D48}" type="presOf" srcId="{0D1DC267-EDB7-48C8-8BFA-4E7B7031A1E1}" destId="{1E8F4112-35A4-4295-87F4-B72985AE28CB}" srcOrd="0" destOrd="0" presId="urn:microsoft.com/office/officeart/2005/8/layout/process5"/>
    <dgm:cxn modelId="{02756BBC-9B19-47F8-B8F4-82EFFA321623}" type="presOf" srcId="{AD54CEA8-5F53-4347-86E7-E38FF30F9C6D}" destId="{01A49A10-DA55-43D2-B848-2A752A4B7FB1}" srcOrd="0" destOrd="0" presId="urn:microsoft.com/office/officeart/2005/8/layout/process5"/>
    <dgm:cxn modelId="{C68991A4-5230-48BD-8050-DDEA24FF64A5}" srcId="{262B9D00-C826-4E11-8429-177F52B13C39}" destId="{2551C04F-020F-495D-A318-D01245191349}" srcOrd="12" destOrd="0" parTransId="{BCDB9010-55FA-404A-9363-BA57C20B00BD}" sibTransId="{7F9DF969-7821-47A1-8C06-4A22D451FC9B}"/>
    <dgm:cxn modelId="{6FE6A8E4-FA3A-49B6-9901-C9DA34466931}" srcId="{262B9D00-C826-4E11-8429-177F52B13C39}" destId="{2A62AF5F-6435-4364-A72A-478E6CFEE794}" srcOrd="7" destOrd="0" parTransId="{54E1A5CC-FC95-4B5C-8E76-70D09B9F9705}" sibTransId="{5F942606-2424-4829-90AD-5B91C84FC30D}"/>
    <dgm:cxn modelId="{8149C044-C10F-49FC-A7F0-0A87B31F7823}" type="presOf" srcId="{2A62AF5F-6435-4364-A72A-478E6CFEE794}" destId="{6D3AEE44-43FD-48EE-8CF1-7C4499C3371A}" srcOrd="0" destOrd="0" presId="urn:microsoft.com/office/officeart/2005/8/layout/process5"/>
    <dgm:cxn modelId="{5BB2866D-0A2A-44FD-9757-7F305E37085E}" type="presOf" srcId="{997EB590-F184-40B9-B422-CDD04BC86DB3}" destId="{7D66EB39-461E-4387-864C-3DC4290864AF}" srcOrd="0" destOrd="0" presId="urn:microsoft.com/office/officeart/2005/8/layout/process5"/>
    <dgm:cxn modelId="{744DF3DB-9E55-4042-8AB2-40EDDE4E90F7}" srcId="{262B9D00-C826-4E11-8429-177F52B13C39}" destId="{0D1DC267-EDB7-48C8-8BFA-4E7B7031A1E1}" srcOrd="10" destOrd="0" parTransId="{AB64DA9E-ABDB-4FF6-911E-D6747CAD5678}" sibTransId="{BE8F2A95-D086-4AF1-A9DE-4EF362944DEF}"/>
    <dgm:cxn modelId="{AD668EE1-B63A-4BEF-8691-667CA79507AD}" type="presOf" srcId="{AEF4EB16-B0C9-452C-B68A-00BB68859A7B}" destId="{2B6E1E24-A7FA-4049-86FC-9D12842052E7}" srcOrd="0" destOrd="0" presId="urn:microsoft.com/office/officeart/2005/8/layout/process5"/>
    <dgm:cxn modelId="{93911596-E8E2-4F7D-9DC7-7E7D68D2C86A}" type="presOf" srcId="{F26F70EC-E779-4452-97E7-E0713E7366DB}" destId="{C56007E9-35BB-4D39-9B1A-57F61D92EDEB}" srcOrd="1" destOrd="0" presId="urn:microsoft.com/office/officeart/2005/8/layout/process5"/>
    <dgm:cxn modelId="{1F8BFF13-0F53-4503-B59C-FD08806FB383}" type="presOf" srcId="{7687A3FF-D23F-4D53-AB0F-6B1DA8BA7B9C}" destId="{3877E669-BE62-41BC-9950-13C5D39E30D2}" srcOrd="0" destOrd="0" presId="urn:microsoft.com/office/officeart/2005/8/layout/process5"/>
    <dgm:cxn modelId="{8F0D4595-AD2C-4E62-ACF1-CF03B7AF5CF0}" type="presOf" srcId="{B9A78629-975F-4B90-AE96-9E5B92F536AA}" destId="{16836755-55F7-4A1E-8705-055A4D230720}" srcOrd="1" destOrd="0" presId="urn:microsoft.com/office/officeart/2005/8/layout/process5"/>
    <dgm:cxn modelId="{6CF5A3E5-383D-4DEB-A0D2-6D7F3DCEFFAE}" type="presOf" srcId="{D13B4EC8-F381-4E7D-AB9E-D011BAF0CD91}" destId="{7848B252-526A-4E26-936C-C9CCF666F5DE}" srcOrd="0" destOrd="0" presId="urn:microsoft.com/office/officeart/2005/8/layout/process5"/>
    <dgm:cxn modelId="{11E3E4C0-AB22-42E8-8135-7A7336D4E872}" type="presOf" srcId="{5F942606-2424-4829-90AD-5B91C84FC30D}" destId="{AABABA15-70F9-4FFF-A43F-542ACDA84C22}" srcOrd="1" destOrd="0" presId="urn:microsoft.com/office/officeart/2005/8/layout/process5"/>
    <dgm:cxn modelId="{35685423-3EF3-4E8B-A53A-3BA7B831B122}" type="presOf" srcId="{5F942606-2424-4829-90AD-5B91C84FC30D}" destId="{D5F72D01-FAD7-4120-AE83-1A0F208ED1F8}" srcOrd="0" destOrd="0" presId="urn:microsoft.com/office/officeart/2005/8/layout/process5"/>
    <dgm:cxn modelId="{F5D38D01-0A58-48A0-A33B-E416552FCD0E}" type="presOf" srcId="{76611A96-8D89-4ABC-A2D5-6376D1FAA627}" destId="{519EAD41-65A7-4AAB-AFFA-DCC2B68A3AFF}" srcOrd="0" destOrd="0" presId="urn:microsoft.com/office/officeart/2005/8/layout/process5"/>
    <dgm:cxn modelId="{E5F5FFF9-963B-4381-9F49-700EF1645F84}" type="presOf" srcId="{5B07F661-21FD-4226-B11E-25E019FF7B66}" destId="{7D12FF1B-AFF2-41BF-A1B9-96394947895C}" srcOrd="0" destOrd="0" presId="urn:microsoft.com/office/officeart/2005/8/layout/process5"/>
    <dgm:cxn modelId="{0BED4FD2-57FC-4240-932B-F3FB0766B45E}" type="presOf" srcId="{684D34C8-B14C-43A1-9553-E3A9FBB5773E}" destId="{64E4E5A8-D687-4A18-989B-51516A068551}" srcOrd="1" destOrd="0" presId="urn:microsoft.com/office/officeart/2005/8/layout/process5"/>
    <dgm:cxn modelId="{5E789A1D-2FAA-4E5B-B88A-4A9F2C6A8F5B}" type="presOf" srcId="{1B128018-3255-4C3E-A6F2-B681F04F9947}" destId="{B03BAD51-824A-4B72-B5C9-F4D969B0FE1F}" srcOrd="1" destOrd="0" presId="urn:microsoft.com/office/officeart/2005/8/layout/process5"/>
    <dgm:cxn modelId="{45D86260-E830-4D22-AF81-60797C3C7BCA}" type="presOf" srcId="{E21B05AE-37BA-4E2B-8FD5-72104FB09C1D}" destId="{8534CBB5-8797-46BC-A736-3AC7DDECF8A2}" srcOrd="0" destOrd="0" presId="urn:microsoft.com/office/officeart/2005/8/layout/process5"/>
    <dgm:cxn modelId="{E2A43AF9-53FA-4ADA-88A5-FAC0B7DB1532}" srcId="{262B9D00-C826-4E11-8429-177F52B13C39}" destId="{AD54CEA8-5F53-4347-86E7-E38FF30F9C6D}" srcOrd="0" destOrd="0" parTransId="{DE73FDEF-55AF-4C8C-BC8B-D06C900BD70A}" sibTransId="{7687A3FF-D23F-4D53-AB0F-6B1DA8BA7B9C}"/>
    <dgm:cxn modelId="{F3EC5052-DB12-426D-8C59-5A42EB985727}" type="presOf" srcId="{8B9E4C69-BF9B-4B9A-BD80-944831447FF2}" destId="{B98488BD-C1A4-477A-8CF9-A79D8E5107F2}" srcOrd="0" destOrd="0" presId="urn:microsoft.com/office/officeart/2005/8/layout/process5"/>
    <dgm:cxn modelId="{43948289-E131-4304-AE91-B6C17D3362B4}" type="presOf" srcId="{262B9D00-C826-4E11-8429-177F52B13C39}" destId="{98281E7A-B42B-4A60-8F0A-02FBBE192048}" srcOrd="0" destOrd="0" presId="urn:microsoft.com/office/officeart/2005/8/layout/process5"/>
    <dgm:cxn modelId="{BF9A43E2-1D21-4746-83E6-0B3A0D6475FB}" srcId="{262B9D00-C826-4E11-8429-177F52B13C39}" destId="{4E899A98-15D4-4256-AA7B-5F8B4291E564}" srcOrd="3" destOrd="0" parTransId="{E60EB875-8DE7-483C-BC93-388F2A9709FE}" sibTransId="{8B9E4C69-BF9B-4B9A-BD80-944831447FF2}"/>
    <dgm:cxn modelId="{1707EDCC-79BA-4075-B3F0-5D860E0767DA}" type="presOf" srcId="{310EC75C-E063-4A6D-B708-652AE6A98FFB}" destId="{FB08B26A-8E52-454A-9694-166FDA94A66C}" srcOrd="0" destOrd="0" presId="urn:microsoft.com/office/officeart/2005/8/layout/process5"/>
    <dgm:cxn modelId="{03E81614-2C05-4D82-AD24-C91E420E0F41}" srcId="{262B9D00-C826-4E11-8429-177F52B13C39}" destId="{E21B05AE-37BA-4E2B-8FD5-72104FB09C1D}" srcOrd="13" destOrd="0" parTransId="{5C563D78-770A-4DF6-BC95-B4BC1C645274}" sibTransId="{0EC1CEC8-6FEA-419F-B3F7-46016423A010}"/>
    <dgm:cxn modelId="{9A8EB242-8F86-4DE3-BAF3-8AF8F7AA5DDD}" type="presOf" srcId="{684D34C8-B14C-43A1-9553-E3A9FBB5773E}" destId="{0E8071CD-006C-4360-B296-0E1A84EE250A}" srcOrd="0" destOrd="0" presId="urn:microsoft.com/office/officeart/2005/8/layout/process5"/>
    <dgm:cxn modelId="{D73A4079-80B0-487E-83A6-21383736A8A5}" type="presOf" srcId="{144435B7-8C3A-43C1-B9ED-815C237DE833}" destId="{6741C56C-4C87-4BA4-8853-C720F6210EC5}" srcOrd="1" destOrd="0" presId="urn:microsoft.com/office/officeart/2005/8/layout/process5"/>
    <dgm:cxn modelId="{A7AF24D7-7A32-495E-A728-33B6EB87644D}" srcId="{262B9D00-C826-4E11-8429-177F52B13C39}" destId="{21A7C13D-FF6D-4CD5-A5D6-359A981AEAF3}" srcOrd="8" destOrd="0" parTransId="{A1DA8FDB-A69A-4776-85C4-89D44544563B}" sibTransId="{144435B7-8C3A-43C1-B9ED-815C237DE833}"/>
    <dgm:cxn modelId="{DF300711-0590-4CC4-B481-B33B128A1D1E}" type="presOf" srcId="{1B128018-3255-4C3E-A6F2-B681F04F9947}" destId="{B8D77E6C-9E07-4195-BF67-9B25D7196EAA}" srcOrd="0" destOrd="0" presId="urn:microsoft.com/office/officeart/2005/8/layout/process5"/>
    <dgm:cxn modelId="{968E486A-07B1-4D17-B47A-96E6CEA0E22B}" type="presOf" srcId="{F831478C-E0B0-48C6-A4A5-1917C276FBD6}" destId="{9733039C-BA0A-4FD7-AF5B-4CA33D23A3BE}" srcOrd="0" destOrd="0" presId="urn:microsoft.com/office/officeart/2005/8/layout/process5"/>
    <dgm:cxn modelId="{FB1DB542-804A-487A-B613-B4F63F226D1F}" type="presOf" srcId="{7F9DF969-7821-47A1-8C06-4A22D451FC9B}" destId="{F7B36BAE-25BD-4995-A0A7-28D989B3241F}" srcOrd="0" destOrd="0" presId="urn:microsoft.com/office/officeart/2005/8/layout/process5"/>
    <dgm:cxn modelId="{96F3F1AD-9D8F-47AA-A718-6A9E034659F9}" type="presOf" srcId="{8B9E4C69-BF9B-4B9A-BD80-944831447FF2}" destId="{5033852B-6252-4BC2-BA8A-939A6D79CE68}" srcOrd="1" destOrd="0" presId="urn:microsoft.com/office/officeart/2005/8/layout/process5"/>
    <dgm:cxn modelId="{5300A0DC-5102-4A18-B7E4-088EE87E8CD7}" type="presOf" srcId="{BE8F2A95-D086-4AF1-A9DE-4EF362944DEF}" destId="{42BA764D-ECD5-4996-9C44-8A0A5F19889D}" srcOrd="0" destOrd="0" presId="urn:microsoft.com/office/officeart/2005/8/layout/process5"/>
    <dgm:cxn modelId="{C0C6519A-C6B8-467D-A7C7-BBF2BECFDEC0}" type="presParOf" srcId="{98281E7A-B42B-4A60-8F0A-02FBBE192048}" destId="{01A49A10-DA55-43D2-B848-2A752A4B7FB1}" srcOrd="0" destOrd="0" presId="urn:microsoft.com/office/officeart/2005/8/layout/process5"/>
    <dgm:cxn modelId="{58EB72F8-E11D-4673-A720-606CAAD12003}" type="presParOf" srcId="{98281E7A-B42B-4A60-8F0A-02FBBE192048}" destId="{3877E669-BE62-41BC-9950-13C5D39E30D2}" srcOrd="1" destOrd="0" presId="urn:microsoft.com/office/officeart/2005/8/layout/process5"/>
    <dgm:cxn modelId="{2732D1BB-4A56-4FA1-AE09-F4F959BA6881}" type="presParOf" srcId="{3877E669-BE62-41BC-9950-13C5D39E30D2}" destId="{80702E3B-FA77-4C95-8465-C752588C38FB}" srcOrd="0" destOrd="0" presId="urn:microsoft.com/office/officeart/2005/8/layout/process5"/>
    <dgm:cxn modelId="{A40BD67D-CCB9-4414-81EC-0CDD906C5C23}" type="presParOf" srcId="{98281E7A-B42B-4A60-8F0A-02FBBE192048}" destId="{FB08B26A-8E52-454A-9694-166FDA94A66C}" srcOrd="2" destOrd="0" presId="urn:microsoft.com/office/officeart/2005/8/layout/process5"/>
    <dgm:cxn modelId="{8723E790-2882-4A04-838D-B895911404A9}" type="presParOf" srcId="{98281E7A-B42B-4A60-8F0A-02FBBE192048}" destId="{39A16790-742C-466A-95A4-0BF22E5FCD7A}" srcOrd="3" destOrd="0" presId="urn:microsoft.com/office/officeart/2005/8/layout/process5"/>
    <dgm:cxn modelId="{139AE346-0D0A-4278-A455-E61E183E86FB}" type="presParOf" srcId="{39A16790-742C-466A-95A4-0BF22E5FCD7A}" destId="{C56007E9-35BB-4D39-9B1A-57F61D92EDEB}" srcOrd="0" destOrd="0" presId="urn:microsoft.com/office/officeart/2005/8/layout/process5"/>
    <dgm:cxn modelId="{4EB4D467-A998-4766-ACA5-7CCE7BE5E971}" type="presParOf" srcId="{98281E7A-B42B-4A60-8F0A-02FBBE192048}" destId="{7D12FF1B-AFF2-41BF-A1B9-96394947895C}" srcOrd="4" destOrd="0" presId="urn:microsoft.com/office/officeart/2005/8/layout/process5"/>
    <dgm:cxn modelId="{15809CB5-884E-49B1-B27F-BBEFCC62F175}" type="presParOf" srcId="{98281E7A-B42B-4A60-8F0A-02FBBE192048}" destId="{B8D77E6C-9E07-4195-BF67-9B25D7196EAA}" srcOrd="5" destOrd="0" presId="urn:microsoft.com/office/officeart/2005/8/layout/process5"/>
    <dgm:cxn modelId="{B03E4E87-1C71-42F2-A752-25C2B400A1A4}" type="presParOf" srcId="{B8D77E6C-9E07-4195-BF67-9B25D7196EAA}" destId="{B03BAD51-824A-4B72-B5C9-F4D969B0FE1F}" srcOrd="0" destOrd="0" presId="urn:microsoft.com/office/officeart/2005/8/layout/process5"/>
    <dgm:cxn modelId="{16E761A5-C522-4DFB-BE69-1F2F743F5A18}" type="presParOf" srcId="{98281E7A-B42B-4A60-8F0A-02FBBE192048}" destId="{C53C5ED3-16AC-4B3F-9B93-D856278E85E8}" srcOrd="6" destOrd="0" presId="urn:microsoft.com/office/officeart/2005/8/layout/process5"/>
    <dgm:cxn modelId="{8C339212-8EE6-45CE-9D99-FF53CE092FB9}" type="presParOf" srcId="{98281E7A-B42B-4A60-8F0A-02FBBE192048}" destId="{B98488BD-C1A4-477A-8CF9-A79D8E5107F2}" srcOrd="7" destOrd="0" presId="urn:microsoft.com/office/officeart/2005/8/layout/process5"/>
    <dgm:cxn modelId="{8EBAE7BA-E54F-446C-AAAA-A95162993243}" type="presParOf" srcId="{B98488BD-C1A4-477A-8CF9-A79D8E5107F2}" destId="{5033852B-6252-4BC2-BA8A-939A6D79CE68}" srcOrd="0" destOrd="0" presId="urn:microsoft.com/office/officeart/2005/8/layout/process5"/>
    <dgm:cxn modelId="{095CF5BE-05C3-4BF7-A317-EA2D7368725F}" type="presParOf" srcId="{98281E7A-B42B-4A60-8F0A-02FBBE192048}" destId="{2B6E1E24-A7FA-4049-86FC-9D12842052E7}" srcOrd="8" destOrd="0" presId="urn:microsoft.com/office/officeart/2005/8/layout/process5"/>
    <dgm:cxn modelId="{32B2D7A6-1674-4DF5-BADE-F56F20737AD9}" type="presParOf" srcId="{98281E7A-B42B-4A60-8F0A-02FBBE192048}" destId="{1DF05F3B-4E23-47B7-9399-FA0B1A3EC9AF}" srcOrd="9" destOrd="0" presId="urn:microsoft.com/office/officeart/2005/8/layout/process5"/>
    <dgm:cxn modelId="{E1B1CC9E-A14E-4BDD-A868-974E69F0FDAA}" type="presParOf" srcId="{1DF05F3B-4E23-47B7-9399-FA0B1A3EC9AF}" destId="{16836755-55F7-4A1E-8705-055A4D230720}" srcOrd="0" destOrd="0" presId="urn:microsoft.com/office/officeart/2005/8/layout/process5"/>
    <dgm:cxn modelId="{36E4E212-8E99-4B5F-98ED-9527EE7E9C2D}" type="presParOf" srcId="{98281E7A-B42B-4A60-8F0A-02FBBE192048}" destId="{519EAD41-65A7-4AAB-AFFA-DCC2B68A3AFF}" srcOrd="10" destOrd="0" presId="urn:microsoft.com/office/officeart/2005/8/layout/process5"/>
    <dgm:cxn modelId="{20C97B50-0074-4739-8F7F-5A1447471E9A}" type="presParOf" srcId="{98281E7A-B42B-4A60-8F0A-02FBBE192048}" destId="{3FF3E634-1966-415E-85D5-38A897C4E7E3}" srcOrd="11" destOrd="0" presId="urn:microsoft.com/office/officeart/2005/8/layout/process5"/>
    <dgm:cxn modelId="{12262B4B-B3BC-4276-829E-E4E6EDE02C25}" type="presParOf" srcId="{3FF3E634-1966-415E-85D5-38A897C4E7E3}" destId="{73F9BE4E-A25B-4D57-B8A1-8D52E04917B6}" srcOrd="0" destOrd="0" presId="urn:microsoft.com/office/officeart/2005/8/layout/process5"/>
    <dgm:cxn modelId="{812D76A1-1768-48F2-A8C1-DAB9B4194E4A}" type="presParOf" srcId="{98281E7A-B42B-4A60-8F0A-02FBBE192048}" destId="{10DF5648-7416-434C-8BC3-0F92F96B97CB}" srcOrd="12" destOrd="0" presId="urn:microsoft.com/office/officeart/2005/8/layout/process5"/>
    <dgm:cxn modelId="{ED4B90FB-CC5A-44C3-AD2F-C551EEF798C6}" type="presParOf" srcId="{98281E7A-B42B-4A60-8F0A-02FBBE192048}" destId="{7848B252-526A-4E26-936C-C9CCF666F5DE}" srcOrd="13" destOrd="0" presId="urn:microsoft.com/office/officeart/2005/8/layout/process5"/>
    <dgm:cxn modelId="{EBEB5FD9-2B5A-4A68-85E9-127E72A932F3}" type="presParOf" srcId="{7848B252-526A-4E26-936C-C9CCF666F5DE}" destId="{036AA6AD-A8A4-4086-BC2C-1512CC873A0D}" srcOrd="0" destOrd="0" presId="urn:microsoft.com/office/officeart/2005/8/layout/process5"/>
    <dgm:cxn modelId="{5675CB56-D3A9-4BBD-B908-09B3C959104D}" type="presParOf" srcId="{98281E7A-B42B-4A60-8F0A-02FBBE192048}" destId="{6D3AEE44-43FD-48EE-8CF1-7C4499C3371A}" srcOrd="14" destOrd="0" presId="urn:microsoft.com/office/officeart/2005/8/layout/process5"/>
    <dgm:cxn modelId="{26E0F7A5-98E1-452D-A312-8A8D3FEFFD2E}" type="presParOf" srcId="{98281E7A-B42B-4A60-8F0A-02FBBE192048}" destId="{D5F72D01-FAD7-4120-AE83-1A0F208ED1F8}" srcOrd="15" destOrd="0" presId="urn:microsoft.com/office/officeart/2005/8/layout/process5"/>
    <dgm:cxn modelId="{ABFDB24C-8234-4DC9-BE87-FA2BA0FACC17}" type="presParOf" srcId="{D5F72D01-FAD7-4120-AE83-1A0F208ED1F8}" destId="{AABABA15-70F9-4FFF-A43F-542ACDA84C22}" srcOrd="0" destOrd="0" presId="urn:microsoft.com/office/officeart/2005/8/layout/process5"/>
    <dgm:cxn modelId="{EA4A0A32-56C5-4C45-A3F6-47B42E1D51DF}" type="presParOf" srcId="{98281E7A-B42B-4A60-8F0A-02FBBE192048}" destId="{BF16CC55-EE22-4FA0-B744-3C75ED0CDFB9}" srcOrd="16" destOrd="0" presId="urn:microsoft.com/office/officeart/2005/8/layout/process5"/>
    <dgm:cxn modelId="{D45CCE6A-7496-450C-9952-3524E3E7DF4E}" type="presParOf" srcId="{98281E7A-B42B-4A60-8F0A-02FBBE192048}" destId="{316B0C22-5E1F-47C4-ABDB-F0D776289AB1}" srcOrd="17" destOrd="0" presId="urn:microsoft.com/office/officeart/2005/8/layout/process5"/>
    <dgm:cxn modelId="{79350EEB-F097-43A0-BD75-7EB1276E1B5B}" type="presParOf" srcId="{316B0C22-5E1F-47C4-ABDB-F0D776289AB1}" destId="{6741C56C-4C87-4BA4-8853-C720F6210EC5}" srcOrd="0" destOrd="0" presId="urn:microsoft.com/office/officeart/2005/8/layout/process5"/>
    <dgm:cxn modelId="{16859C10-E3F0-45CF-9F46-8DA634DE7782}" type="presParOf" srcId="{98281E7A-B42B-4A60-8F0A-02FBBE192048}" destId="{7D66EB39-461E-4387-864C-3DC4290864AF}" srcOrd="18" destOrd="0" presId="urn:microsoft.com/office/officeart/2005/8/layout/process5"/>
    <dgm:cxn modelId="{29A5DAA3-3DD4-4555-83EE-5CBB5D0B0ADD}" type="presParOf" srcId="{98281E7A-B42B-4A60-8F0A-02FBBE192048}" destId="{9733039C-BA0A-4FD7-AF5B-4CA33D23A3BE}" srcOrd="19" destOrd="0" presId="urn:microsoft.com/office/officeart/2005/8/layout/process5"/>
    <dgm:cxn modelId="{CA3ECD5F-14F0-4192-9723-D60D06386538}" type="presParOf" srcId="{9733039C-BA0A-4FD7-AF5B-4CA33D23A3BE}" destId="{2D5E3A06-7608-427B-8000-20DCF6ED2E43}" srcOrd="0" destOrd="0" presId="urn:microsoft.com/office/officeart/2005/8/layout/process5"/>
    <dgm:cxn modelId="{01BC6E0B-E919-49EF-9904-574BDD514F94}" type="presParOf" srcId="{98281E7A-B42B-4A60-8F0A-02FBBE192048}" destId="{1E8F4112-35A4-4295-87F4-B72985AE28CB}" srcOrd="20" destOrd="0" presId="urn:microsoft.com/office/officeart/2005/8/layout/process5"/>
    <dgm:cxn modelId="{3E3859B6-2065-44C6-8A88-24D8BAA43BF3}" type="presParOf" srcId="{98281E7A-B42B-4A60-8F0A-02FBBE192048}" destId="{42BA764D-ECD5-4996-9C44-8A0A5F19889D}" srcOrd="21" destOrd="0" presId="urn:microsoft.com/office/officeart/2005/8/layout/process5"/>
    <dgm:cxn modelId="{440EC128-C140-4E3D-B865-DC951C734174}" type="presParOf" srcId="{42BA764D-ECD5-4996-9C44-8A0A5F19889D}" destId="{8D66E80D-3792-44A1-A555-C859786D3F71}" srcOrd="0" destOrd="0" presId="urn:microsoft.com/office/officeart/2005/8/layout/process5"/>
    <dgm:cxn modelId="{9229E859-8D12-4608-9A53-178E9820F712}" type="presParOf" srcId="{98281E7A-B42B-4A60-8F0A-02FBBE192048}" destId="{40DA85B8-AB36-40AB-8A67-B0700BBA8244}" srcOrd="22" destOrd="0" presId="urn:microsoft.com/office/officeart/2005/8/layout/process5"/>
    <dgm:cxn modelId="{7C351F8A-B108-4C15-9FFD-D7AF1FA64379}" type="presParOf" srcId="{98281E7A-B42B-4A60-8F0A-02FBBE192048}" destId="{0E8071CD-006C-4360-B296-0E1A84EE250A}" srcOrd="23" destOrd="0" presId="urn:microsoft.com/office/officeart/2005/8/layout/process5"/>
    <dgm:cxn modelId="{E967E531-816B-4BAD-84DE-EBE4A42D39B5}" type="presParOf" srcId="{0E8071CD-006C-4360-B296-0E1A84EE250A}" destId="{64E4E5A8-D687-4A18-989B-51516A068551}" srcOrd="0" destOrd="0" presId="urn:microsoft.com/office/officeart/2005/8/layout/process5"/>
    <dgm:cxn modelId="{4A7E532B-274D-4F13-88ED-87F65D3B3F2E}" type="presParOf" srcId="{98281E7A-B42B-4A60-8F0A-02FBBE192048}" destId="{B3269C98-FE39-4934-95BE-9C10E0C6B355}" srcOrd="24" destOrd="0" presId="urn:microsoft.com/office/officeart/2005/8/layout/process5"/>
    <dgm:cxn modelId="{3B5EA4FF-B2E9-4E60-AD63-ADB9B1225A96}" type="presParOf" srcId="{98281E7A-B42B-4A60-8F0A-02FBBE192048}" destId="{F7B36BAE-25BD-4995-A0A7-28D989B3241F}" srcOrd="25" destOrd="0" presId="urn:microsoft.com/office/officeart/2005/8/layout/process5"/>
    <dgm:cxn modelId="{018D3C11-14E5-43EC-A5A6-8A0665109DA1}" type="presParOf" srcId="{F7B36BAE-25BD-4995-A0A7-28D989B3241F}" destId="{482961E6-2364-4DBB-9811-136E81958C03}" srcOrd="0" destOrd="0" presId="urn:microsoft.com/office/officeart/2005/8/layout/process5"/>
    <dgm:cxn modelId="{1BFCB88A-AE02-4B14-A3B3-8BFFCDF6AE6C}" type="presParOf" srcId="{98281E7A-B42B-4A60-8F0A-02FBBE192048}" destId="{8534CBB5-8797-46BC-A736-3AC7DDECF8A2}" srcOrd="26" destOrd="0" presId="urn:microsoft.com/office/officeart/2005/8/layout/process5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2B9D00-C826-4E11-8429-177F52B13C39}" type="doc">
      <dgm:prSet loTypeId="urn:microsoft.com/office/officeart/2005/8/layout/process5" loCatId="process" qsTypeId="urn:microsoft.com/office/officeart/2005/8/quickstyle/3d4" qsCatId="3D" csTypeId="urn:microsoft.com/office/officeart/2005/8/colors/accent6_1" csCatId="accent6" phldr="1"/>
      <dgm:spPr/>
      <dgm:t>
        <a:bodyPr/>
        <a:lstStyle/>
        <a:p>
          <a:endParaRPr lang="id-ID"/>
        </a:p>
      </dgm:t>
    </dgm:pt>
    <dgm:pt modelId="{AD54CEA8-5F53-4347-86E7-E38FF30F9C6D}">
      <dgm:prSet phldrT="[Text]" custT="1"/>
      <dgm:spPr/>
      <dgm:t>
        <a:bodyPr/>
        <a:lstStyle/>
        <a:p>
          <a:r>
            <a:rPr lang="en-US" sz="1200" dirty="0" err="1"/>
            <a:t>Akses</a:t>
          </a:r>
          <a:r>
            <a:rPr lang="en-US" sz="1200" dirty="0"/>
            <a:t> Portal </a:t>
          </a:r>
          <a:r>
            <a:rPr lang="en-US" sz="1200" dirty="0" err="1"/>
            <a:t>Perizinan</a:t>
          </a:r>
          <a:r>
            <a:rPr lang="en-US" sz="1200" dirty="0"/>
            <a:t> PUPR</a:t>
          </a:r>
          <a:endParaRPr lang="id-ID" sz="1200" dirty="0"/>
        </a:p>
      </dgm:t>
    </dgm:pt>
    <dgm:pt modelId="{DE73FDEF-55AF-4C8C-BC8B-D06C900BD70A}" type="parTrans" cxnId="{E2A43AF9-53FA-4ADA-88A5-FAC0B7DB1532}">
      <dgm:prSet/>
      <dgm:spPr/>
      <dgm:t>
        <a:bodyPr/>
        <a:lstStyle/>
        <a:p>
          <a:endParaRPr lang="id-ID"/>
        </a:p>
      </dgm:t>
    </dgm:pt>
    <dgm:pt modelId="{7687A3FF-D23F-4D53-AB0F-6B1DA8BA7B9C}" type="sibTrans" cxnId="{E2A43AF9-53FA-4ADA-88A5-FAC0B7DB1532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310EC75C-E063-4A6D-B708-652AE6A98FFB}">
      <dgm:prSet phldrT="[Text]" custT="1"/>
      <dgm:spPr/>
      <dgm:t>
        <a:bodyPr/>
        <a:lstStyle/>
        <a:p>
          <a:r>
            <a:rPr lang="en-US" sz="1200" dirty="0"/>
            <a:t>Login Akun Portal</a:t>
          </a:r>
          <a:endParaRPr lang="id-ID" sz="1200" dirty="0"/>
        </a:p>
      </dgm:t>
    </dgm:pt>
    <dgm:pt modelId="{DC529E6A-B598-4A66-9DC8-0689D344A803}" type="parTrans" cxnId="{302F391F-B1A8-486D-BCEF-F541FE7143D4}">
      <dgm:prSet/>
      <dgm:spPr/>
      <dgm:t>
        <a:bodyPr/>
        <a:lstStyle/>
        <a:p>
          <a:endParaRPr lang="id-ID"/>
        </a:p>
      </dgm:t>
    </dgm:pt>
    <dgm:pt modelId="{F26F70EC-E779-4452-97E7-E0713E7366DB}" type="sibTrans" cxnId="{302F391F-B1A8-486D-BCEF-F541FE7143D4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AEF4EB16-B0C9-452C-B68A-00BB68859A7B}">
      <dgm:prSet phldrT="[Text]" custT="1"/>
      <dgm:spPr/>
      <dgm:t>
        <a:bodyPr/>
        <a:lstStyle/>
        <a:p>
          <a:r>
            <a:rPr lang="en-US" sz="1200" dirty="0" err="1"/>
            <a:t>Pengisian</a:t>
          </a:r>
          <a:r>
            <a:rPr lang="en-US" sz="1200" dirty="0"/>
            <a:t> Data </a:t>
          </a:r>
          <a:r>
            <a:rPr lang="en-US" sz="1200" dirty="0" err="1"/>
            <a:t>Perbaikan</a:t>
          </a:r>
          <a:r>
            <a:rPr lang="en-US" sz="1200" dirty="0"/>
            <a:t> dan Upload </a:t>
          </a:r>
          <a:r>
            <a:rPr lang="en-US" sz="1200" dirty="0" err="1"/>
            <a:t>Swafoto</a:t>
          </a:r>
          <a:r>
            <a:rPr lang="en-US" sz="1200" dirty="0"/>
            <a:t> </a:t>
          </a:r>
          <a:r>
            <a:rPr lang="en-US" sz="1200" dirty="0" err="1"/>
            <a:t>Memegang</a:t>
          </a:r>
          <a:r>
            <a:rPr lang="en-US" sz="1200" dirty="0"/>
            <a:t> </a:t>
          </a:r>
          <a:r>
            <a:rPr lang="en-US" sz="1200" dirty="0" err="1"/>
            <a:t>Identitas</a:t>
          </a:r>
          <a:r>
            <a:rPr lang="en-US" sz="1200" dirty="0"/>
            <a:t> </a:t>
          </a:r>
          <a:r>
            <a:rPr lang="en-US" sz="1200" dirty="0" err="1"/>
            <a:t>Diri</a:t>
          </a:r>
          <a:r>
            <a:rPr lang="en-US" sz="1200" dirty="0"/>
            <a:t> dan Bukti </a:t>
          </a:r>
          <a:r>
            <a:rPr lang="en-US" sz="1200" dirty="0" err="1"/>
            <a:t>Dukung</a:t>
          </a:r>
          <a:endParaRPr lang="id-ID" sz="1200" dirty="0"/>
        </a:p>
      </dgm:t>
    </dgm:pt>
    <dgm:pt modelId="{0FF0BCAB-0768-45C1-BC0F-0C57BDC601F9}" type="parTrans" cxnId="{6306278D-C6FA-40B1-933C-9AA417BA0B56}">
      <dgm:prSet/>
      <dgm:spPr/>
      <dgm:t>
        <a:bodyPr/>
        <a:lstStyle/>
        <a:p>
          <a:endParaRPr lang="id-ID"/>
        </a:p>
      </dgm:t>
    </dgm:pt>
    <dgm:pt modelId="{B9A78629-975F-4B90-AE96-9E5B92F536AA}" type="sibTrans" cxnId="{6306278D-C6FA-40B1-933C-9AA417BA0B56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4E899A98-15D4-4256-AA7B-5F8B4291E564}">
      <dgm:prSet phldrT="[Text]" custT="1"/>
      <dgm:spPr/>
      <dgm:t>
        <a:bodyPr/>
        <a:lstStyle/>
        <a:p>
          <a:r>
            <a:rPr lang="en-US" sz="1200" dirty="0" err="1"/>
            <a:t>Memilih</a:t>
          </a:r>
          <a:r>
            <a:rPr lang="en-US" sz="1200" dirty="0"/>
            <a:t> Id-</a:t>
          </a:r>
          <a:r>
            <a:rPr lang="en-US" sz="1200" dirty="0" err="1"/>
            <a:t>Izin</a:t>
          </a:r>
          <a:r>
            <a:rPr lang="en-US" sz="1200" dirty="0"/>
            <a:t> / SKK </a:t>
          </a:r>
          <a:r>
            <a:rPr lang="en-US" sz="1200" dirty="0" err="1"/>
            <a:t>Konstruksi</a:t>
          </a:r>
          <a:r>
            <a:rPr lang="en-US" sz="1200" dirty="0"/>
            <a:t> yang </a:t>
          </a:r>
          <a:r>
            <a:rPr lang="en-US" sz="1200" dirty="0" err="1"/>
            <a:t>ingin</a:t>
          </a:r>
          <a:r>
            <a:rPr lang="en-US" sz="1200" dirty="0"/>
            <a:t> </a:t>
          </a:r>
          <a:r>
            <a:rPr lang="en-US" sz="1200" dirty="0" err="1"/>
            <a:t>diubah</a:t>
          </a:r>
          <a:r>
            <a:rPr lang="en-US" sz="1200" dirty="0"/>
            <a:t> </a:t>
          </a:r>
          <a:r>
            <a:rPr lang="en-US" sz="1200" dirty="0" err="1"/>
            <a:t>datanya</a:t>
          </a:r>
          <a:endParaRPr lang="id-ID" sz="1200" dirty="0"/>
        </a:p>
      </dgm:t>
    </dgm:pt>
    <dgm:pt modelId="{E60EB875-8DE7-483C-BC93-388F2A9709FE}" type="parTrans" cxnId="{BF9A43E2-1D21-4746-83E6-0B3A0D6475FB}">
      <dgm:prSet/>
      <dgm:spPr/>
      <dgm:t>
        <a:bodyPr/>
        <a:lstStyle/>
        <a:p>
          <a:endParaRPr lang="id-ID"/>
        </a:p>
      </dgm:t>
    </dgm:pt>
    <dgm:pt modelId="{8B9E4C69-BF9B-4B9A-BD80-944831447FF2}" type="sibTrans" cxnId="{BF9A43E2-1D21-4746-83E6-0B3A0D6475FB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76611A96-8D89-4ABC-A2D5-6376D1FAA627}">
      <dgm:prSet phldrT="[Text]" custT="1"/>
      <dgm:spPr/>
      <dgm:t>
        <a:bodyPr/>
        <a:lstStyle/>
        <a:p>
          <a:r>
            <a:rPr lang="en-US" sz="1200" dirty="0"/>
            <a:t>Submit </a:t>
          </a:r>
          <a:r>
            <a:rPr lang="en-US" sz="1200" dirty="0" err="1"/>
            <a:t>Permohonan</a:t>
          </a:r>
          <a:r>
            <a:rPr lang="en-US" sz="1200" dirty="0"/>
            <a:t> </a:t>
          </a:r>
          <a:r>
            <a:rPr lang="en-US" sz="1200" dirty="0" err="1"/>
            <a:t>Perubahan</a:t>
          </a:r>
          <a:r>
            <a:rPr lang="en-US" sz="1200" dirty="0"/>
            <a:t> Data</a:t>
          </a:r>
        </a:p>
      </dgm:t>
    </dgm:pt>
    <dgm:pt modelId="{664007BD-9DE2-40B1-A604-17B906DB5D4F}" type="parTrans" cxnId="{E17DD8EA-AF9B-49B8-9FE5-8D3BE60DC532}">
      <dgm:prSet/>
      <dgm:spPr/>
      <dgm:t>
        <a:bodyPr/>
        <a:lstStyle/>
        <a:p>
          <a:endParaRPr lang="id-ID"/>
        </a:p>
      </dgm:t>
    </dgm:pt>
    <dgm:pt modelId="{3C94571C-248A-4A3D-B20F-21729F420AE2}" type="sibTrans" cxnId="{E17DD8EA-AF9B-49B8-9FE5-8D3BE60DC532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A2DE258B-5EDD-47A4-A98D-065D917BEA6A}">
      <dgm:prSet phldrT="[Text]" custT="1"/>
      <dgm:spPr/>
      <dgm:t>
        <a:bodyPr/>
        <a:lstStyle/>
        <a:p>
          <a:r>
            <a:rPr lang="en-US" sz="1200" dirty="0" err="1"/>
            <a:t>Verifikasi</a:t>
          </a:r>
          <a:r>
            <a:rPr lang="en-US" sz="1200" dirty="0"/>
            <a:t> dan </a:t>
          </a:r>
          <a:r>
            <a:rPr lang="en-US" sz="1200" dirty="0" err="1"/>
            <a:t>Validasi</a:t>
          </a:r>
          <a:r>
            <a:rPr lang="en-US" sz="1200" dirty="0"/>
            <a:t> Data oleh LSP</a:t>
          </a:r>
        </a:p>
      </dgm:t>
    </dgm:pt>
    <dgm:pt modelId="{FCFAA163-428E-432A-AC4A-0C193CBD4A8D}" type="parTrans" cxnId="{39237697-2E58-484C-ABA4-C86F5629A50A}">
      <dgm:prSet/>
      <dgm:spPr/>
      <dgm:t>
        <a:bodyPr/>
        <a:lstStyle/>
        <a:p>
          <a:endParaRPr lang="id-ID"/>
        </a:p>
      </dgm:t>
    </dgm:pt>
    <dgm:pt modelId="{D13B4EC8-F381-4E7D-AB9E-D011BAF0CD91}" type="sibTrans" cxnId="{39237697-2E58-484C-ABA4-C86F5629A50A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25FBD4B3-25FF-4E45-86FF-AB1F5232052A}">
      <dgm:prSet phldrT="[Text]" custT="1"/>
      <dgm:spPr/>
      <dgm:t>
        <a:bodyPr/>
        <a:lstStyle/>
        <a:p>
          <a:r>
            <a:rPr lang="en-US" sz="1400" dirty="0" err="1"/>
            <a:t>Pencatatan</a:t>
          </a:r>
          <a:r>
            <a:rPr lang="en-US" sz="1400" dirty="0"/>
            <a:t> </a:t>
          </a:r>
          <a:r>
            <a:rPr lang="en-US" sz="1400" dirty="0" err="1"/>
            <a:t>Perubahan</a:t>
          </a:r>
          <a:r>
            <a:rPr lang="en-US" sz="1400" dirty="0"/>
            <a:t> Data </a:t>
          </a:r>
          <a:r>
            <a:rPr lang="en-US" sz="1400" dirty="0" err="1"/>
            <a:t>ke</a:t>
          </a:r>
          <a:r>
            <a:rPr lang="en-US" sz="1400" dirty="0"/>
            <a:t> SIKI</a:t>
          </a:r>
        </a:p>
        <a:p>
          <a:r>
            <a:rPr lang="en-US" sz="1400" dirty="0"/>
            <a:t>(</a:t>
          </a:r>
          <a:r>
            <a:rPr lang="en-US" sz="1400" dirty="0" err="1"/>
            <a:t>Nomor</a:t>
          </a:r>
          <a:r>
            <a:rPr lang="en-US" sz="1400" dirty="0"/>
            <a:t> </a:t>
          </a:r>
          <a:r>
            <a:rPr lang="en-US" sz="1400" dirty="0" err="1"/>
            <a:t>Registrasi</a:t>
          </a:r>
          <a:r>
            <a:rPr lang="en-US" sz="1400" dirty="0"/>
            <a:t>/</a:t>
          </a:r>
          <a:r>
            <a:rPr lang="en-US" sz="1400" dirty="0" err="1"/>
            <a:t>Nomor</a:t>
          </a:r>
          <a:r>
            <a:rPr lang="en-US" sz="1400" dirty="0"/>
            <a:t> </a:t>
          </a:r>
          <a:r>
            <a:rPr lang="en-US" sz="1400" dirty="0" err="1"/>
            <a:t>Blanko</a:t>
          </a:r>
          <a:r>
            <a:rPr lang="en-US" sz="1400" dirty="0"/>
            <a:t> </a:t>
          </a:r>
          <a:r>
            <a:rPr lang="en-US" sz="1400" dirty="0" err="1"/>
            <a:t>Tidak</a:t>
          </a:r>
          <a:r>
            <a:rPr lang="en-US" sz="1400" dirty="0"/>
            <a:t> </a:t>
          </a:r>
          <a:r>
            <a:rPr lang="en-US" sz="1400" dirty="0" err="1"/>
            <a:t>Berubah</a:t>
          </a:r>
          <a:r>
            <a:rPr lang="en-US" sz="1400" dirty="0"/>
            <a:t>)</a:t>
          </a:r>
        </a:p>
      </dgm:t>
    </dgm:pt>
    <dgm:pt modelId="{C6107E0F-C51C-4220-A03E-3198B31EACA2}" type="parTrans" cxnId="{C27BF15E-E6C0-4A17-AC67-E89E003C9B66}">
      <dgm:prSet/>
      <dgm:spPr/>
      <dgm:t>
        <a:bodyPr/>
        <a:lstStyle/>
        <a:p>
          <a:endParaRPr lang="id-ID"/>
        </a:p>
      </dgm:t>
    </dgm:pt>
    <dgm:pt modelId="{684D34C8-B14C-43A1-9553-E3A9FBB5773E}" type="sibTrans" cxnId="{C27BF15E-E6C0-4A17-AC67-E89E003C9B66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2551C04F-020F-495D-A318-D01245191349}">
      <dgm:prSet phldrT="[Text]" custT="1"/>
      <dgm:spPr/>
      <dgm:t>
        <a:bodyPr/>
        <a:lstStyle/>
        <a:p>
          <a:r>
            <a:rPr lang="en-US" sz="1400" dirty="0" err="1"/>
            <a:t>Penerbitan</a:t>
          </a:r>
          <a:r>
            <a:rPr lang="en-US" sz="1400" dirty="0"/>
            <a:t> SKK-K </a:t>
          </a:r>
          <a:r>
            <a:rPr lang="en-US" sz="1400" dirty="0" err="1"/>
            <a:t>elektronik</a:t>
          </a:r>
          <a:r>
            <a:rPr lang="en-US" sz="1400" dirty="0"/>
            <a:t> </a:t>
          </a:r>
          <a:r>
            <a:rPr lang="en-US" sz="1400" dirty="0" err="1"/>
            <a:t>Perubahan</a:t>
          </a:r>
          <a:endParaRPr lang="en-US" sz="1400" dirty="0"/>
        </a:p>
      </dgm:t>
    </dgm:pt>
    <dgm:pt modelId="{BCDB9010-55FA-404A-9363-BA57C20B00BD}" type="parTrans" cxnId="{C68991A4-5230-48BD-8050-DDEA24FF64A5}">
      <dgm:prSet/>
      <dgm:spPr/>
      <dgm:t>
        <a:bodyPr/>
        <a:lstStyle/>
        <a:p>
          <a:endParaRPr lang="id-ID"/>
        </a:p>
      </dgm:t>
    </dgm:pt>
    <dgm:pt modelId="{7F9DF969-7821-47A1-8C06-4A22D451FC9B}" type="sibTrans" cxnId="{C68991A4-5230-48BD-8050-DDEA24FF64A5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id-ID"/>
        </a:p>
      </dgm:t>
    </dgm:pt>
    <dgm:pt modelId="{E21B05AE-37BA-4E2B-8FD5-72104FB09C1D}">
      <dgm:prSet phldrT="[Text]" custT="1"/>
      <dgm:spPr/>
      <dgm:t>
        <a:bodyPr/>
        <a:lstStyle/>
        <a:p>
          <a:r>
            <a:rPr lang="en-US" sz="1400" dirty="0"/>
            <a:t>SKK-K </a:t>
          </a:r>
          <a:r>
            <a:rPr lang="en-US" sz="1400" dirty="0" err="1"/>
            <a:t>elektronik</a:t>
          </a:r>
          <a:r>
            <a:rPr lang="en-US" sz="1400" dirty="0"/>
            <a:t> </a:t>
          </a:r>
          <a:r>
            <a:rPr lang="en-US" sz="1400" dirty="0" err="1"/>
            <a:t>diterima</a:t>
          </a:r>
          <a:r>
            <a:rPr lang="en-US" sz="1400" dirty="0"/>
            <a:t> </a:t>
          </a:r>
          <a:r>
            <a:rPr lang="en-US" sz="1400" dirty="0" err="1"/>
            <a:t>melalui</a:t>
          </a:r>
          <a:r>
            <a:rPr lang="en-US" sz="1400" dirty="0"/>
            <a:t> Portal </a:t>
          </a:r>
          <a:r>
            <a:rPr lang="en-US" sz="1400" dirty="0" err="1"/>
            <a:t>Perizinan</a:t>
          </a:r>
          <a:r>
            <a:rPr lang="en-US" sz="1400" dirty="0"/>
            <a:t> PUPR</a:t>
          </a:r>
        </a:p>
      </dgm:t>
    </dgm:pt>
    <dgm:pt modelId="{5C563D78-770A-4DF6-BC95-B4BC1C645274}" type="parTrans" cxnId="{03E81614-2C05-4D82-AD24-C91E420E0F41}">
      <dgm:prSet/>
      <dgm:spPr/>
      <dgm:t>
        <a:bodyPr/>
        <a:lstStyle/>
        <a:p>
          <a:endParaRPr lang="id-ID"/>
        </a:p>
      </dgm:t>
    </dgm:pt>
    <dgm:pt modelId="{0EC1CEC8-6FEA-419F-B3F7-46016423A010}" type="sibTrans" cxnId="{03E81614-2C05-4D82-AD24-C91E420E0F41}">
      <dgm:prSet/>
      <dgm:spPr/>
      <dgm:t>
        <a:bodyPr/>
        <a:lstStyle/>
        <a:p>
          <a:endParaRPr lang="id-ID"/>
        </a:p>
      </dgm:t>
    </dgm:pt>
    <dgm:pt modelId="{5B07F661-21FD-4226-B11E-25E019FF7B66}">
      <dgm:prSet phldrT="[Text]" custT="1"/>
      <dgm:spPr/>
      <dgm:t>
        <a:bodyPr/>
        <a:lstStyle/>
        <a:p>
          <a:r>
            <a:rPr lang="en-US" sz="1200" dirty="0" err="1"/>
            <a:t>Permohonan</a:t>
          </a:r>
          <a:r>
            <a:rPr lang="en-US" sz="1200" dirty="0"/>
            <a:t> </a:t>
          </a:r>
          <a:r>
            <a:rPr lang="en-US" sz="1200" dirty="0">
              <a:sym typeface="Wingdings" panose="05000000000000000000" pitchFamily="2" charset="2"/>
            </a:rPr>
            <a:t> </a:t>
          </a:r>
          <a:r>
            <a:rPr lang="en-US" sz="1200" b="1" dirty="0" err="1">
              <a:sym typeface="Wingdings" panose="05000000000000000000" pitchFamily="2" charset="2"/>
            </a:rPr>
            <a:t>Perubahan</a:t>
          </a:r>
          <a:r>
            <a:rPr lang="en-US" sz="1200" b="1" dirty="0">
              <a:sym typeface="Wingdings" panose="05000000000000000000" pitchFamily="2" charset="2"/>
            </a:rPr>
            <a:t> Data SKK</a:t>
          </a:r>
          <a:endParaRPr lang="id-ID" sz="1200" b="1" dirty="0"/>
        </a:p>
      </dgm:t>
    </dgm:pt>
    <dgm:pt modelId="{65D33F37-9CD7-40B7-A709-C11C8AC09BA9}" type="parTrans" cxnId="{3B9187A1-A02A-4089-AC67-DB95439638C0}">
      <dgm:prSet/>
      <dgm:spPr/>
      <dgm:t>
        <a:bodyPr/>
        <a:lstStyle/>
        <a:p>
          <a:endParaRPr lang="en-ID"/>
        </a:p>
      </dgm:t>
    </dgm:pt>
    <dgm:pt modelId="{1B128018-3255-4C3E-A6F2-B681F04F9947}" type="sibTrans" cxnId="{3B9187A1-A02A-4089-AC67-DB95439638C0}">
      <dgm:prSet/>
      <dgm:spPr>
        <a:solidFill>
          <a:schemeClr val="bg2">
            <a:lumMod val="10000"/>
          </a:schemeClr>
        </a:solidFill>
        <a:ln>
          <a:noFill/>
        </a:ln>
      </dgm:spPr>
      <dgm:t>
        <a:bodyPr/>
        <a:lstStyle/>
        <a:p>
          <a:endParaRPr lang="en-ID"/>
        </a:p>
      </dgm:t>
    </dgm:pt>
    <dgm:pt modelId="{98281E7A-B42B-4A60-8F0A-02FBBE192048}" type="pres">
      <dgm:prSet presAssocID="{262B9D00-C826-4E11-8429-177F52B13C3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1A49A10-DA55-43D2-B848-2A752A4B7FB1}" type="pres">
      <dgm:prSet presAssocID="{AD54CEA8-5F53-4347-86E7-E38FF30F9C6D}" presName="node" presStyleLbl="node1" presStyleIdx="0" presStyleCnt="10" custLinFactNeighborX="-1697" custLinFactNeighborY="388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77E669-BE62-41BC-9950-13C5D39E30D2}" type="pres">
      <dgm:prSet presAssocID="{7687A3FF-D23F-4D53-AB0F-6B1DA8BA7B9C}" presName="sibTrans" presStyleLbl="sibTrans2D1" presStyleIdx="0" presStyleCnt="9"/>
      <dgm:spPr/>
      <dgm:t>
        <a:bodyPr/>
        <a:lstStyle/>
        <a:p>
          <a:endParaRPr lang="en-US"/>
        </a:p>
      </dgm:t>
    </dgm:pt>
    <dgm:pt modelId="{80702E3B-FA77-4C95-8465-C752588C38FB}" type="pres">
      <dgm:prSet presAssocID="{7687A3FF-D23F-4D53-AB0F-6B1DA8BA7B9C}" presName="connectorText" presStyleLbl="sibTrans2D1" presStyleIdx="0" presStyleCnt="9"/>
      <dgm:spPr/>
      <dgm:t>
        <a:bodyPr/>
        <a:lstStyle/>
        <a:p>
          <a:endParaRPr lang="en-US"/>
        </a:p>
      </dgm:t>
    </dgm:pt>
    <dgm:pt modelId="{FB08B26A-8E52-454A-9694-166FDA94A66C}" type="pres">
      <dgm:prSet presAssocID="{310EC75C-E063-4A6D-B708-652AE6A98FFB}" presName="node" presStyleLbl="node1" presStyleIdx="1" presStyleCnt="10" custScaleX="73521" custLinFactNeighborX="-17752" custLinFactNeighborY="227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A16790-742C-466A-95A4-0BF22E5FCD7A}" type="pres">
      <dgm:prSet presAssocID="{F26F70EC-E779-4452-97E7-E0713E7366DB}" presName="sibTrans" presStyleLbl="sibTrans2D1" presStyleIdx="1" presStyleCnt="9" custLinFactNeighborX="-27435" custLinFactNeighborY="4219"/>
      <dgm:spPr/>
      <dgm:t>
        <a:bodyPr/>
        <a:lstStyle/>
        <a:p>
          <a:endParaRPr lang="en-US"/>
        </a:p>
      </dgm:t>
    </dgm:pt>
    <dgm:pt modelId="{C56007E9-35BB-4D39-9B1A-57F61D92EDEB}" type="pres">
      <dgm:prSet presAssocID="{F26F70EC-E779-4452-97E7-E0713E7366DB}" presName="connectorText" presStyleLbl="sibTrans2D1" presStyleIdx="1" presStyleCnt="9"/>
      <dgm:spPr/>
      <dgm:t>
        <a:bodyPr/>
        <a:lstStyle/>
        <a:p>
          <a:endParaRPr lang="en-US"/>
        </a:p>
      </dgm:t>
    </dgm:pt>
    <dgm:pt modelId="{7D12FF1B-AFF2-41BF-A1B9-96394947895C}" type="pres">
      <dgm:prSet presAssocID="{5B07F661-21FD-4226-B11E-25E019FF7B66}" presName="node" presStyleLbl="node1" presStyleIdx="2" presStyleCnt="10" custLinFactNeighborX="-18127" custLinFactNeighborY="22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D77E6C-9E07-4195-BF67-9B25D7196EAA}" type="pres">
      <dgm:prSet presAssocID="{1B128018-3255-4C3E-A6F2-B681F04F9947}" presName="sibTrans" presStyleLbl="sibTrans2D1" presStyleIdx="2" presStyleCnt="9" custLinFactNeighborX="-36347" custLinFactNeighborY="-7304"/>
      <dgm:spPr/>
      <dgm:t>
        <a:bodyPr/>
        <a:lstStyle/>
        <a:p>
          <a:endParaRPr lang="en-US"/>
        </a:p>
      </dgm:t>
    </dgm:pt>
    <dgm:pt modelId="{B03BAD51-824A-4B72-B5C9-F4D969B0FE1F}" type="pres">
      <dgm:prSet presAssocID="{1B128018-3255-4C3E-A6F2-B681F04F9947}" presName="connectorText" presStyleLbl="sibTrans2D1" presStyleIdx="2" presStyleCnt="9"/>
      <dgm:spPr/>
      <dgm:t>
        <a:bodyPr/>
        <a:lstStyle/>
        <a:p>
          <a:endParaRPr lang="en-US"/>
        </a:p>
      </dgm:t>
    </dgm:pt>
    <dgm:pt modelId="{C53C5ED3-16AC-4B3F-9B93-D856278E85E8}" type="pres">
      <dgm:prSet presAssocID="{4E899A98-15D4-4256-AA7B-5F8B4291E564}" presName="node" presStyleLbl="node1" presStyleIdx="3" presStyleCnt="10" custLinFactNeighborX="-30828" custLinFactNeighborY="20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8488BD-C1A4-477A-8CF9-A79D8E5107F2}" type="pres">
      <dgm:prSet presAssocID="{8B9E4C69-BF9B-4B9A-BD80-944831447FF2}" presName="sibTrans" presStyleLbl="sibTrans2D1" presStyleIdx="3" presStyleCnt="9" custAng="969" custScaleX="112217" custLinFactNeighborX="6375" custLinFactNeighborY="436"/>
      <dgm:spPr/>
      <dgm:t>
        <a:bodyPr/>
        <a:lstStyle/>
        <a:p>
          <a:endParaRPr lang="en-US"/>
        </a:p>
      </dgm:t>
    </dgm:pt>
    <dgm:pt modelId="{5033852B-6252-4BC2-BA8A-939A6D79CE68}" type="pres">
      <dgm:prSet presAssocID="{8B9E4C69-BF9B-4B9A-BD80-944831447FF2}" presName="connectorText" presStyleLbl="sibTrans2D1" presStyleIdx="3" presStyleCnt="9"/>
      <dgm:spPr/>
      <dgm:t>
        <a:bodyPr/>
        <a:lstStyle/>
        <a:p>
          <a:endParaRPr lang="en-US"/>
        </a:p>
      </dgm:t>
    </dgm:pt>
    <dgm:pt modelId="{2B6E1E24-A7FA-4049-86FC-9D12842052E7}" type="pres">
      <dgm:prSet presAssocID="{AEF4EB16-B0C9-452C-B68A-00BB68859A7B}" presName="node" presStyleLbl="node1" presStyleIdx="4" presStyleCnt="10" custScaleX="107192" custLinFactNeighborX="-27794" custLinFactNeighborY="4185">
        <dgm:presLayoutVars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1DF05F3B-4E23-47B7-9399-FA0B1A3EC9AF}" type="pres">
      <dgm:prSet presAssocID="{B9A78629-975F-4B90-AE96-9E5B92F536AA}" presName="sibTrans" presStyleLbl="sibTrans2D1" presStyleIdx="4" presStyleCnt="9" custAng="21531841" custLinFactNeighborX="-13898" custLinFactNeighborY="338"/>
      <dgm:spPr/>
      <dgm:t>
        <a:bodyPr/>
        <a:lstStyle/>
        <a:p>
          <a:endParaRPr lang="en-US"/>
        </a:p>
      </dgm:t>
    </dgm:pt>
    <dgm:pt modelId="{16836755-55F7-4A1E-8705-055A4D230720}" type="pres">
      <dgm:prSet presAssocID="{B9A78629-975F-4B90-AE96-9E5B92F536AA}" presName="connectorText" presStyleLbl="sibTrans2D1" presStyleIdx="4" presStyleCnt="9"/>
      <dgm:spPr/>
      <dgm:t>
        <a:bodyPr/>
        <a:lstStyle/>
        <a:p>
          <a:endParaRPr lang="en-US"/>
        </a:p>
      </dgm:t>
    </dgm:pt>
    <dgm:pt modelId="{519EAD41-65A7-4AAB-AFFA-DCC2B68A3AFF}" type="pres">
      <dgm:prSet presAssocID="{76611A96-8D89-4ABC-A2D5-6376D1FAA627}" presName="node" presStyleLbl="node1" presStyleIdx="5" presStyleCnt="10" custLinFactNeighborX="-59985" custLinFactNeighborY="-690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F3E634-1966-415E-85D5-38A897C4E7E3}" type="pres">
      <dgm:prSet presAssocID="{3C94571C-248A-4A3D-B20F-21729F420AE2}" presName="sibTrans" presStyleLbl="sibTrans2D1" presStyleIdx="5" presStyleCnt="9" custAng="80323" custScaleX="167140" custLinFactNeighborX="-4553" custLinFactNeighborY="-2259"/>
      <dgm:spPr/>
      <dgm:t>
        <a:bodyPr/>
        <a:lstStyle/>
        <a:p>
          <a:endParaRPr lang="en-US"/>
        </a:p>
      </dgm:t>
    </dgm:pt>
    <dgm:pt modelId="{73F9BE4E-A25B-4D57-B8A1-8D52E04917B6}" type="pres">
      <dgm:prSet presAssocID="{3C94571C-248A-4A3D-B20F-21729F420AE2}" presName="connectorText" presStyleLbl="sibTrans2D1" presStyleIdx="5" presStyleCnt="9"/>
      <dgm:spPr/>
      <dgm:t>
        <a:bodyPr/>
        <a:lstStyle/>
        <a:p>
          <a:endParaRPr lang="en-US"/>
        </a:p>
      </dgm:t>
    </dgm:pt>
    <dgm:pt modelId="{10DF5648-7416-434C-8BC3-0F92F96B97CB}" type="pres">
      <dgm:prSet presAssocID="{A2DE258B-5EDD-47A4-A98D-065D917BEA6A}" presName="node" presStyleLbl="node1" presStyleIdx="6" presStyleCnt="10" custLinFactNeighborX="-62736" custLinFactNeighborY="-134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48B252-526A-4E26-936C-C9CCF666F5DE}" type="pres">
      <dgm:prSet presAssocID="{D13B4EC8-F381-4E7D-AB9E-D011BAF0CD91}" presName="sibTrans" presStyleLbl="sibTrans2D1" presStyleIdx="6" presStyleCnt="9" custLinFactNeighborX="4321" custLinFactNeighborY="-2491"/>
      <dgm:spPr/>
      <dgm:t>
        <a:bodyPr/>
        <a:lstStyle/>
        <a:p>
          <a:endParaRPr lang="en-US"/>
        </a:p>
      </dgm:t>
    </dgm:pt>
    <dgm:pt modelId="{036AA6AD-A8A4-4086-BC2C-1512CC873A0D}" type="pres">
      <dgm:prSet presAssocID="{D13B4EC8-F381-4E7D-AB9E-D011BAF0CD91}" presName="connectorText" presStyleLbl="sibTrans2D1" presStyleIdx="6" presStyleCnt="9"/>
      <dgm:spPr/>
      <dgm:t>
        <a:bodyPr/>
        <a:lstStyle/>
        <a:p>
          <a:endParaRPr lang="en-US"/>
        </a:p>
      </dgm:t>
    </dgm:pt>
    <dgm:pt modelId="{40DA85B8-AB36-40AB-8A67-B0700BBA8244}" type="pres">
      <dgm:prSet presAssocID="{25FBD4B3-25FF-4E45-86FF-AB1F5232052A}" presName="node" presStyleLbl="node1" presStyleIdx="7" presStyleCnt="10" custScaleY="82216" custLinFactNeighborX="-63029" custLinFactNeighborY="-2490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E8071CD-006C-4360-B296-0E1A84EE250A}" type="pres">
      <dgm:prSet presAssocID="{684D34C8-B14C-43A1-9553-E3A9FBB5773E}" presName="sibTrans" presStyleLbl="sibTrans2D1" presStyleIdx="7" presStyleCnt="9" custScaleX="150880" custLinFactNeighborX="13963" custLinFactNeighborY="7750"/>
      <dgm:spPr/>
      <dgm:t>
        <a:bodyPr/>
        <a:lstStyle/>
        <a:p>
          <a:endParaRPr lang="en-US"/>
        </a:p>
      </dgm:t>
    </dgm:pt>
    <dgm:pt modelId="{64E4E5A8-D687-4A18-989B-51516A068551}" type="pres">
      <dgm:prSet presAssocID="{684D34C8-B14C-43A1-9553-E3A9FBB5773E}" presName="connectorText" presStyleLbl="sibTrans2D1" presStyleIdx="7" presStyleCnt="9"/>
      <dgm:spPr/>
      <dgm:t>
        <a:bodyPr/>
        <a:lstStyle/>
        <a:p>
          <a:endParaRPr lang="en-US"/>
        </a:p>
      </dgm:t>
    </dgm:pt>
    <dgm:pt modelId="{B3269C98-FE39-4934-95BE-9C10E0C6B355}" type="pres">
      <dgm:prSet presAssocID="{2551C04F-020F-495D-A318-D01245191349}" presName="node" presStyleLbl="node1" presStyleIdx="8" presStyleCnt="10" custLinFactNeighborX="-58698" custLinFactNeighborY="-209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B36BAE-25BD-4995-A0A7-28D989B3241F}" type="pres">
      <dgm:prSet presAssocID="{7F9DF969-7821-47A1-8C06-4A22D451FC9B}" presName="sibTrans" presStyleLbl="sibTrans2D1" presStyleIdx="8" presStyleCnt="9" custScaleX="109974" custLinFactNeighborX="2279" custLinFactNeighborY="1737"/>
      <dgm:spPr/>
      <dgm:t>
        <a:bodyPr/>
        <a:lstStyle/>
        <a:p>
          <a:endParaRPr lang="en-US"/>
        </a:p>
      </dgm:t>
    </dgm:pt>
    <dgm:pt modelId="{482961E6-2364-4DBB-9811-136E81958C03}" type="pres">
      <dgm:prSet presAssocID="{7F9DF969-7821-47A1-8C06-4A22D451FC9B}" presName="connectorText" presStyleLbl="sibTrans2D1" presStyleIdx="8" presStyleCnt="9"/>
      <dgm:spPr/>
      <dgm:t>
        <a:bodyPr/>
        <a:lstStyle/>
        <a:p>
          <a:endParaRPr lang="en-US"/>
        </a:p>
      </dgm:t>
    </dgm:pt>
    <dgm:pt modelId="{8534CBB5-8797-46BC-A736-3AC7DDECF8A2}" type="pres">
      <dgm:prSet presAssocID="{E21B05AE-37BA-4E2B-8FD5-72104FB09C1D}" presName="node" presStyleLbl="node1" presStyleIdx="9" presStyleCnt="10" custScaleY="87337" custLinFactNeighborX="-22690" custLinFactNeighborY="-183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E7A1218-4189-4617-B643-9F1236A77450}" type="presOf" srcId="{3C94571C-248A-4A3D-B20F-21729F420AE2}" destId="{3FF3E634-1966-415E-85D5-38A897C4E7E3}" srcOrd="0" destOrd="0" presId="urn:microsoft.com/office/officeart/2005/8/layout/process5"/>
    <dgm:cxn modelId="{C27BF15E-E6C0-4A17-AC67-E89E003C9B66}" srcId="{262B9D00-C826-4E11-8429-177F52B13C39}" destId="{25FBD4B3-25FF-4E45-86FF-AB1F5232052A}" srcOrd="7" destOrd="0" parTransId="{C6107E0F-C51C-4220-A03E-3198B31EACA2}" sibTransId="{684D34C8-B14C-43A1-9553-E3A9FBB5773E}"/>
    <dgm:cxn modelId="{2B82A383-8213-4D83-9DC6-29B01925B172}" type="presOf" srcId="{7687A3FF-D23F-4D53-AB0F-6B1DA8BA7B9C}" destId="{80702E3B-FA77-4C95-8465-C752588C38FB}" srcOrd="1" destOrd="0" presId="urn:microsoft.com/office/officeart/2005/8/layout/process5"/>
    <dgm:cxn modelId="{9BBD6BA0-E0E0-489B-AAFE-DE3D3AE1D49D}" type="presOf" srcId="{D13B4EC8-F381-4E7D-AB9E-D011BAF0CD91}" destId="{036AA6AD-A8A4-4086-BC2C-1512CC873A0D}" srcOrd="1" destOrd="0" presId="urn:microsoft.com/office/officeart/2005/8/layout/process5"/>
    <dgm:cxn modelId="{302F69F8-52C2-470B-981D-72589B1EA27A}" type="presOf" srcId="{2551C04F-020F-495D-A318-D01245191349}" destId="{B3269C98-FE39-4934-95BE-9C10E0C6B355}" srcOrd="0" destOrd="0" presId="urn:microsoft.com/office/officeart/2005/8/layout/process5"/>
    <dgm:cxn modelId="{F1D0DE58-E84C-49EB-A434-939A643CAAEA}" type="presOf" srcId="{4E899A98-15D4-4256-AA7B-5F8B4291E564}" destId="{C53C5ED3-16AC-4B3F-9B93-D856278E85E8}" srcOrd="0" destOrd="0" presId="urn:microsoft.com/office/officeart/2005/8/layout/process5"/>
    <dgm:cxn modelId="{7FB3818B-EE2C-4B8E-AC0F-6D17C5E79AE1}" type="presOf" srcId="{B9A78629-975F-4B90-AE96-9E5B92F536AA}" destId="{1DF05F3B-4E23-47B7-9399-FA0B1A3EC9AF}" srcOrd="0" destOrd="0" presId="urn:microsoft.com/office/officeart/2005/8/layout/process5"/>
    <dgm:cxn modelId="{39237697-2E58-484C-ABA4-C86F5629A50A}" srcId="{262B9D00-C826-4E11-8429-177F52B13C39}" destId="{A2DE258B-5EDD-47A4-A98D-065D917BEA6A}" srcOrd="6" destOrd="0" parTransId="{FCFAA163-428E-432A-AC4A-0C193CBD4A8D}" sibTransId="{D13B4EC8-F381-4E7D-AB9E-D011BAF0CD91}"/>
    <dgm:cxn modelId="{50F0D06C-68B8-4CE1-AC53-21A7F1ED3225}" type="presOf" srcId="{7F9DF969-7821-47A1-8C06-4A22D451FC9B}" destId="{482961E6-2364-4DBB-9811-136E81958C03}" srcOrd="1" destOrd="0" presId="urn:microsoft.com/office/officeart/2005/8/layout/process5"/>
    <dgm:cxn modelId="{08100226-19F4-4C30-A6C0-70309BFF571C}" type="presOf" srcId="{25FBD4B3-25FF-4E45-86FF-AB1F5232052A}" destId="{40DA85B8-AB36-40AB-8A67-B0700BBA8244}" srcOrd="0" destOrd="0" presId="urn:microsoft.com/office/officeart/2005/8/layout/process5"/>
    <dgm:cxn modelId="{3B9187A1-A02A-4089-AC67-DB95439638C0}" srcId="{262B9D00-C826-4E11-8429-177F52B13C39}" destId="{5B07F661-21FD-4226-B11E-25E019FF7B66}" srcOrd="2" destOrd="0" parTransId="{65D33F37-9CD7-40B7-A709-C11C8AC09BA9}" sibTransId="{1B128018-3255-4C3E-A6F2-B681F04F9947}"/>
    <dgm:cxn modelId="{302F391F-B1A8-486D-BCEF-F541FE7143D4}" srcId="{262B9D00-C826-4E11-8429-177F52B13C39}" destId="{310EC75C-E063-4A6D-B708-652AE6A98FFB}" srcOrd="1" destOrd="0" parTransId="{DC529E6A-B598-4A66-9DC8-0689D344A803}" sibTransId="{F26F70EC-E779-4452-97E7-E0713E7366DB}"/>
    <dgm:cxn modelId="{08C32B21-84A9-423D-A45A-9D8EF6D901FE}" type="presOf" srcId="{3C94571C-248A-4A3D-B20F-21729F420AE2}" destId="{73F9BE4E-A25B-4D57-B8A1-8D52E04917B6}" srcOrd="1" destOrd="0" presId="urn:microsoft.com/office/officeart/2005/8/layout/process5"/>
    <dgm:cxn modelId="{E17DD8EA-AF9B-49B8-9FE5-8D3BE60DC532}" srcId="{262B9D00-C826-4E11-8429-177F52B13C39}" destId="{76611A96-8D89-4ABC-A2D5-6376D1FAA627}" srcOrd="5" destOrd="0" parTransId="{664007BD-9DE2-40B1-A604-17B906DB5D4F}" sibTransId="{3C94571C-248A-4A3D-B20F-21729F420AE2}"/>
    <dgm:cxn modelId="{6306278D-C6FA-40B1-933C-9AA417BA0B56}" srcId="{262B9D00-C826-4E11-8429-177F52B13C39}" destId="{AEF4EB16-B0C9-452C-B68A-00BB68859A7B}" srcOrd="4" destOrd="0" parTransId="{0FF0BCAB-0768-45C1-BC0F-0C57BDC601F9}" sibTransId="{B9A78629-975F-4B90-AE96-9E5B92F536AA}"/>
    <dgm:cxn modelId="{321A10C5-5657-49B6-B666-A221FEDA8C86}" type="presOf" srcId="{F26F70EC-E779-4452-97E7-E0713E7366DB}" destId="{39A16790-742C-466A-95A4-0BF22E5FCD7A}" srcOrd="0" destOrd="0" presId="urn:microsoft.com/office/officeart/2005/8/layout/process5"/>
    <dgm:cxn modelId="{9BF3E685-3805-48F8-A1C1-3A4961AE72E9}" type="presOf" srcId="{A2DE258B-5EDD-47A4-A98D-065D917BEA6A}" destId="{10DF5648-7416-434C-8BC3-0F92F96B97CB}" srcOrd="0" destOrd="0" presId="urn:microsoft.com/office/officeart/2005/8/layout/process5"/>
    <dgm:cxn modelId="{02756BBC-9B19-47F8-B8F4-82EFFA321623}" type="presOf" srcId="{AD54CEA8-5F53-4347-86E7-E38FF30F9C6D}" destId="{01A49A10-DA55-43D2-B848-2A752A4B7FB1}" srcOrd="0" destOrd="0" presId="urn:microsoft.com/office/officeart/2005/8/layout/process5"/>
    <dgm:cxn modelId="{C68991A4-5230-48BD-8050-DDEA24FF64A5}" srcId="{262B9D00-C826-4E11-8429-177F52B13C39}" destId="{2551C04F-020F-495D-A318-D01245191349}" srcOrd="8" destOrd="0" parTransId="{BCDB9010-55FA-404A-9363-BA57C20B00BD}" sibTransId="{7F9DF969-7821-47A1-8C06-4A22D451FC9B}"/>
    <dgm:cxn modelId="{AD668EE1-B63A-4BEF-8691-667CA79507AD}" type="presOf" srcId="{AEF4EB16-B0C9-452C-B68A-00BB68859A7B}" destId="{2B6E1E24-A7FA-4049-86FC-9D12842052E7}" srcOrd="0" destOrd="0" presId="urn:microsoft.com/office/officeart/2005/8/layout/process5"/>
    <dgm:cxn modelId="{93911596-E8E2-4F7D-9DC7-7E7D68D2C86A}" type="presOf" srcId="{F26F70EC-E779-4452-97E7-E0713E7366DB}" destId="{C56007E9-35BB-4D39-9B1A-57F61D92EDEB}" srcOrd="1" destOrd="0" presId="urn:microsoft.com/office/officeart/2005/8/layout/process5"/>
    <dgm:cxn modelId="{1F8BFF13-0F53-4503-B59C-FD08806FB383}" type="presOf" srcId="{7687A3FF-D23F-4D53-AB0F-6B1DA8BA7B9C}" destId="{3877E669-BE62-41BC-9950-13C5D39E30D2}" srcOrd="0" destOrd="0" presId="urn:microsoft.com/office/officeart/2005/8/layout/process5"/>
    <dgm:cxn modelId="{8F0D4595-AD2C-4E62-ACF1-CF03B7AF5CF0}" type="presOf" srcId="{B9A78629-975F-4B90-AE96-9E5B92F536AA}" destId="{16836755-55F7-4A1E-8705-055A4D230720}" srcOrd="1" destOrd="0" presId="urn:microsoft.com/office/officeart/2005/8/layout/process5"/>
    <dgm:cxn modelId="{6CF5A3E5-383D-4DEB-A0D2-6D7F3DCEFFAE}" type="presOf" srcId="{D13B4EC8-F381-4E7D-AB9E-D011BAF0CD91}" destId="{7848B252-526A-4E26-936C-C9CCF666F5DE}" srcOrd="0" destOrd="0" presId="urn:microsoft.com/office/officeart/2005/8/layout/process5"/>
    <dgm:cxn modelId="{F5D38D01-0A58-48A0-A33B-E416552FCD0E}" type="presOf" srcId="{76611A96-8D89-4ABC-A2D5-6376D1FAA627}" destId="{519EAD41-65A7-4AAB-AFFA-DCC2B68A3AFF}" srcOrd="0" destOrd="0" presId="urn:microsoft.com/office/officeart/2005/8/layout/process5"/>
    <dgm:cxn modelId="{E5F5FFF9-963B-4381-9F49-700EF1645F84}" type="presOf" srcId="{5B07F661-21FD-4226-B11E-25E019FF7B66}" destId="{7D12FF1B-AFF2-41BF-A1B9-96394947895C}" srcOrd="0" destOrd="0" presId="urn:microsoft.com/office/officeart/2005/8/layout/process5"/>
    <dgm:cxn modelId="{0BED4FD2-57FC-4240-932B-F3FB0766B45E}" type="presOf" srcId="{684D34C8-B14C-43A1-9553-E3A9FBB5773E}" destId="{64E4E5A8-D687-4A18-989B-51516A068551}" srcOrd="1" destOrd="0" presId="urn:microsoft.com/office/officeart/2005/8/layout/process5"/>
    <dgm:cxn modelId="{5E789A1D-2FAA-4E5B-B88A-4A9F2C6A8F5B}" type="presOf" srcId="{1B128018-3255-4C3E-A6F2-B681F04F9947}" destId="{B03BAD51-824A-4B72-B5C9-F4D969B0FE1F}" srcOrd="1" destOrd="0" presId="urn:microsoft.com/office/officeart/2005/8/layout/process5"/>
    <dgm:cxn modelId="{45D86260-E830-4D22-AF81-60797C3C7BCA}" type="presOf" srcId="{E21B05AE-37BA-4E2B-8FD5-72104FB09C1D}" destId="{8534CBB5-8797-46BC-A736-3AC7DDECF8A2}" srcOrd="0" destOrd="0" presId="urn:microsoft.com/office/officeart/2005/8/layout/process5"/>
    <dgm:cxn modelId="{E2A43AF9-53FA-4ADA-88A5-FAC0B7DB1532}" srcId="{262B9D00-C826-4E11-8429-177F52B13C39}" destId="{AD54CEA8-5F53-4347-86E7-E38FF30F9C6D}" srcOrd="0" destOrd="0" parTransId="{DE73FDEF-55AF-4C8C-BC8B-D06C900BD70A}" sibTransId="{7687A3FF-D23F-4D53-AB0F-6B1DA8BA7B9C}"/>
    <dgm:cxn modelId="{F3EC5052-DB12-426D-8C59-5A42EB985727}" type="presOf" srcId="{8B9E4C69-BF9B-4B9A-BD80-944831447FF2}" destId="{B98488BD-C1A4-477A-8CF9-A79D8E5107F2}" srcOrd="0" destOrd="0" presId="urn:microsoft.com/office/officeart/2005/8/layout/process5"/>
    <dgm:cxn modelId="{43948289-E131-4304-AE91-B6C17D3362B4}" type="presOf" srcId="{262B9D00-C826-4E11-8429-177F52B13C39}" destId="{98281E7A-B42B-4A60-8F0A-02FBBE192048}" srcOrd="0" destOrd="0" presId="urn:microsoft.com/office/officeart/2005/8/layout/process5"/>
    <dgm:cxn modelId="{BF9A43E2-1D21-4746-83E6-0B3A0D6475FB}" srcId="{262B9D00-C826-4E11-8429-177F52B13C39}" destId="{4E899A98-15D4-4256-AA7B-5F8B4291E564}" srcOrd="3" destOrd="0" parTransId="{E60EB875-8DE7-483C-BC93-388F2A9709FE}" sibTransId="{8B9E4C69-BF9B-4B9A-BD80-944831447FF2}"/>
    <dgm:cxn modelId="{1707EDCC-79BA-4075-B3F0-5D860E0767DA}" type="presOf" srcId="{310EC75C-E063-4A6D-B708-652AE6A98FFB}" destId="{FB08B26A-8E52-454A-9694-166FDA94A66C}" srcOrd="0" destOrd="0" presId="urn:microsoft.com/office/officeart/2005/8/layout/process5"/>
    <dgm:cxn modelId="{03E81614-2C05-4D82-AD24-C91E420E0F41}" srcId="{262B9D00-C826-4E11-8429-177F52B13C39}" destId="{E21B05AE-37BA-4E2B-8FD5-72104FB09C1D}" srcOrd="9" destOrd="0" parTransId="{5C563D78-770A-4DF6-BC95-B4BC1C645274}" sibTransId="{0EC1CEC8-6FEA-419F-B3F7-46016423A010}"/>
    <dgm:cxn modelId="{9A8EB242-8F86-4DE3-BAF3-8AF8F7AA5DDD}" type="presOf" srcId="{684D34C8-B14C-43A1-9553-E3A9FBB5773E}" destId="{0E8071CD-006C-4360-B296-0E1A84EE250A}" srcOrd="0" destOrd="0" presId="urn:microsoft.com/office/officeart/2005/8/layout/process5"/>
    <dgm:cxn modelId="{DF300711-0590-4CC4-B481-B33B128A1D1E}" type="presOf" srcId="{1B128018-3255-4C3E-A6F2-B681F04F9947}" destId="{B8D77E6C-9E07-4195-BF67-9B25D7196EAA}" srcOrd="0" destOrd="0" presId="urn:microsoft.com/office/officeart/2005/8/layout/process5"/>
    <dgm:cxn modelId="{FB1DB542-804A-487A-B613-B4F63F226D1F}" type="presOf" srcId="{7F9DF969-7821-47A1-8C06-4A22D451FC9B}" destId="{F7B36BAE-25BD-4995-A0A7-28D989B3241F}" srcOrd="0" destOrd="0" presId="urn:microsoft.com/office/officeart/2005/8/layout/process5"/>
    <dgm:cxn modelId="{96F3F1AD-9D8F-47AA-A718-6A9E034659F9}" type="presOf" srcId="{8B9E4C69-BF9B-4B9A-BD80-944831447FF2}" destId="{5033852B-6252-4BC2-BA8A-939A6D79CE68}" srcOrd="1" destOrd="0" presId="urn:microsoft.com/office/officeart/2005/8/layout/process5"/>
    <dgm:cxn modelId="{C0C6519A-C6B8-467D-A7C7-BBF2BECFDEC0}" type="presParOf" srcId="{98281E7A-B42B-4A60-8F0A-02FBBE192048}" destId="{01A49A10-DA55-43D2-B848-2A752A4B7FB1}" srcOrd="0" destOrd="0" presId="urn:microsoft.com/office/officeart/2005/8/layout/process5"/>
    <dgm:cxn modelId="{58EB72F8-E11D-4673-A720-606CAAD12003}" type="presParOf" srcId="{98281E7A-B42B-4A60-8F0A-02FBBE192048}" destId="{3877E669-BE62-41BC-9950-13C5D39E30D2}" srcOrd="1" destOrd="0" presId="urn:microsoft.com/office/officeart/2005/8/layout/process5"/>
    <dgm:cxn modelId="{2732D1BB-4A56-4FA1-AE09-F4F959BA6881}" type="presParOf" srcId="{3877E669-BE62-41BC-9950-13C5D39E30D2}" destId="{80702E3B-FA77-4C95-8465-C752588C38FB}" srcOrd="0" destOrd="0" presId="urn:microsoft.com/office/officeart/2005/8/layout/process5"/>
    <dgm:cxn modelId="{A40BD67D-CCB9-4414-81EC-0CDD906C5C23}" type="presParOf" srcId="{98281E7A-B42B-4A60-8F0A-02FBBE192048}" destId="{FB08B26A-8E52-454A-9694-166FDA94A66C}" srcOrd="2" destOrd="0" presId="urn:microsoft.com/office/officeart/2005/8/layout/process5"/>
    <dgm:cxn modelId="{8723E790-2882-4A04-838D-B895911404A9}" type="presParOf" srcId="{98281E7A-B42B-4A60-8F0A-02FBBE192048}" destId="{39A16790-742C-466A-95A4-0BF22E5FCD7A}" srcOrd="3" destOrd="0" presId="urn:microsoft.com/office/officeart/2005/8/layout/process5"/>
    <dgm:cxn modelId="{139AE346-0D0A-4278-A455-E61E183E86FB}" type="presParOf" srcId="{39A16790-742C-466A-95A4-0BF22E5FCD7A}" destId="{C56007E9-35BB-4D39-9B1A-57F61D92EDEB}" srcOrd="0" destOrd="0" presId="urn:microsoft.com/office/officeart/2005/8/layout/process5"/>
    <dgm:cxn modelId="{4EB4D467-A998-4766-ACA5-7CCE7BE5E971}" type="presParOf" srcId="{98281E7A-B42B-4A60-8F0A-02FBBE192048}" destId="{7D12FF1B-AFF2-41BF-A1B9-96394947895C}" srcOrd="4" destOrd="0" presId="urn:microsoft.com/office/officeart/2005/8/layout/process5"/>
    <dgm:cxn modelId="{15809CB5-884E-49B1-B27F-BBEFCC62F175}" type="presParOf" srcId="{98281E7A-B42B-4A60-8F0A-02FBBE192048}" destId="{B8D77E6C-9E07-4195-BF67-9B25D7196EAA}" srcOrd="5" destOrd="0" presId="urn:microsoft.com/office/officeart/2005/8/layout/process5"/>
    <dgm:cxn modelId="{B03E4E87-1C71-42F2-A752-25C2B400A1A4}" type="presParOf" srcId="{B8D77E6C-9E07-4195-BF67-9B25D7196EAA}" destId="{B03BAD51-824A-4B72-B5C9-F4D969B0FE1F}" srcOrd="0" destOrd="0" presId="urn:microsoft.com/office/officeart/2005/8/layout/process5"/>
    <dgm:cxn modelId="{16E761A5-C522-4DFB-BE69-1F2F743F5A18}" type="presParOf" srcId="{98281E7A-B42B-4A60-8F0A-02FBBE192048}" destId="{C53C5ED3-16AC-4B3F-9B93-D856278E85E8}" srcOrd="6" destOrd="0" presId="urn:microsoft.com/office/officeart/2005/8/layout/process5"/>
    <dgm:cxn modelId="{8C339212-8EE6-45CE-9D99-FF53CE092FB9}" type="presParOf" srcId="{98281E7A-B42B-4A60-8F0A-02FBBE192048}" destId="{B98488BD-C1A4-477A-8CF9-A79D8E5107F2}" srcOrd="7" destOrd="0" presId="urn:microsoft.com/office/officeart/2005/8/layout/process5"/>
    <dgm:cxn modelId="{8EBAE7BA-E54F-446C-AAAA-A95162993243}" type="presParOf" srcId="{B98488BD-C1A4-477A-8CF9-A79D8E5107F2}" destId="{5033852B-6252-4BC2-BA8A-939A6D79CE68}" srcOrd="0" destOrd="0" presId="urn:microsoft.com/office/officeart/2005/8/layout/process5"/>
    <dgm:cxn modelId="{095CF5BE-05C3-4BF7-A317-EA2D7368725F}" type="presParOf" srcId="{98281E7A-B42B-4A60-8F0A-02FBBE192048}" destId="{2B6E1E24-A7FA-4049-86FC-9D12842052E7}" srcOrd="8" destOrd="0" presId="urn:microsoft.com/office/officeart/2005/8/layout/process5"/>
    <dgm:cxn modelId="{32B2D7A6-1674-4DF5-BADE-F56F20737AD9}" type="presParOf" srcId="{98281E7A-B42B-4A60-8F0A-02FBBE192048}" destId="{1DF05F3B-4E23-47B7-9399-FA0B1A3EC9AF}" srcOrd="9" destOrd="0" presId="urn:microsoft.com/office/officeart/2005/8/layout/process5"/>
    <dgm:cxn modelId="{E1B1CC9E-A14E-4BDD-A868-974E69F0FDAA}" type="presParOf" srcId="{1DF05F3B-4E23-47B7-9399-FA0B1A3EC9AF}" destId="{16836755-55F7-4A1E-8705-055A4D230720}" srcOrd="0" destOrd="0" presId="urn:microsoft.com/office/officeart/2005/8/layout/process5"/>
    <dgm:cxn modelId="{36E4E212-8E99-4B5F-98ED-9527EE7E9C2D}" type="presParOf" srcId="{98281E7A-B42B-4A60-8F0A-02FBBE192048}" destId="{519EAD41-65A7-4AAB-AFFA-DCC2B68A3AFF}" srcOrd="10" destOrd="0" presId="urn:microsoft.com/office/officeart/2005/8/layout/process5"/>
    <dgm:cxn modelId="{20C97B50-0074-4739-8F7F-5A1447471E9A}" type="presParOf" srcId="{98281E7A-B42B-4A60-8F0A-02FBBE192048}" destId="{3FF3E634-1966-415E-85D5-38A897C4E7E3}" srcOrd="11" destOrd="0" presId="urn:microsoft.com/office/officeart/2005/8/layout/process5"/>
    <dgm:cxn modelId="{12262B4B-B3BC-4276-829E-E4E6EDE02C25}" type="presParOf" srcId="{3FF3E634-1966-415E-85D5-38A897C4E7E3}" destId="{73F9BE4E-A25B-4D57-B8A1-8D52E04917B6}" srcOrd="0" destOrd="0" presId="urn:microsoft.com/office/officeart/2005/8/layout/process5"/>
    <dgm:cxn modelId="{812D76A1-1768-48F2-A8C1-DAB9B4194E4A}" type="presParOf" srcId="{98281E7A-B42B-4A60-8F0A-02FBBE192048}" destId="{10DF5648-7416-434C-8BC3-0F92F96B97CB}" srcOrd="12" destOrd="0" presId="urn:microsoft.com/office/officeart/2005/8/layout/process5"/>
    <dgm:cxn modelId="{ED4B90FB-CC5A-44C3-AD2F-C551EEF798C6}" type="presParOf" srcId="{98281E7A-B42B-4A60-8F0A-02FBBE192048}" destId="{7848B252-526A-4E26-936C-C9CCF666F5DE}" srcOrd="13" destOrd="0" presId="urn:microsoft.com/office/officeart/2005/8/layout/process5"/>
    <dgm:cxn modelId="{EBEB5FD9-2B5A-4A68-85E9-127E72A932F3}" type="presParOf" srcId="{7848B252-526A-4E26-936C-C9CCF666F5DE}" destId="{036AA6AD-A8A4-4086-BC2C-1512CC873A0D}" srcOrd="0" destOrd="0" presId="urn:microsoft.com/office/officeart/2005/8/layout/process5"/>
    <dgm:cxn modelId="{9229E859-8D12-4608-9A53-178E9820F712}" type="presParOf" srcId="{98281E7A-B42B-4A60-8F0A-02FBBE192048}" destId="{40DA85B8-AB36-40AB-8A67-B0700BBA8244}" srcOrd="14" destOrd="0" presId="urn:microsoft.com/office/officeart/2005/8/layout/process5"/>
    <dgm:cxn modelId="{7C351F8A-B108-4C15-9FFD-D7AF1FA64379}" type="presParOf" srcId="{98281E7A-B42B-4A60-8F0A-02FBBE192048}" destId="{0E8071CD-006C-4360-B296-0E1A84EE250A}" srcOrd="15" destOrd="0" presId="urn:microsoft.com/office/officeart/2005/8/layout/process5"/>
    <dgm:cxn modelId="{E967E531-816B-4BAD-84DE-EBE4A42D39B5}" type="presParOf" srcId="{0E8071CD-006C-4360-B296-0E1A84EE250A}" destId="{64E4E5A8-D687-4A18-989B-51516A068551}" srcOrd="0" destOrd="0" presId="urn:microsoft.com/office/officeart/2005/8/layout/process5"/>
    <dgm:cxn modelId="{4A7E532B-274D-4F13-88ED-87F65D3B3F2E}" type="presParOf" srcId="{98281E7A-B42B-4A60-8F0A-02FBBE192048}" destId="{B3269C98-FE39-4934-95BE-9C10E0C6B355}" srcOrd="16" destOrd="0" presId="urn:microsoft.com/office/officeart/2005/8/layout/process5"/>
    <dgm:cxn modelId="{3B5EA4FF-B2E9-4E60-AD63-ADB9B1225A96}" type="presParOf" srcId="{98281E7A-B42B-4A60-8F0A-02FBBE192048}" destId="{F7B36BAE-25BD-4995-A0A7-28D989B3241F}" srcOrd="17" destOrd="0" presId="urn:microsoft.com/office/officeart/2005/8/layout/process5"/>
    <dgm:cxn modelId="{018D3C11-14E5-43EC-A5A6-8A0665109DA1}" type="presParOf" srcId="{F7B36BAE-25BD-4995-A0A7-28D989B3241F}" destId="{482961E6-2364-4DBB-9811-136E81958C03}" srcOrd="0" destOrd="0" presId="urn:microsoft.com/office/officeart/2005/8/layout/process5"/>
    <dgm:cxn modelId="{1BFCB88A-AE02-4B14-A3B3-8BFFCDF6AE6C}" type="presParOf" srcId="{98281E7A-B42B-4A60-8F0A-02FBBE192048}" destId="{8534CBB5-8797-46BC-A736-3AC7DDECF8A2}" srcOrd="18" destOrd="0" presId="urn:microsoft.com/office/officeart/2005/8/layout/process5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7DC37A4-743F-42FE-BA15-06696BC3EB5C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D"/>
        </a:p>
      </dgm:t>
    </dgm:pt>
    <dgm:pt modelId="{90FD037A-B3E1-449F-9064-9E17C38004C1}">
      <dgm:prSet phldrT="[Text]"/>
      <dgm:spPr/>
      <dgm:t>
        <a:bodyPr/>
        <a:lstStyle/>
        <a:p>
          <a:r>
            <a:rPr lang="en-US" dirty="0">
              <a:latin typeface="Century Gothic" panose="020B0502020202020204" pitchFamily="34" charset="0"/>
            </a:rPr>
            <a:t>DPP </a:t>
          </a:r>
          <a:r>
            <a:rPr lang="en-US" dirty="0" err="1">
              <a:latin typeface="Century Gothic" panose="020B0502020202020204" pitchFamily="34" charset="0"/>
            </a:rPr>
            <a:t>Asosiasi</a:t>
          </a:r>
          <a:r>
            <a:rPr lang="en-US" dirty="0">
              <a:latin typeface="Century Gothic" panose="020B0502020202020204" pitchFamily="34" charset="0"/>
            </a:rPr>
            <a:t> A</a:t>
          </a:r>
          <a:endParaRPr lang="en-ID" dirty="0">
            <a:latin typeface="Century Gothic" panose="020B0502020202020204" pitchFamily="34" charset="0"/>
          </a:endParaRPr>
        </a:p>
      </dgm:t>
    </dgm:pt>
    <dgm:pt modelId="{EA370128-C0F1-42DC-90F5-E0314CC85105}" type="parTrans" cxnId="{38878B35-D4EC-4E4B-B3F6-706FFD7B2334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15C65FEA-B8AD-4153-811C-67E34D9DC4D4}" type="sibTrans" cxnId="{38878B35-D4EC-4E4B-B3F6-706FFD7B2334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0B8F386D-AF95-4F4F-B5B9-92D3FCCB194F}">
      <dgm:prSet phldrT="[Text]"/>
      <dgm:spPr/>
      <dgm:t>
        <a:bodyPr/>
        <a:lstStyle/>
        <a:p>
          <a:r>
            <a:rPr lang="en-US" dirty="0">
              <a:latin typeface="Century Gothic" panose="020B0502020202020204" pitchFamily="34" charset="0"/>
            </a:rPr>
            <a:t>DPD </a:t>
          </a:r>
          <a:r>
            <a:rPr lang="en-US" dirty="0" err="1">
              <a:latin typeface="Century Gothic" panose="020B0502020202020204" pitchFamily="34" charset="0"/>
            </a:rPr>
            <a:t>Asosiasi</a:t>
          </a:r>
          <a:r>
            <a:rPr lang="en-US" dirty="0">
              <a:latin typeface="Century Gothic" panose="020B0502020202020204" pitchFamily="34" charset="0"/>
            </a:rPr>
            <a:t> A DKI Jakarta</a:t>
          </a:r>
          <a:endParaRPr lang="en-ID" dirty="0">
            <a:latin typeface="Century Gothic" panose="020B0502020202020204" pitchFamily="34" charset="0"/>
          </a:endParaRPr>
        </a:p>
      </dgm:t>
    </dgm:pt>
    <dgm:pt modelId="{C46DE473-722D-462A-9DEF-CE356AB922D7}" type="parTrans" cxnId="{10FA28FA-D9AD-4D9F-916A-5FCD0F12F571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1838CAF5-BCB5-408F-A756-51B8D173039C}" type="sibTrans" cxnId="{10FA28FA-D9AD-4D9F-916A-5FCD0F12F571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1C5C8E30-1B7C-4EB3-9686-6204444D7034}">
      <dgm:prSet phldrT="[Text]"/>
      <dgm:spPr/>
      <dgm:t>
        <a:bodyPr/>
        <a:lstStyle/>
        <a:p>
          <a:r>
            <a:rPr lang="en-US" dirty="0">
              <a:latin typeface="Century Gothic" panose="020B0502020202020204" pitchFamily="34" charset="0"/>
            </a:rPr>
            <a:t>DPD </a:t>
          </a:r>
          <a:r>
            <a:rPr lang="en-US" dirty="0" err="1">
              <a:latin typeface="Century Gothic" panose="020B0502020202020204" pitchFamily="34" charset="0"/>
            </a:rPr>
            <a:t>Asosiasi</a:t>
          </a:r>
          <a:r>
            <a:rPr lang="en-US" dirty="0">
              <a:latin typeface="Century Gothic" panose="020B0502020202020204" pitchFamily="34" charset="0"/>
            </a:rPr>
            <a:t> A </a:t>
          </a:r>
          <a:r>
            <a:rPr lang="en-US" dirty="0" err="1">
              <a:latin typeface="Century Gothic" panose="020B0502020202020204" pitchFamily="34" charset="0"/>
            </a:rPr>
            <a:t>Jawa</a:t>
          </a:r>
          <a:r>
            <a:rPr lang="en-US" dirty="0">
              <a:latin typeface="Century Gothic" panose="020B0502020202020204" pitchFamily="34" charset="0"/>
            </a:rPr>
            <a:t> Barat</a:t>
          </a:r>
          <a:endParaRPr lang="en-ID" dirty="0">
            <a:latin typeface="Century Gothic" panose="020B0502020202020204" pitchFamily="34" charset="0"/>
          </a:endParaRPr>
        </a:p>
      </dgm:t>
    </dgm:pt>
    <dgm:pt modelId="{C36D014B-08A6-499C-AE39-81FF41D71003}" type="parTrans" cxnId="{0963305D-16B5-41AB-8B90-853AD755B85F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275D7984-94F4-4753-AE7F-9A4C4BBB78BD}" type="sibTrans" cxnId="{0963305D-16B5-41AB-8B90-853AD755B85F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1EDBA48A-1E98-4A99-B028-DE89FAB0FA9A}">
      <dgm:prSet phldrT="[Text]"/>
      <dgm:spPr/>
      <dgm:t>
        <a:bodyPr/>
        <a:lstStyle/>
        <a:p>
          <a:r>
            <a:rPr lang="en-US" dirty="0">
              <a:latin typeface="Century Gothic" panose="020B0502020202020204" pitchFamily="34" charset="0"/>
            </a:rPr>
            <a:t>DPD </a:t>
          </a:r>
          <a:r>
            <a:rPr lang="en-US" dirty="0" err="1">
              <a:latin typeface="Century Gothic" panose="020B0502020202020204" pitchFamily="34" charset="0"/>
            </a:rPr>
            <a:t>Asosiasi</a:t>
          </a:r>
          <a:r>
            <a:rPr lang="en-US" dirty="0">
              <a:latin typeface="Century Gothic" panose="020B0502020202020204" pitchFamily="34" charset="0"/>
            </a:rPr>
            <a:t> A .....</a:t>
          </a:r>
          <a:endParaRPr lang="en-ID" dirty="0">
            <a:latin typeface="Century Gothic" panose="020B0502020202020204" pitchFamily="34" charset="0"/>
          </a:endParaRPr>
        </a:p>
      </dgm:t>
    </dgm:pt>
    <dgm:pt modelId="{F0CC6CD9-5BD7-4369-9512-20076B7F9575}" type="parTrans" cxnId="{0F7D524A-7C39-4947-97DA-3A7450E4CA18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FE2EED1E-AFE2-42BA-ADC3-4FD185C6A064}" type="sibTrans" cxnId="{0F7D524A-7C39-4947-97DA-3A7450E4CA18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A439AC72-E530-44C4-B5DF-ADF994C05F88}" type="pres">
      <dgm:prSet presAssocID="{17DC37A4-743F-42FE-BA15-06696BC3EB5C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A1CA2FF9-B503-4C39-A794-1B0162406C6E}" type="pres">
      <dgm:prSet presAssocID="{90FD037A-B3E1-449F-9064-9E17C38004C1}" presName="hierRoot1" presStyleCnt="0">
        <dgm:presLayoutVars>
          <dgm:hierBranch val="init"/>
        </dgm:presLayoutVars>
      </dgm:prSet>
      <dgm:spPr/>
    </dgm:pt>
    <dgm:pt modelId="{1582E9E1-DDDD-44FA-9C14-434C550490B0}" type="pres">
      <dgm:prSet presAssocID="{90FD037A-B3E1-449F-9064-9E17C38004C1}" presName="rootComposite1" presStyleCnt="0"/>
      <dgm:spPr/>
    </dgm:pt>
    <dgm:pt modelId="{2DEED953-0012-4A45-970A-0FF7C36E9CEF}" type="pres">
      <dgm:prSet presAssocID="{90FD037A-B3E1-449F-9064-9E17C38004C1}" presName="rootText1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089C51B-F96D-4AF6-BBDF-6851990B52D5}" type="pres">
      <dgm:prSet presAssocID="{90FD037A-B3E1-449F-9064-9E17C38004C1}" presName="topArc1" presStyleLbl="parChTrans1D1" presStyleIdx="0" presStyleCnt="8"/>
      <dgm:spPr/>
    </dgm:pt>
    <dgm:pt modelId="{FF12FCBB-8766-4D75-86C5-4334884194F0}" type="pres">
      <dgm:prSet presAssocID="{90FD037A-B3E1-449F-9064-9E17C38004C1}" presName="bottomArc1" presStyleLbl="parChTrans1D1" presStyleIdx="1" presStyleCnt="8"/>
      <dgm:spPr/>
    </dgm:pt>
    <dgm:pt modelId="{F7DFA4BC-8DAE-43AA-A09B-7CD84D74E0C1}" type="pres">
      <dgm:prSet presAssocID="{90FD037A-B3E1-449F-9064-9E17C38004C1}" presName="topConnNode1" presStyleLbl="node1" presStyleIdx="0" presStyleCnt="0"/>
      <dgm:spPr/>
      <dgm:t>
        <a:bodyPr/>
        <a:lstStyle/>
        <a:p>
          <a:endParaRPr lang="en-US"/>
        </a:p>
      </dgm:t>
    </dgm:pt>
    <dgm:pt modelId="{B29E6BFE-1902-4705-9DF1-9DEB8F26089E}" type="pres">
      <dgm:prSet presAssocID="{90FD037A-B3E1-449F-9064-9E17C38004C1}" presName="hierChild2" presStyleCnt="0"/>
      <dgm:spPr/>
    </dgm:pt>
    <dgm:pt modelId="{62BE305C-99D4-4B61-81A8-CB04A40E9E6C}" type="pres">
      <dgm:prSet presAssocID="{C46DE473-722D-462A-9DEF-CE356AB922D7}" presName="Name28" presStyleLbl="parChTrans1D2" presStyleIdx="0" presStyleCnt="3"/>
      <dgm:spPr/>
      <dgm:t>
        <a:bodyPr/>
        <a:lstStyle/>
        <a:p>
          <a:endParaRPr lang="en-US"/>
        </a:p>
      </dgm:t>
    </dgm:pt>
    <dgm:pt modelId="{DFC5AB97-7895-44E7-9EFA-CB6730251356}" type="pres">
      <dgm:prSet presAssocID="{0B8F386D-AF95-4F4F-B5B9-92D3FCCB194F}" presName="hierRoot2" presStyleCnt="0">
        <dgm:presLayoutVars>
          <dgm:hierBranch val="init"/>
        </dgm:presLayoutVars>
      </dgm:prSet>
      <dgm:spPr/>
    </dgm:pt>
    <dgm:pt modelId="{A6EDCC5A-7CC8-4B49-B7AB-BF343F11D337}" type="pres">
      <dgm:prSet presAssocID="{0B8F386D-AF95-4F4F-B5B9-92D3FCCB194F}" presName="rootComposite2" presStyleCnt="0"/>
      <dgm:spPr/>
    </dgm:pt>
    <dgm:pt modelId="{FAFD4B05-893D-4014-8383-9822B509E88D}" type="pres">
      <dgm:prSet presAssocID="{0B8F386D-AF95-4F4F-B5B9-92D3FCCB194F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ABD1A63-8CB0-405A-9BDB-CCB703C08F1F}" type="pres">
      <dgm:prSet presAssocID="{0B8F386D-AF95-4F4F-B5B9-92D3FCCB194F}" presName="topArc2" presStyleLbl="parChTrans1D1" presStyleIdx="2" presStyleCnt="8"/>
      <dgm:spPr>
        <a:ln>
          <a:solidFill>
            <a:schemeClr val="accent6"/>
          </a:solidFill>
        </a:ln>
      </dgm:spPr>
    </dgm:pt>
    <dgm:pt modelId="{5AF3F82A-3EDB-4596-B6C2-AC77F0F9904B}" type="pres">
      <dgm:prSet presAssocID="{0B8F386D-AF95-4F4F-B5B9-92D3FCCB194F}" presName="bottomArc2" presStyleLbl="parChTrans1D1" presStyleIdx="3" presStyleCnt="8"/>
      <dgm:spPr>
        <a:ln>
          <a:solidFill>
            <a:schemeClr val="accent6"/>
          </a:solidFill>
        </a:ln>
      </dgm:spPr>
    </dgm:pt>
    <dgm:pt modelId="{FBE393D6-43FA-4A73-8E01-19D080240DC3}" type="pres">
      <dgm:prSet presAssocID="{0B8F386D-AF95-4F4F-B5B9-92D3FCCB194F}" presName="topConnNode2" presStyleLbl="node2" presStyleIdx="0" presStyleCnt="0"/>
      <dgm:spPr/>
      <dgm:t>
        <a:bodyPr/>
        <a:lstStyle/>
        <a:p>
          <a:endParaRPr lang="en-US"/>
        </a:p>
      </dgm:t>
    </dgm:pt>
    <dgm:pt modelId="{84C0CF26-52DD-411C-8D9D-692E5D852CCB}" type="pres">
      <dgm:prSet presAssocID="{0B8F386D-AF95-4F4F-B5B9-92D3FCCB194F}" presName="hierChild4" presStyleCnt="0"/>
      <dgm:spPr/>
    </dgm:pt>
    <dgm:pt modelId="{FA9B679F-B87A-4945-B87F-EB043E9638C2}" type="pres">
      <dgm:prSet presAssocID="{0B8F386D-AF95-4F4F-B5B9-92D3FCCB194F}" presName="hierChild5" presStyleCnt="0"/>
      <dgm:spPr/>
    </dgm:pt>
    <dgm:pt modelId="{DEEEE08F-2722-41C7-90F2-756AC8E56BE3}" type="pres">
      <dgm:prSet presAssocID="{C36D014B-08A6-499C-AE39-81FF41D71003}" presName="Name28" presStyleLbl="parChTrans1D2" presStyleIdx="1" presStyleCnt="3"/>
      <dgm:spPr/>
      <dgm:t>
        <a:bodyPr/>
        <a:lstStyle/>
        <a:p>
          <a:endParaRPr lang="en-US"/>
        </a:p>
      </dgm:t>
    </dgm:pt>
    <dgm:pt modelId="{086D5BF8-DAD0-4D24-BFB3-6F54295984C3}" type="pres">
      <dgm:prSet presAssocID="{1C5C8E30-1B7C-4EB3-9686-6204444D7034}" presName="hierRoot2" presStyleCnt="0">
        <dgm:presLayoutVars>
          <dgm:hierBranch val="init"/>
        </dgm:presLayoutVars>
      </dgm:prSet>
      <dgm:spPr/>
    </dgm:pt>
    <dgm:pt modelId="{AC610CA0-51D1-4167-91CF-1289AC837225}" type="pres">
      <dgm:prSet presAssocID="{1C5C8E30-1B7C-4EB3-9686-6204444D7034}" presName="rootComposite2" presStyleCnt="0"/>
      <dgm:spPr/>
    </dgm:pt>
    <dgm:pt modelId="{D572BF7F-34D9-4D19-B724-9820D55DB323}" type="pres">
      <dgm:prSet presAssocID="{1C5C8E30-1B7C-4EB3-9686-6204444D7034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7A33B6B-9CAF-4B4C-AC31-C772112AE5E7}" type="pres">
      <dgm:prSet presAssocID="{1C5C8E30-1B7C-4EB3-9686-6204444D7034}" presName="topArc2" presStyleLbl="parChTrans1D1" presStyleIdx="4" presStyleCnt="8"/>
      <dgm:spPr>
        <a:ln>
          <a:solidFill>
            <a:schemeClr val="accent6"/>
          </a:solidFill>
        </a:ln>
      </dgm:spPr>
    </dgm:pt>
    <dgm:pt modelId="{6C08A56C-2874-4CFD-BCB6-054B8BC30111}" type="pres">
      <dgm:prSet presAssocID="{1C5C8E30-1B7C-4EB3-9686-6204444D7034}" presName="bottomArc2" presStyleLbl="parChTrans1D1" presStyleIdx="5" presStyleCnt="8"/>
      <dgm:spPr>
        <a:ln>
          <a:solidFill>
            <a:schemeClr val="accent6"/>
          </a:solidFill>
        </a:ln>
      </dgm:spPr>
    </dgm:pt>
    <dgm:pt modelId="{2E4C4A25-4FD4-4356-BEB8-7A3193D54A8D}" type="pres">
      <dgm:prSet presAssocID="{1C5C8E30-1B7C-4EB3-9686-6204444D7034}" presName="topConnNode2" presStyleLbl="node2" presStyleIdx="0" presStyleCnt="0"/>
      <dgm:spPr/>
      <dgm:t>
        <a:bodyPr/>
        <a:lstStyle/>
        <a:p>
          <a:endParaRPr lang="en-US"/>
        </a:p>
      </dgm:t>
    </dgm:pt>
    <dgm:pt modelId="{47FBDB1A-5698-416D-8976-EB3039C0B11A}" type="pres">
      <dgm:prSet presAssocID="{1C5C8E30-1B7C-4EB3-9686-6204444D7034}" presName="hierChild4" presStyleCnt="0"/>
      <dgm:spPr/>
    </dgm:pt>
    <dgm:pt modelId="{B3E3133E-2AD6-4EA6-A674-34F1FAE12EA2}" type="pres">
      <dgm:prSet presAssocID="{1C5C8E30-1B7C-4EB3-9686-6204444D7034}" presName="hierChild5" presStyleCnt="0"/>
      <dgm:spPr/>
    </dgm:pt>
    <dgm:pt modelId="{C53FD613-5C10-4B40-A1DF-BE6594CD1B26}" type="pres">
      <dgm:prSet presAssocID="{F0CC6CD9-5BD7-4369-9512-20076B7F9575}" presName="Name28" presStyleLbl="parChTrans1D2" presStyleIdx="2" presStyleCnt="3"/>
      <dgm:spPr/>
      <dgm:t>
        <a:bodyPr/>
        <a:lstStyle/>
        <a:p>
          <a:endParaRPr lang="en-US"/>
        </a:p>
      </dgm:t>
    </dgm:pt>
    <dgm:pt modelId="{15B581A5-745F-4478-A394-490D7E394131}" type="pres">
      <dgm:prSet presAssocID="{1EDBA48A-1E98-4A99-B028-DE89FAB0FA9A}" presName="hierRoot2" presStyleCnt="0">
        <dgm:presLayoutVars>
          <dgm:hierBranch val="init"/>
        </dgm:presLayoutVars>
      </dgm:prSet>
      <dgm:spPr/>
    </dgm:pt>
    <dgm:pt modelId="{E3B44AB1-D5EF-4764-8297-E7915229001D}" type="pres">
      <dgm:prSet presAssocID="{1EDBA48A-1E98-4A99-B028-DE89FAB0FA9A}" presName="rootComposite2" presStyleCnt="0"/>
      <dgm:spPr/>
    </dgm:pt>
    <dgm:pt modelId="{5946906D-BBE8-4ACE-B2FC-24D73F0CAF96}" type="pres">
      <dgm:prSet presAssocID="{1EDBA48A-1E98-4A99-B028-DE89FAB0FA9A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85E2BB3-91D9-4902-86C1-B0F53461D64D}" type="pres">
      <dgm:prSet presAssocID="{1EDBA48A-1E98-4A99-B028-DE89FAB0FA9A}" presName="topArc2" presStyleLbl="parChTrans1D1" presStyleIdx="6" presStyleCnt="8"/>
      <dgm:spPr>
        <a:ln>
          <a:solidFill>
            <a:schemeClr val="accent6"/>
          </a:solidFill>
        </a:ln>
      </dgm:spPr>
    </dgm:pt>
    <dgm:pt modelId="{6ABE803C-956D-4977-9967-A2F5F157F5FB}" type="pres">
      <dgm:prSet presAssocID="{1EDBA48A-1E98-4A99-B028-DE89FAB0FA9A}" presName="bottomArc2" presStyleLbl="parChTrans1D1" presStyleIdx="7" presStyleCnt="8"/>
      <dgm:spPr>
        <a:ln>
          <a:solidFill>
            <a:schemeClr val="accent6"/>
          </a:solidFill>
        </a:ln>
      </dgm:spPr>
    </dgm:pt>
    <dgm:pt modelId="{DC7CCC21-CA30-4620-AB5F-A8761DBCD998}" type="pres">
      <dgm:prSet presAssocID="{1EDBA48A-1E98-4A99-B028-DE89FAB0FA9A}" presName="topConnNode2" presStyleLbl="node2" presStyleIdx="0" presStyleCnt="0"/>
      <dgm:spPr/>
      <dgm:t>
        <a:bodyPr/>
        <a:lstStyle/>
        <a:p>
          <a:endParaRPr lang="en-US"/>
        </a:p>
      </dgm:t>
    </dgm:pt>
    <dgm:pt modelId="{DE0D9A96-B044-40AF-8571-1A133B075941}" type="pres">
      <dgm:prSet presAssocID="{1EDBA48A-1E98-4A99-B028-DE89FAB0FA9A}" presName="hierChild4" presStyleCnt="0"/>
      <dgm:spPr/>
    </dgm:pt>
    <dgm:pt modelId="{15601FC9-FD8B-4F91-AE22-C27108539A4D}" type="pres">
      <dgm:prSet presAssocID="{1EDBA48A-1E98-4A99-B028-DE89FAB0FA9A}" presName="hierChild5" presStyleCnt="0"/>
      <dgm:spPr/>
    </dgm:pt>
    <dgm:pt modelId="{E3C9ABD6-71B9-46B0-9CE3-F8CA81D1EC6E}" type="pres">
      <dgm:prSet presAssocID="{90FD037A-B3E1-449F-9064-9E17C38004C1}" presName="hierChild3" presStyleCnt="0"/>
      <dgm:spPr/>
    </dgm:pt>
  </dgm:ptLst>
  <dgm:cxnLst>
    <dgm:cxn modelId="{0F7D524A-7C39-4947-97DA-3A7450E4CA18}" srcId="{90FD037A-B3E1-449F-9064-9E17C38004C1}" destId="{1EDBA48A-1E98-4A99-B028-DE89FAB0FA9A}" srcOrd="2" destOrd="0" parTransId="{F0CC6CD9-5BD7-4369-9512-20076B7F9575}" sibTransId="{FE2EED1E-AFE2-42BA-ADC3-4FD185C6A064}"/>
    <dgm:cxn modelId="{AE0711B4-BF3A-4044-A13C-F0A1963D783D}" type="presOf" srcId="{1C5C8E30-1B7C-4EB3-9686-6204444D7034}" destId="{2E4C4A25-4FD4-4356-BEB8-7A3193D54A8D}" srcOrd="1" destOrd="0" presId="urn:microsoft.com/office/officeart/2008/layout/HalfCircleOrganizationChart"/>
    <dgm:cxn modelId="{C9C99065-B82C-4A29-9D36-0F7CC2AC5322}" type="presOf" srcId="{1EDBA48A-1E98-4A99-B028-DE89FAB0FA9A}" destId="{DC7CCC21-CA30-4620-AB5F-A8761DBCD998}" srcOrd="1" destOrd="0" presId="urn:microsoft.com/office/officeart/2008/layout/HalfCircleOrganizationChart"/>
    <dgm:cxn modelId="{A3FCCF0E-A146-4B24-A160-29BBDAA70D9E}" type="presOf" srcId="{C36D014B-08A6-499C-AE39-81FF41D71003}" destId="{DEEEE08F-2722-41C7-90F2-756AC8E56BE3}" srcOrd="0" destOrd="0" presId="urn:microsoft.com/office/officeart/2008/layout/HalfCircleOrganizationChart"/>
    <dgm:cxn modelId="{10FA28FA-D9AD-4D9F-916A-5FCD0F12F571}" srcId="{90FD037A-B3E1-449F-9064-9E17C38004C1}" destId="{0B8F386D-AF95-4F4F-B5B9-92D3FCCB194F}" srcOrd="0" destOrd="0" parTransId="{C46DE473-722D-462A-9DEF-CE356AB922D7}" sibTransId="{1838CAF5-BCB5-408F-A756-51B8D173039C}"/>
    <dgm:cxn modelId="{38878B35-D4EC-4E4B-B3F6-706FFD7B2334}" srcId="{17DC37A4-743F-42FE-BA15-06696BC3EB5C}" destId="{90FD037A-B3E1-449F-9064-9E17C38004C1}" srcOrd="0" destOrd="0" parTransId="{EA370128-C0F1-42DC-90F5-E0314CC85105}" sibTransId="{15C65FEA-B8AD-4153-811C-67E34D9DC4D4}"/>
    <dgm:cxn modelId="{7F7C3258-8D96-485A-9B72-61A8079D616F}" type="presOf" srcId="{90FD037A-B3E1-449F-9064-9E17C38004C1}" destId="{2DEED953-0012-4A45-970A-0FF7C36E9CEF}" srcOrd="0" destOrd="0" presId="urn:microsoft.com/office/officeart/2008/layout/HalfCircleOrganizationChart"/>
    <dgm:cxn modelId="{F71B7EEC-482B-4F9E-AA46-955DDEA4490E}" type="presOf" srcId="{0B8F386D-AF95-4F4F-B5B9-92D3FCCB194F}" destId="{FBE393D6-43FA-4A73-8E01-19D080240DC3}" srcOrd="1" destOrd="0" presId="urn:microsoft.com/office/officeart/2008/layout/HalfCircleOrganizationChart"/>
    <dgm:cxn modelId="{40BB978B-9B59-4F47-8EB6-345B4E7AEFA6}" type="presOf" srcId="{17DC37A4-743F-42FE-BA15-06696BC3EB5C}" destId="{A439AC72-E530-44C4-B5DF-ADF994C05F88}" srcOrd="0" destOrd="0" presId="urn:microsoft.com/office/officeart/2008/layout/HalfCircleOrganizationChart"/>
    <dgm:cxn modelId="{21117241-4AC0-4994-AC38-C3AF549D5F35}" type="presOf" srcId="{1EDBA48A-1E98-4A99-B028-DE89FAB0FA9A}" destId="{5946906D-BBE8-4ACE-B2FC-24D73F0CAF96}" srcOrd="0" destOrd="0" presId="urn:microsoft.com/office/officeart/2008/layout/HalfCircleOrganizationChart"/>
    <dgm:cxn modelId="{86B4491B-43FC-4508-80F0-E3E73BC74F05}" type="presOf" srcId="{C46DE473-722D-462A-9DEF-CE356AB922D7}" destId="{62BE305C-99D4-4B61-81A8-CB04A40E9E6C}" srcOrd="0" destOrd="0" presId="urn:microsoft.com/office/officeart/2008/layout/HalfCircleOrganizationChart"/>
    <dgm:cxn modelId="{32BEFC9D-756D-49C7-9F01-50860DBBCF9A}" type="presOf" srcId="{90FD037A-B3E1-449F-9064-9E17C38004C1}" destId="{F7DFA4BC-8DAE-43AA-A09B-7CD84D74E0C1}" srcOrd="1" destOrd="0" presId="urn:microsoft.com/office/officeart/2008/layout/HalfCircleOrganizationChart"/>
    <dgm:cxn modelId="{F154AAED-82F5-407E-B7F4-EA92F61E7093}" type="presOf" srcId="{1C5C8E30-1B7C-4EB3-9686-6204444D7034}" destId="{D572BF7F-34D9-4D19-B724-9820D55DB323}" srcOrd="0" destOrd="0" presId="urn:microsoft.com/office/officeart/2008/layout/HalfCircleOrganizationChart"/>
    <dgm:cxn modelId="{D8E4AD40-34FD-4072-AE12-49BCE81DF467}" type="presOf" srcId="{0B8F386D-AF95-4F4F-B5B9-92D3FCCB194F}" destId="{FAFD4B05-893D-4014-8383-9822B509E88D}" srcOrd="0" destOrd="0" presId="urn:microsoft.com/office/officeart/2008/layout/HalfCircleOrganizationChart"/>
    <dgm:cxn modelId="{9DE4E50D-BE65-4EBC-B69A-77F29AF14471}" type="presOf" srcId="{F0CC6CD9-5BD7-4369-9512-20076B7F9575}" destId="{C53FD613-5C10-4B40-A1DF-BE6594CD1B26}" srcOrd="0" destOrd="0" presId="urn:microsoft.com/office/officeart/2008/layout/HalfCircleOrganizationChart"/>
    <dgm:cxn modelId="{0963305D-16B5-41AB-8B90-853AD755B85F}" srcId="{90FD037A-B3E1-449F-9064-9E17C38004C1}" destId="{1C5C8E30-1B7C-4EB3-9686-6204444D7034}" srcOrd="1" destOrd="0" parTransId="{C36D014B-08A6-499C-AE39-81FF41D71003}" sibTransId="{275D7984-94F4-4753-AE7F-9A4C4BBB78BD}"/>
    <dgm:cxn modelId="{8C2B2B24-908B-48B3-99F2-FA6C842FF684}" type="presParOf" srcId="{A439AC72-E530-44C4-B5DF-ADF994C05F88}" destId="{A1CA2FF9-B503-4C39-A794-1B0162406C6E}" srcOrd="0" destOrd="0" presId="urn:microsoft.com/office/officeart/2008/layout/HalfCircleOrganizationChart"/>
    <dgm:cxn modelId="{B4C8A2BB-3804-4930-A472-A38FA43DEA37}" type="presParOf" srcId="{A1CA2FF9-B503-4C39-A794-1B0162406C6E}" destId="{1582E9E1-DDDD-44FA-9C14-434C550490B0}" srcOrd="0" destOrd="0" presId="urn:microsoft.com/office/officeart/2008/layout/HalfCircleOrganizationChart"/>
    <dgm:cxn modelId="{9E466F37-0136-4A4B-828B-A860DE9A5B0E}" type="presParOf" srcId="{1582E9E1-DDDD-44FA-9C14-434C550490B0}" destId="{2DEED953-0012-4A45-970A-0FF7C36E9CEF}" srcOrd="0" destOrd="0" presId="urn:microsoft.com/office/officeart/2008/layout/HalfCircleOrganizationChart"/>
    <dgm:cxn modelId="{CE8A1A38-95FC-44F9-B7D6-12D26C3AAC90}" type="presParOf" srcId="{1582E9E1-DDDD-44FA-9C14-434C550490B0}" destId="{F089C51B-F96D-4AF6-BBDF-6851990B52D5}" srcOrd="1" destOrd="0" presId="urn:microsoft.com/office/officeart/2008/layout/HalfCircleOrganizationChart"/>
    <dgm:cxn modelId="{21B54FD8-06EA-45FF-809A-6EA903C048A3}" type="presParOf" srcId="{1582E9E1-DDDD-44FA-9C14-434C550490B0}" destId="{FF12FCBB-8766-4D75-86C5-4334884194F0}" srcOrd="2" destOrd="0" presId="urn:microsoft.com/office/officeart/2008/layout/HalfCircleOrganizationChart"/>
    <dgm:cxn modelId="{D3C0F934-EF19-48D8-8B3E-D3436EB100D4}" type="presParOf" srcId="{1582E9E1-DDDD-44FA-9C14-434C550490B0}" destId="{F7DFA4BC-8DAE-43AA-A09B-7CD84D74E0C1}" srcOrd="3" destOrd="0" presId="urn:microsoft.com/office/officeart/2008/layout/HalfCircleOrganizationChart"/>
    <dgm:cxn modelId="{10E2BE0C-5E81-4007-805D-429C62C9C893}" type="presParOf" srcId="{A1CA2FF9-B503-4C39-A794-1B0162406C6E}" destId="{B29E6BFE-1902-4705-9DF1-9DEB8F26089E}" srcOrd="1" destOrd="0" presId="urn:microsoft.com/office/officeart/2008/layout/HalfCircleOrganizationChart"/>
    <dgm:cxn modelId="{2A9DDDD5-581A-4D45-B117-B89E2EE68C82}" type="presParOf" srcId="{B29E6BFE-1902-4705-9DF1-9DEB8F26089E}" destId="{62BE305C-99D4-4B61-81A8-CB04A40E9E6C}" srcOrd="0" destOrd="0" presId="urn:microsoft.com/office/officeart/2008/layout/HalfCircleOrganizationChart"/>
    <dgm:cxn modelId="{8F8DCE51-B854-44A9-B8E6-0D8EF3C28029}" type="presParOf" srcId="{B29E6BFE-1902-4705-9DF1-9DEB8F26089E}" destId="{DFC5AB97-7895-44E7-9EFA-CB6730251356}" srcOrd="1" destOrd="0" presId="urn:microsoft.com/office/officeart/2008/layout/HalfCircleOrganizationChart"/>
    <dgm:cxn modelId="{099BB39B-4881-42F4-AE25-B673252A5CDB}" type="presParOf" srcId="{DFC5AB97-7895-44E7-9EFA-CB6730251356}" destId="{A6EDCC5A-7CC8-4B49-B7AB-BF343F11D337}" srcOrd="0" destOrd="0" presId="urn:microsoft.com/office/officeart/2008/layout/HalfCircleOrganizationChart"/>
    <dgm:cxn modelId="{3CE4E96B-2ADF-492B-B83A-C7ABC11A7BEC}" type="presParOf" srcId="{A6EDCC5A-7CC8-4B49-B7AB-BF343F11D337}" destId="{FAFD4B05-893D-4014-8383-9822B509E88D}" srcOrd="0" destOrd="0" presId="urn:microsoft.com/office/officeart/2008/layout/HalfCircleOrganizationChart"/>
    <dgm:cxn modelId="{09345F45-E7BD-409C-B4D4-7796931023C4}" type="presParOf" srcId="{A6EDCC5A-7CC8-4B49-B7AB-BF343F11D337}" destId="{0ABD1A63-8CB0-405A-9BDB-CCB703C08F1F}" srcOrd="1" destOrd="0" presId="urn:microsoft.com/office/officeart/2008/layout/HalfCircleOrganizationChart"/>
    <dgm:cxn modelId="{BDFE4233-DB8E-4A66-B9D7-AA370CB5E406}" type="presParOf" srcId="{A6EDCC5A-7CC8-4B49-B7AB-BF343F11D337}" destId="{5AF3F82A-3EDB-4596-B6C2-AC77F0F9904B}" srcOrd="2" destOrd="0" presId="urn:microsoft.com/office/officeart/2008/layout/HalfCircleOrganizationChart"/>
    <dgm:cxn modelId="{76C30F8E-FE01-4BA5-B979-073610A56BFF}" type="presParOf" srcId="{A6EDCC5A-7CC8-4B49-B7AB-BF343F11D337}" destId="{FBE393D6-43FA-4A73-8E01-19D080240DC3}" srcOrd="3" destOrd="0" presId="urn:microsoft.com/office/officeart/2008/layout/HalfCircleOrganizationChart"/>
    <dgm:cxn modelId="{EBFAD380-07DC-46AF-BC2A-93099C961D32}" type="presParOf" srcId="{DFC5AB97-7895-44E7-9EFA-CB6730251356}" destId="{84C0CF26-52DD-411C-8D9D-692E5D852CCB}" srcOrd="1" destOrd="0" presId="urn:microsoft.com/office/officeart/2008/layout/HalfCircleOrganizationChart"/>
    <dgm:cxn modelId="{E16C2FC7-222D-4DDC-999B-EEF748574132}" type="presParOf" srcId="{DFC5AB97-7895-44E7-9EFA-CB6730251356}" destId="{FA9B679F-B87A-4945-B87F-EB043E9638C2}" srcOrd="2" destOrd="0" presId="urn:microsoft.com/office/officeart/2008/layout/HalfCircleOrganizationChart"/>
    <dgm:cxn modelId="{DCA06644-E303-4F1F-AD25-4489EA6DDD5B}" type="presParOf" srcId="{B29E6BFE-1902-4705-9DF1-9DEB8F26089E}" destId="{DEEEE08F-2722-41C7-90F2-756AC8E56BE3}" srcOrd="2" destOrd="0" presId="urn:microsoft.com/office/officeart/2008/layout/HalfCircleOrganizationChart"/>
    <dgm:cxn modelId="{63659B44-5895-4A8B-8E18-A0BD930A16A3}" type="presParOf" srcId="{B29E6BFE-1902-4705-9DF1-9DEB8F26089E}" destId="{086D5BF8-DAD0-4D24-BFB3-6F54295984C3}" srcOrd="3" destOrd="0" presId="urn:microsoft.com/office/officeart/2008/layout/HalfCircleOrganizationChart"/>
    <dgm:cxn modelId="{1AEEFCA3-7189-4B38-95AA-1CC5E7BCA247}" type="presParOf" srcId="{086D5BF8-DAD0-4D24-BFB3-6F54295984C3}" destId="{AC610CA0-51D1-4167-91CF-1289AC837225}" srcOrd="0" destOrd="0" presId="urn:microsoft.com/office/officeart/2008/layout/HalfCircleOrganizationChart"/>
    <dgm:cxn modelId="{5AC6B0FC-AD07-4E96-BB1A-41B197D6A70E}" type="presParOf" srcId="{AC610CA0-51D1-4167-91CF-1289AC837225}" destId="{D572BF7F-34D9-4D19-B724-9820D55DB323}" srcOrd="0" destOrd="0" presId="urn:microsoft.com/office/officeart/2008/layout/HalfCircleOrganizationChart"/>
    <dgm:cxn modelId="{31DDA5D6-F82B-41B2-888E-9C3300375FED}" type="presParOf" srcId="{AC610CA0-51D1-4167-91CF-1289AC837225}" destId="{87A33B6B-9CAF-4B4C-AC31-C772112AE5E7}" srcOrd="1" destOrd="0" presId="urn:microsoft.com/office/officeart/2008/layout/HalfCircleOrganizationChart"/>
    <dgm:cxn modelId="{F932FDB2-76E9-458D-8B34-0883F9606CBB}" type="presParOf" srcId="{AC610CA0-51D1-4167-91CF-1289AC837225}" destId="{6C08A56C-2874-4CFD-BCB6-054B8BC30111}" srcOrd="2" destOrd="0" presId="urn:microsoft.com/office/officeart/2008/layout/HalfCircleOrganizationChart"/>
    <dgm:cxn modelId="{431C34DD-FDE9-4108-BD03-6A9CE14B78D6}" type="presParOf" srcId="{AC610CA0-51D1-4167-91CF-1289AC837225}" destId="{2E4C4A25-4FD4-4356-BEB8-7A3193D54A8D}" srcOrd="3" destOrd="0" presId="urn:microsoft.com/office/officeart/2008/layout/HalfCircleOrganizationChart"/>
    <dgm:cxn modelId="{5F5BF503-9980-4F9A-8922-64B198A79899}" type="presParOf" srcId="{086D5BF8-DAD0-4D24-BFB3-6F54295984C3}" destId="{47FBDB1A-5698-416D-8976-EB3039C0B11A}" srcOrd="1" destOrd="0" presId="urn:microsoft.com/office/officeart/2008/layout/HalfCircleOrganizationChart"/>
    <dgm:cxn modelId="{16CAC841-143C-429E-A97C-FA519A6F9C9C}" type="presParOf" srcId="{086D5BF8-DAD0-4D24-BFB3-6F54295984C3}" destId="{B3E3133E-2AD6-4EA6-A674-34F1FAE12EA2}" srcOrd="2" destOrd="0" presId="urn:microsoft.com/office/officeart/2008/layout/HalfCircleOrganizationChart"/>
    <dgm:cxn modelId="{1B4D6C7F-311E-4F6C-84EC-390FB0DB195A}" type="presParOf" srcId="{B29E6BFE-1902-4705-9DF1-9DEB8F26089E}" destId="{C53FD613-5C10-4B40-A1DF-BE6594CD1B26}" srcOrd="4" destOrd="0" presId="urn:microsoft.com/office/officeart/2008/layout/HalfCircleOrganizationChart"/>
    <dgm:cxn modelId="{9466CFBE-1BA9-4A54-BC4D-D44B46D2EC59}" type="presParOf" srcId="{B29E6BFE-1902-4705-9DF1-9DEB8F26089E}" destId="{15B581A5-745F-4478-A394-490D7E394131}" srcOrd="5" destOrd="0" presId="urn:microsoft.com/office/officeart/2008/layout/HalfCircleOrganizationChart"/>
    <dgm:cxn modelId="{683F9B82-A24F-4855-A790-BC842EE0151F}" type="presParOf" srcId="{15B581A5-745F-4478-A394-490D7E394131}" destId="{E3B44AB1-D5EF-4764-8297-E7915229001D}" srcOrd="0" destOrd="0" presId="urn:microsoft.com/office/officeart/2008/layout/HalfCircleOrganizationChart"/>
    <dgm:cxn modelId="{2C090841-3D54-4849-B7C2-8A948A22C50F}" type="presParOf" srcId="{E3B44AB1-D5EF-4764-8297-E7915229001D}" destId="{5946906D-BBE8-4ACE-B2FC-24D73F0CAF96}" srcOrd="0" destOrd="0" presId="urn:microsoft.com/office/officeart/2008/layout/HalfCircleOrganizationChart"/>
    <dgm:cxn modelId="{D7568EBA-9A2B-42C4-8A25-7A2591635630}" type="presParOf" srcId="{E3B44AB1-D5EF-4764-8297-E7915229001D}" destId="{585E2BB3-91D9-4902-86C1-B0F53461D64D}" srcOrd="1" destOrd="0" presId="urn:microsoft.com/office/officeart/2008/layout/HalfCircleOrganizationChart"/>
    <dgm:cxn modelId="{DDECBB4E-5599-43F2-9132-8454A08536D6}" type="presParOf" srcId="{E3B44AB1-D5EF-4764-8297-E7915229001D}" destId="{6ABE803C-956D-4977-9967-A2F5F157F5FB}" srcOrd="2" destOrd="0" presId="urn:microsoft.com/office/officeart/2008/layout/HalfCircleOrganizationChart"/>
    <dgm:cxn modelId="{155E3153-DE5A-42BE-8B1B-4B1F5018356F}" type="presParOf" srcId="{E3B44AB1-D5EF-4764-8297-E7915229001D}" destId="{DC7CCC21-CA30-4620-AB5F-A8761DBCD998}" srcOrd="3" destOrd="0" presId="urn:microsoft.com/office/officeart/2008/layout/HalfCircleOrganizationChart"/>
    <dgm:cxn modelId="{3A060B23-6AC7-4370-83EE-1997A86A7203}" type="presParOf" srcId="{15B581A5-745F-4478-A394-490D7E394131}" destId="{DE0D9A96-B044-40AF-8571-1A133B075941}" srcOrd="1" destOrd="0" presId="urn:microsoft.com/office/officeart/2008/layout/HalfCircleOrganizationChart"/>
    <dgm:cxn modelId="{4D8B20CB-5B71-4FD1-9E7E-DF1EF3621AA6}" type="presParOf" srcId="{15B581A5-745F-4478-A394-490D7E394131}" destId="{15601FC9-FD8B-4F91-AE22-C27108539A4D}" srcOrd="2" destOrd="0" presId="urn:microsoft.com/office/officeart/2008/layout/HalfCircleOrganizationChart"/>
    <dgm:cxn modelId="{3042694A-64FB-410C-9964-27AD24EDA935}" type="presParOf" srcId="{A1CA2FF9-B503-4C39-A794-1B0162406C6E}" destId="{E3C9ABD6-71B9-46B0-9CE3-F8CA81D1EC6E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7DC37A4-743F-42FE-BA15-06696BC3EB5C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ID"/>
        </a:p>
      </dgm:t>
    </dgm:pt>
    <dgm:pt modelId="{90FD037A-B3E1-449F-9064-9E17C38004C1}">
      <dgm:prSet phldrT="[Text]"/>
      <dgm:spPr/>
      <dgm:t>
        <a:bodyPr/>
        <a:lstStyle/>
        <a:p>
          <a:r>
            <a:rPr lang="en-US" dirty="0" err="1">
              <a:latin typeface="Century Gothic" panose="020B0502020202020204" pitchFamily="34" charset="0"/>
            </a:rPr>
            <a:t>Fakultas</a:t>
          </a:r>
          <a:r>
            <a:rPr lang="en-US" dirty="0">
              <a:latin typeface="Century Gothic" panose="020B0502020202020204" pitchFamily="34" charset="0"/>
            </a:rPr>
            <a:t> Teknik Universitas B</a:t>
          </a:r>
          <a:endParaRPr lang="en-ID" dirty="0">
            <a:latin typeface="Century Gothic" panose="020B0502020202020204" pitchFamily="34" charset="0"/>
          </a:endParaRPr>
        </a:p>
      </dgm:t>
    </dgm:pt>
    <dgm:pt modelId="{EA370128-C0F1-42DC-90F5-E0314CC85105}" type="parTrans" cxnId="{38878B35-D4EC-4E4B-B3F6-706FFD7B2334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15C65FEA-B8AD-4153-811C-67E34D9DC4D4}" type="sibTrans" cxnId="{38878B35-D4EC-4E4B-B3F6-706FFD7B2334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0B8F386D-AF95-4F4F-B5B9-92D3FCCB194F}">
      <dgm:prSet phldrT="[Text]"/>
      <dgm:spPr/>
      <dgm:t>
        <a:bodyPr/>
        <a:lstStyle/>
        <a:p>
          <a:r>
            <a:rPr lang="en-US" dirty="0">
              <a:latin typeface="Century Gothic" panose="020B0502020202020204" pitchFamily="34" charset="0"/>
            </a:rPr>
            <a:t>Prodi Teknik </a:t>
          </a:r>
          <a:r>
            <a:rPr lang="en-US" dirty="0" err="1">
              <a:latin typeface="Century Gothic" panose="020B0502020202020204" pitchFamily="34" charset="0"/>
            </a:rPr>
            <a:t>Sipil</a:t>
          </a:r>
          <a:r>
            <a:rPr lang="en-US" dirty="0">
              <a:latin typeface="Century Gothic" panose="020B0502020202020204" pitchFamily="34" charset="0"/>
            </a:rPr>
            <a:t> Univ B</a:t>
          </a:r>
          <a:endParaRPr lang="en-ID" dirty="0">
            <a:latin typeface="Century Gothic" panose="020B0502020202020204" pitchFamily="34" charset="0"/>
          </a:endParaRPr>
        </a:p>
      </dgm:t>
    </dgm:pt>
    <dgm:pt modelId="{C46DE473-722D-462A-9DEF-CE356AB922D7}" type="parTrans" cxnId="{10FA28FA-D9AD-4D9F-916A-5FCD0F12F571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1838CAF5-BCB5-408F-A756-51B8D173039C}" type="sibTrans" cxnId="{10FA28FA-D9AD-4D9F-916A-5FCD0F12F571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1C5C8E30-1B7C-4EB3-9686-6204444D7034}">
      <dgm:prSet phldrT="[Text]"/>
      <dgm:spPr/>
      <dgm:t>
        <a:bodyPr/>
        <a:lstStyle/>
        <a:p>
          <a:r>
            <a:rPr lang="en-US" dirty="0">
              <a:latin typeface="Century Gothic" panose="020B0502020202020204" pitchFamily="34" charset="0"/>
            </a:rPr>
            <a:t>Prodi Teknik </a:t>
          </a:r>
          <a:r>
            <a:rPr lang="en-US" dirty="0" err="1">
              <a:latin typeface="Century Gothic" panose="020B0502020202020204" pitchFamily="34" charset="0"/>
            </a:rPr>
            <a:t>Arsitektur</a:t>
          </a:r>
          <a:r>
            <a:rPr lang="en-US" dirty="0">
              <a:latin typeface="Century Gothic" panose="020B0502020202020204" pitchFamily="34" charset="0"/>
            </a:rPr>
            <a:t> Univ B</a:t>
          </a:r>
          <a:endParaRPr lang="en-ID" dirty="0">
            <a:latin typeface="Century Gothic" panose="020B0502020202020204" pitchFamily="34" charset="0"/>
          </a:endParaRPr>
        </a:p>
      </dgm:t>
    </dgm:pt>
    <dgm:pt modelId="{C36D014B-08A6-499C-AE39-81FF41D71003}" type="parTrans" cxnId="{0963305D-16B5-41AB-8B90-853AD755B85F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275D7984-94F4-4753-AE7F-9A4C4BBB78BD}" type="sibTrans" cxnId="{0963305D-16B5-41AB-8B90-853AD755B85F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1EDBA48A-1E98-4A99-B028-DE89FAB0FA9A}">
      <dgm:prSet phldrT="[Text]"/>
      <dgm:spPr/>
      <dgm:t>
        <a:bodyPr/>
        <a:lstStyle/>
        <a:p>
          <a:r>
            <a:rPr lang="en-US" dirty="0">
              <a:latin typeface="Century Gothic" panose="020B0502020202020204" pitchFamily="34" charset="0"/>
            </a:rPr>
            <a:t>Prodi ....... </a:t>
          </a:r>
        </a:p>
        <a:p>
          <a:r>
            <a:rPr lang="en-US" dirty="0">
              <a:latin typeface="Century Gothic" panose="020B0502020202020204" pitchFamily="34" charset="0"/>
            </a:rPr>
            <a:t>Univ B</a:t>
          </a:r>
          <a:endParaRPr lang="en-ID" dirty="0">
            <a:latin typeface="Century Gothic" panose="020B0502020202020204" pitchFamily="34" charset="0"/>
          </a:endParaRPr>
        </a:p>
      </dgm:t>
    </dgm:pt>
    <dgm:pt modelId="{F0CC6CD9-5BD7-4369-9512-20076B7F9575}" type="parTrans" cxnId="{0F7D524A-7C39-4947-97DA-3A7450E4CA18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FE2EED1E-AFE2-42BA-ADC3-4FD185C6A064}" type="sibTrans" cxnId="{0F7D524A-7C39-4947-97DA-3A7450E4CA18}">
      <dgm:prSet/>
      <dgm:spPr/>
      <dgm:t>
        <a:bodyPr/>
        <a:lstStyle/>
        <a:p>
          <a:endParaRPr lang="en-ID">
            <a:latin typeface="Century Gothic" panose="020B0502020202020204" pitchFamily="34" charset="0"/>
          </a:endParaRPr>
        </a:p>
      </dgm:t>
    </dgm:pt>
    <dgm:pt modelId="{A439AC72-E530-44C4-B5DF-ADF994C05F88}" type="pres">
      <dgm:prSet presAssocID="{17DC37A4-743F-42FE-BA15-06696BC3EB5C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A1CA2FF9-B503-4C39-A794-1B0162406C6E}" type="pres">
      <dgm:prSet presAssocID="{90FD037A-B3E1-449F-9064-9E17C38004C1}" presName="hierRoot1" presStyleCnt="0">
        <dgm:presLayoutVars>
          <dgm:hierBranch val="init"/>
        </dgm:presLayoutVars>
      </dgm:prSet>
      <dgm:spPr/>
    </dgm:pt>
    <dgm:pt modelId="{1582E9E1-DDDD-44FA-9C14-434C550490B0}" type="pres">
      <dgm:prSet presAssocID="{90FD037A-B3E1-449F-9064-9E17C38004C1}" presName="rootComposite1" presStyleCnt="0"/>
      <dgm:spPr/>
    </dgm:pt>
    <dgm:pt modelId="{2DEED953-0012-4A45-970A-0FF7C36E9CEF}" type="pres">
      <dgm:prSet presAssocID="{90FD037A-B3E1-449F-9064-9E17C38004C1}" presName="rootText1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F089C51B-F96D-4AF6-BBDF-6851990B52D5}" type="pres">
      <dgm:prSet presAssocID="{90FD037A-B3E1-449F-9064-9E17C38004C1}" presName="topArc1" presStyleLbl="parChTrans1D1" presStyleIdx="0" presStyleCnt="8"/>
      <dgm:spPr/>
    </dgm:pt>
    <dgm:pt modelId="{FF12FCBB-8766-4D75-86C5-4334884194F0}" type="pres">
      <dgm:prSet presAssocID="{90FD037A-B3E1-449F-9064-9E17C38004C1}" presName="bottomArc1" presStyleLbl="parChTrans1D1" presStyleIdx="1" presStyleCnt="8"/>
      <dgm:spPr/>
    </dgm:pt>
    <dgm:pt modelId="{F7DFA4BC-8DAE-43AA-A09B-7CD84D74E0C1}" type="pres">
      <dgm:prSet presAssocID="{90FD037A-B3E1-449F-9064-9E17C38004C1}" presName="topConnNode1" presStyleLbl="node1" presStyleIdx="0" presStyleCnt="0"/>
      <dgm:spPr/>
      <dgm:t>
        <a:bodyPr/>
        <a:lstStyle/>
        <a:p>
          <a:endParaRPr lang="en-US"/>
        </a:p>
      </dgm:t>
    </dgm:pt>
    <dgm:pt modelId="{B29E6BFE-1902-4705-9DF1-9DEB8F26089E}" type="pres">
      <dgm:prSet presAssocID="{90FD037A-B3E1-449F-9064-9E17C38004C1}" presName="hierChild2" presStyleCnt="0"/>
      <dgm:spPr/>
    </dgm:pt>
    <dgm:pt modelId="{62BE305C-99D4-4B61-81A8-CB04A40E9E6C}" type="pres">
      <dgm:prSet presAssocID="{C46DE473-722D-462A-9DEF-CE356AB922D7}" presName="Name28" presStyleLbl="parChTrans1D2" presStyleIdx="0" presStyleCnt="3"/>
      <dgm:spPr/>
      <dgm:t>
        <a:bodyPr/>
        <a:lstStyle/>
        <a:p>
          <a:endParaRPr lang="en-US"/>
        </a:p>
      </dgm:t>
    </dgm:pt>
    <dgm:pt modelId="{DFC5AB97-7895-44E7-9EFA-CB6730251356}" type="pres">
      <dgm:prSet presAssocID="{0B8F386D-AF95-4F4F-B5B9-92D3FCCB194F}" presName="hierRoot2" presStyleCnt="0">
        <dgm:presLayoutVars>
          <dgm:hierBranch val="init"/>
        </dgm:presLayoutVars>
      </dgm:prSet>
      <dgm:spPr/>
    </dgm:pt>
    <dgm:pt modelId="{A6EDCC5A-7CC8-4B49-B7AB-BF343F11D337}" type="pres">
      <dgm:prSet presAssocID="{0B8F386D-AF95-4F4F-B5B9-92D3FCCB194F}" presName="rootComposite2" presStyleCnt="0"/>
      <dgm:spPr/>
    </dgm:pt>
    <dgm:pt modelId="{FAFD4B05-893D-4014-8383-9822B509E88D}" type="pres">
      <dgm:prSet presAssocID="{0B8F386D-AF95-4F4F-B5B9-92D3FCCB194F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0ABD1A63-8CB0-405A-9BDB-CCB703C08F1F}" type="pres">
      <dgm:prSet presAssocID="{0B8F386D-AF95-4F4F-B5B9-92D3FCCB194F}" presName="topArc2" presStyleLbl="parChTrans1D1" presStyleIdx="2" presStyleCnt="8"/>
      <dgm:spPr>
        <a:ln>
          <a:solidFill>
            <a:schemeClr val="accent6"/>
          </a:solidFill>
        </a:ln>
      </dgm:spPr>
    </dgm:pt>
    <dgm:pt modelId="{5AF3F82A-3EDB-4596-B6C2-AC77F0F9904B}" type="pres">
      <dgm:prSet presAssocID="{0B8F386D-AF95-4F4F-B5B9-92D3FCCB194F}" presName="bottomArc2" presStyleLbl="parChTrans1D1" presStyleIdx="3" presStyleCnt="8"/>
      <dgm:spPr>
        <a:ln>
          <a:solidFill>
            <a:schemeClr val="accent6"/>
          </a:solidFill>
        </a:ln>
      </dgm:spPr>
    </dgm:pt>
    <dgm:pt modelId="{FBE393D6-43FA-4A73-8E01-19D080240DC3}" type="pres">
      <dgm:prSet presAssocID="{0B8F386D-AF95-4F4F-B5B9-92D3FCCB194F}" presName="topConnNode2" presStyleLbl="node2" presStyleIdx="0" presStyleCnt="0"/>
      <dgm:spPr/>
      <dgm:t>
        <a:bodyPr/>
        <a:lstStyle/>
        <a:p>
          <a:endParaRPr lang="en-US"/>
        </a:p>
      </dgm:t>
    </dgm:pt>
    <dgm:pt modelId="{84C0CF26-52DD-411C-8D9D-692E5D852CCB}" type="pres">
      <dgm:prSet presAssocID="{0B8F386D-AF95-4F4F-B5B9-92D3FCCB194F}" presName="hierChild4" presStyleCnt="0"/>
      <dgm:spPr/>
    </dgm:pt>
    <dgm:pt modelId="{FA9B679F-B87A-4945-B87F-EB043E9638C2}" type="pres">
      <dgm:prSet presAssocID="{0B8F386D-AF95-4F4F-B5B9-92D3FCCB194F}" presName="hierChild5" presStyleCnt="0"/>
      <dgm:spPr/>
    </dgm:pt>
    <dgm:pt modelId="{DEEEE08F-2722-41C7-90F2-756AC8E56BE3}" type="pres">
      <dgm:prSet presAssocID="{C36D014B-08A6-499C-AE39-81FF41D71003}" presName="Name28" presStyleLbl="parChTrans1D2" presStyleIdx="1" presStyleCnt="3"/>
      <dgm:spPr/>
      <dgm:t>
        <a:bodyPr/>
        <a:lstStyle/>
        <a:p>
          <a:endParaRPr lang="en-US"/>
        </a:p>
      </dgm:t>
    </dgm:pt>
    <dgm:pt modelId="{086D5BF8-DAD0-4D24-BFB3-6F54295984C3}" type="pres">
      <dgm:prSet presAssocID="{1C5C8E30-1B7C-4EB3-9686-6204444D7034}" presName="hierRoot2" presStyleCnt="0">
        <dgm:presLayoutVars>
          <dgm:hierBranch val="init"/>
        </dgm:presLayoutVars>
      </dgm:prSet>
      <dgm:spPr/>
    </dgm:pt>
    <dgm:pt modelId="{AC610CA0-51D1-4167-91CF-1289AC837225}" type="pres">
      <dgm:prSet presAssocID="{1C5C8E30-1B7C-4EB3-9686-6204444D7034}" presName="rootComposite2" presStyleCnt="0"/>
      <dgm:spPr/>
    </dgm:pt>
    <dgm:pt modelId="{D572BF7F-34D9-4D19-B724-9820D55DB323}" type="pres">
      <dgm:prSet presAssocID="{1C5C8E30-1B7C-4EB3-9686-6204444D7034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7A33B6B-9CAF-4B4C-AC31-C772112AE5E7}" type="pres">
      <dgm:prSet presAssocID="{1C5C8E30-1B7C-4EB3-9686-6204444D7034}" presName="topArc2" presStyleLbl="parChTrans1D1" presStyleIdx="4" presStyleCnt="8"/>
      <dgm:spPr>
        <a:ln>
          <a:solidFill>
            <a:schemeClr val="accent6"/>
          </a:solidFill>
        </a:ln>
      </dgm:spPr>
    </dgm:pt>
    <dgm:pt modelId="{6C08A56C-2874-4CFD-BCB6-054B8BC30111}" type="pres">
      <dgm:prSet presAssocID="{1C5C8E30-1B7C-4EB3-9686-6204444D7034}" presName="bottomArc2" presStyleLbl="parChTrans1D1" presStyleIdx="5" presStyleCnt="8"/>
      <dgm:spPr>
        <a:ln>
          <a:solidFill>
            <a:schemeClr val="accent6"/>
          </a:solidFill>
        </a:ln>
      </dgm:spPr>
    </dgm:pt>
    <dgm:pt modelId="{2E4C4A25-4FD4-4356-BEB8-7A3193D54A8D}" type="pres">
      <dgm:prSet presAssocID="{1C5C8E30-1B7C-4EB3-9686-6204444D7034}" presName="topConnNode2" presStyleLbl="node2" presStyleIdx="0" presStyleCnt="0"/>
      <dgm:spPr/>
      <dgm:t>
        <a:bodyPr/>
        <a:lstStyle/>
        <a:p>
          <a:endParaRPr lang="en-US"/>
        </a:p>
      </dgm:t>
    </dgm:pt>
    <dgm:pt modelId="{47FBDB1A-5698-416D-8976-EB3039C0B11A}" type="pres">
      <dgm:prSet presAssocID="{1C5C8E30-1B7C-4EB3-9686-6204444D7034}" presName="hierChild4" presStyleCnt="0"/>
      <dgm:spPr/>
    </dgm:pt>
    <dgm:pt modelId="{B3E3133E-2AD6-4EA6-A674-34F1FAE12EA2}" type="pres">
      <dgm:prSet presAssocID="{1C5C8E30-1B7C-4EB3-9686-6204444D7034}" presName="hierChild5" presStyleCnt="0"/>
      <dgm:spPr/>
    </dgm:pt>
    <dgm:pt modelId="{C53FD613-5C10-4B40-A1DF-BE6594CD1B26}" type="pres">
      <dgm:prSet presAssocID="{F0CC6CD9-5BD7-4369-9512-20076B7F9575}" presName="Name28" presStyleLbl="parChTrans1D2" presStyleIdx="2" presStyleCnt="3"/>
      <dgm:spPr/>
      <dgm:t>
        <a:bodyPr/>
        <a:lstStyle/>
        <a:p>
          <a:endParaRPr lang="en-US"/>
        </a:p>
      </dgm:t>
    </dgm:pt>
    <dgm:pt modelId="{15B581A5-745F-4478-A394-490D7E394131}" type="pres">
      <dgm:prSet presAssocID="{1EDBA48A-1E98-4A99-B028-DE89FAB0FA9A}" presName="hierRoot2" presStyleCnt="0">
        <dgm:presLayoutVars>
          <dgm:hierBranch val="init"/>
        </dgm:presLayoutVars>
      </dgm:prSet>
      <dgm:spPr/>
    </dgm:pt>
    <dgm:pt modelId="{E3B44AB1-D5EF-4764-8297-E7915229001D}" type="pres">
      <dgm:prSet presAssocID="{1EDBA48A-1E98-4A99-B028-DE89FAB0FA9A}" presName="rootComposite2" presStyleCnt="0"/>
      <dgm:spPr/>
    </dgm:pt>
    <dgm:pt modelId="{5946906D-BBE8-4ACE-B2FC-24D73F0CAF96}" type="pres">
      <dgm:prSet presAssocID="{1EDBA48A-1E98-4A99-B028-DE89FAB0FA9A}" presName="rootText2" presStyleLbl="alignAcc1" presStyleIdx="0" presStyleCnt="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85E2BB3-91D9-4902-86C1-B0F53461D64D}" type="pres">
      <dgm:prSet presAssocID="{1EDBA48A-1E98-4A99-B028-DE89FAB0FA9A}" presName="topArc2" presStyleLbl="parChTrans1D1" presStyleIdx="6" presStyleCnt="8"/>
      <dgm:spPr>
        <a:ln>
          <a:solidFill>
            <a:schemeClr val="accent6"/>
          </a:solidFill>
        </a:ln>
      </dgm:spPr>
    </dgm:pt>
    <dgm:pt modelId="{6ABE803C-956D-4977-9967-A2F5F157F5FB}" type="pres">
      <dgm:prSet presAssocID="{1EDBA48A-1E98-4A99-B028-DE89FAB0FA9A}" presName="bottomArc2" presStyleLbl="parChTrans1D1" presStyleIdx="7" presStyleCnt="8"/>
      <dgm:spPr>
        <a:ln>
          <a:solidFill>
            <a:schemeClr val="accent6"/>
          </a:solidFill>
        </a:ln>
      </dgm:spPr>
    </dgm:pt>
    <dgm:pt modelId="{DC7CCC21-CA30-4620-AB5F-A8761DBCD998}" type="pres">
      <dgm:prSet presAssocID="{1EDBA48A-1E98-4A99-B028-DE89FAB0FA9A}" presName="topConnNode2" presStyleLbl="node2" presStyleIdx="0" presStyleCnt="0"/>
      <dgm:spPr/>
      <dgm:t>
        <a:bodyPr/>
        <a:lstStyle/>
        <a:p>
          <a:endParaRPr lang="en-US"/>
        </a:p>
      </dgm:t>
    </dgm:pt>
    <dgm:pt modelId="{DE0D9A96-B044-40AF-8571-1A133B075941}" type="pres">
      <dgm:prSet presAssocID="{1EDBA48A-1E98-4A99-B028-DE89FAB0FA9A}" presName="hierChild4" presStyleCnt="0"/>
      <dgm:spPr/>
    </dgm:pt>
    <dgm:pt modelId="{15601FC9-FD8B-4F91-AE22-C27108539A4D}" type="pres">
      <dgm:prSet presAssocID="{1EDBA48A-1E98-4A99-B028-DE89FAB0FA9A}" presName="hierChild5" presStyleCnt="0"/>
      <dgm:spPr/>
    </dgm:pt>
    <dgm:pt modelId="{E3C9ABD6-71B9-46B0-9CE3-F8CA81D1EC6E}" type="pres">
      <dgm:prSet presAssocID="{90FD037A-B3E1-449F-9064-9E17C38004C1}" presName="hierChild3" presStyleCnt="0"/>
      <dgm:spPr/>
    </dgm:pt>
  </dgm:ptLst>
  <dgm:cxnLst>
    <dgm:cxn modelId="{CF48E209-BEE7-403D-9DAC-2C18302C5769}" type="presOf" srcId="{90FD037A-B3E1-449F-9064-9E17C38004C1}" destId="{F7DFA4BC-8DAE-43AA-A09B-7CD84D74E0C1}" srcOrd="1" destOrd="0" presId="urn:microsoft.com/office/officeart/2008/layout/HalfCircleOrganizationChart"/>
    <dgm:cxn modelId="{0F7D524A-7C39-4947-97DA-3A7450E4CA18}" srcId="{90FD037A-B3E1-449F-9064-9E17C38004C1}" destId="{1EDBA48A-1E98-4A99-B028-DE89FAB0FA9A}" srcOrd="2" destOrd="0" parTransId="{F0CC6CD9-5BD7-4369-9512-20076B7F9575}" sibTransId="{FE2EED1E-AFE2-42BA-ADC3-4FD185C6A064}"/>
    <dgm:cxn modelId="{3EC9113D-C39D-4DD7-ACC9-5BAF9529680C}" type="presOf" srcId="{C36D014B-08A6-499C-AE39-81FF41D71003}" destId="{DEEEE08F-2722-41C7-90F2-756AC8E56BE3}" srcOrd="0" destOrd="0" presId="urn:microsoft.com/office/officeart/2008/layout/HalfCircleOrganizationChart"/>
    <dgm:cxn modelId="{D1BE5E74-8B15-452A-8E40-8EF4876A380B}" type="presOf" srcId="{0B8F386D-AF95-4F4F-B5B9-92D3FCCB194F}" destId="{FBE393D6-43FA-4A73-8E01-19D080240DC3}" srcOrd="1" destOrd="0" presId="urn:microsoft.com/office/officeart/2008/layout/HalfCircleOrganizationChart"/>
    <dgm:cxn modelId="{10FA28FA-D9AD-4D9F-916A-5FCD0F12F571}" srcId="{90FD037A-B3E1-449F-9064-9E17C38004C1}" destId="{0B8F386D-AF95-4F4F-B5B9-92D3FCCB194F}" srcOrd="0" destOrd="0" parTransId="{C46DE473-722D-462A-9DEF-CE356AB922D7}" sibTransId="{1838CAF5-BCB5-408F-A756-51B8D173039C}"/>
    <dgm:cxn modelId="{38878B35-D4EC-4E4B-B3F6-706FFD7B2334}" srcId="{17DC37A4-743F-42FE-BA15-06696BC3EB5C}" destId="{90FD037A-B3E1-449F-9064-9E17C38004C1}" srcOrd="0" destOrd="0" parTransId="{EA370128-C0F1-42DC-90F5-E0314CC85105}" sibTransId="{15C65FEA-B8AD-4153-811C-67E34D9DC4D4}"/>
    <dgm:cxn modelId="{6F135F1A-6915-4683-B845-9DEBDC1D1F25}" type="presOf" srcId="{17DC37A4-743F-42FE-BA15-06696BC3EB5C}" destId="{A439AC72-E530-44C4-B5DF-ADF994C05F88}" srcOrd="0" destOrd="0" presId="urn:microsoft.com/office/officeart/2008/layout/HalfCircleOrganizationChart"/>
    <dgm:cxn modelId="{C6ED8B69-C105-4F0B-B204-9417F32CB02A}" type="presOf" srcId="{0B8F386D-AF95-4F4F-B5B9-92D3FCCB194F}" destId="{FAFD4B05-893D-4014-8383-9822B509E88D}" srcOrd="0" destOrd="0" presId="urn:microsoft.com/office/officeart/2008/layout/HalfCircleOrganizationChart"/>
    <dgm:cxn modelId="{E3BE9EE9-94AE-4ED3-88D5-2B7A1E6CFDEC}" type="presOf" srcId="{F0CC6CD9-5BD7-4369-9512-20076B7F9575}" destId="{C53FD613-5C10-4B40-A1DF-BE6594CD1B26}" srcOrd="0" destOrd="0" presId="urn:microsoft.com/office/officeart/2008/layout/HalfCircleOrganizationChart"/>
    <dgm:cxn modelId="{982B7266-7930-4F29-B857-F5C22E31F82B}" type="presOf" srcId="{1EDBA48A-1E98-4A99-B028-DE89FAB0FA9A}" destId="{5946906D-BBE8-4ACE-B2FC-24D73F0CAF96}" srcOrd="0" destOrd="0" presId="urn:microsoft.com/office/officeart/2008/layout/HalfCircleOrganizationChart"/>
    <dgm:cxn modelId="{2DEED4ED-6DAA-4423-87EC-9A4AF6C80AEE}" type="presOf" srcId="{1C5C8E30-1B7C-4EB3-9686-6204444D7034}" destId="{2E4C4A25-4FD4-4356-BEB8-7A3193D54A8D}" srcOrd="1" destOrd="0" presId="urn:microsoft.com/office/officeart/2008/layout/HalfCircleOrganizationChart"/>
    <dgm:cxn modelId="{FD336262-E2F4-4D87-B812-3A508AF375FB}" type="presOf" srcId="{90FD037A-B3E1-449F-9064-9E17C38004C1}" destId="{2DEED953-0012-4A45-970A-0FF7C36E9CEF}" srcOrd="0" destOrd="0" presId="urn:microsoft.com/office/officeart/2008/layout/HalfCircleOrganizationChart"/>
    <dgm:cxn modelId="{F143FDC4-1CCD-460D-8D70-D38A3E341378}" type="presOf" srcId="{C46DE473-722D-462A-9DEF-CE356AB922D7}" destId="{62BE305C-99D4-4B61-81A8-CB04A40E9E6C}" srcOrd="0" destOrd="0" presId="urn:microsoft.com/office/officeart/2008/layout/HalfCircleOrganizationChart"/>
    <dgm:cxn modelId="{0880C7EB-2735-4E88-AAD8-1380D18B72B3}" type="presOf" srcId="{1C5C8E30-1B7C-4EB3-9686-6204444D7034}" destId="{D572BF7F-34D9-4D19-B724-9820D55DB323}" srcOrd="0" destOrd="0" presId="urn:microsoft.com/office/officeart/2008/layout/HalfCircleOrganizationChart"/>
    <dgm:cxn modelId="{7DA47B60-D212-4703-AA47-0264AC6BED7B}" type="presOf" srcId="{1EDBA48A-1E98-4A99-B028-DE89FAB0FA9A}" destId="{DC7CCC21-CA30-4620-AB5F-A8761DBCD998}" srcOrd="1" destOrd="0" presId="urn:microsoft.com/office/officeart/2008/layout/HalfCircleOrganizationChart"/>
    <dgm:cxn modelId="{0963305D-16B5-41AB-8B90-853AD755B85F}" srcId="{90FD037A-B3E1-449F-9064-9E17C38004C1}" destId="{1C5C8E30-1B7C-4EB3-9686-6204444D7034}" srcOrd="1" destOrd="0" parTransId="{C36D014B-08A6-499C-AE39-81FF41D71003}" sibTransId="{275D7984-94F4-4753-AE7F-9A4C4BBB78BD}"/>
    <dgm:cxn modelId="{7DF53EA5-16E0-47F3-BFD8-4DA9E5636261}" type="presParOf" srcId="{A439AC72-E530-44C4-B5DF-ADF994C05F88}" destId="{A1CA2FF9-B503-4C39-A794-1B0162406C6E}" srcOrd="0" destOrd="0" presId="urn:microsoft.com/office/officeart/2008/layout/HalfCircleOrganizationChart"/>
    <dgm:cxn modelId="{CF2BBF53-B182-4F83-83D9-3D64666D1D91}" type="presParOf" srcId="{A1CA2FF9-B503-4C39-A794-1B0162406C6E}" destId="{1582E9E1-DDDD-44FA-9C14-434C550490B0}" srcOrd="0" destOrd="0" presId="urn:microsoft.com/office/officeart/2008/layout/HalfCircleOrganizationChart"/>
    <dgm:cxn modelId="{4E1AB74D-4884-43FB-AD31-E27C58759295}" type="presParOf" srcId="{1582E9E1-DDDD-44FA-9C14-434C550490B0}" destId="{2DEED953-0012-4A45-970A-0FF7C36E9CEF}" srcOrd="0" destOrd="0" presId="urn:microsoft.com/office/officeart/2008/layout/HalfCircleOrganizationChart"/>
    <dgm:cxn modelId="{F1BAC9D0-842D-41A2-96B7-B39316B19E79}" type="presParOf" srcId="{1582E9E1-DDDD-44FA-9C14-434C550490B0}" destId="{F089C51B-F96D-4AF6-BBDF-6851990B52D5}" srcOrd="1" destOrd="0" presId="urn:microsoft.com/office/officeart/2008/layout/HalfCircleOrganizationChart"/>
    <dgm:cxn modelId="{0C2C10DB-C684-463D-BA60-5F933FCFCA0F}" type="presParOf" srcId="{1582E9E1-DDDD-44FA-9C14-434C550490B0}" destId="{FF12FCBB-8766-4D75-86C5-4334884194F0}" srcOrd="2" destOrd="0" presId="urn:microsoft.com/office/officeart/2008/layout/HalfCircleOrganizationChart"/>
    <dgm:cxn modelId="{4282406C-8B7A-4D05-A45D-CD363CF75679}" type="presParOf" srcId="{1582E9E1-DDDD-44FA-9C14-434C550490B0}" destId="{F7DFA4BC-8DAE-43AA-A09B-7CD84D74E0C1}" srcOrd="3" destOrd="0" presId="urn:microsoft.com/office/officeart/2008/layout/HalfCircleOrganizationChart"/>
    <dgm:cxn modelId="{950383E2-2099-4592-8A58-5A72556A355A}" type="presParOf" srcId="{A1CA2FF9-B503-4C39-A794-1B0162406C6E}" destId="{B29E6BFE-1902-4705-9DF1-9DEB8F26089E}" srcOrd="1" destOrd="0" presId="urn:microsoft.com/office/officeart/2008/layout/HalfCircleOrganizationChart"/>
    <dgm:cxn modelId="{F07FBCF1-71D4-4E90-AB53-8B669E6B29DA}" type="presParOf" srcId="{B29E6BFE-1902-4705-9DF1-9DEB8F26089E}" destId="{62BE305C-99D4-4B61-81A8-CB04A40E9E6C}" srcOrd="0" destOrd="0" presId="urn:microsoft.com/office/officeart/2008/layout/HalfCircleOrganizationChart"/>
    <dgm:cxn modelId="{2D3DFC9D-5124-494C-9FEB-8C68820293CC}" type="presParOf" srcId="{B29E6BFE-1902-4705-9DF1-9DEB8F26089E}" destId="{DFC5AB97-7895-44E7-9EFA-CB6730251356}" srcOrd="1" destOrd="0" presId="urn:microsoft.com/office/officeart/2008/layout/HalfCircleOrganizationChart"/>
    <dgm:cxn modelId="{6DB993ED-C202-4947-8D3B-513D903F03A8}" type="presParOf" srcId="{DFC5AB97-7895-44E7-9EFA-CB6730251356}" destId="{A6EDCC5A-7CC8-4B49-B7AB-BF343F11D337}" srcOrd="0" destOrd="0" presId="urn:microsoft.com/office/officeart/2008/layout/HalfCircleOrganizationChart"/>
    <dgm:cxn modelId="{7D92E14C-B371-4E8F-B21C-9EC76F10345E}" type="presParOf" srcId="{A6EDCC5A-7CC8-4B49-B7AB-BF343F11D337}" destId="{FAFD4B05-893D-4014-8383-9822B509E88D}" srcOrd="0" destOrd="0" presId="urn:microsoft.com/office/officeart/2008/layout/HalfCircleOrganizationChart"/>
    <dgm:cxn modelId="{532CC510-E0BD-4F7A-B00E-486327E39399}" type="presParOf" srcId="{A6EDCC5A-7CC8-4B49-B7AB-BF343F11D337}" destId="{0ABD1A63-8CB0-405A-9BDB-CCB703C08F1F}" srcOrd="1" destOrd="0" presId="urn:microsoft.com/office/officeart/2008/layout/HalfCircleOrganizationChart"/>
    <dgm:cxn modelId="{87D36999-D157-45B8-8B5A-8325C8CDB025}" type="presParOf" srcId="{A6EDCC5A-7CC8-4B49-B7AB-BF343F11D337}" destId="{5AF3F82A-3EDB-4596-B6C2-AC77F0F9904B}" srcOrd="2" destOrd="0" presId="urn:microsoft.com/office/officeart/2008/layout/HalfCircleOrganizationChart"/>
    <dgm:cxn modelId="{6495DC51-9A79-4133-A492-AF430218AA6C}" type="presParOf" srcId="{A6EDCC5A-7CC8-4B49-B7AB-BF343F11D337}" destId="{FBE393D6-43FA-4A73-8E01-19D080240DC3}" srcOrd="3" destOrd="0" presId="urn:microsoft.com/office/officeart/2008/layout/HalfCircleOrganizationChart"/>
    <dgm:cxn modelId="{0C9FEFBA-39F9-4F40-B1B0-0366CBEAA4AE}" type="presParOf" srcId="{DFC5AB97-7895-44E7-9EFA-CB6730251356}" destId="{84C0CF26-52DD-411C-8D9D-692E5D852CCB}" srcOrd="1" destOrd="0" presId="urn:microsoft.com/office/officeart/2008/layout/HalfCircleOrganizationChart"/>
    <dgm:cxn modelId="{40651035-3E83-4768-B5DF-A12FAC045E51}" type="presParOf" srcId="{DFC5AB97-7895-44E7-9EFA-CB6730251356}" destId="{FA9B679F-B87A-4945-B87F-EB043E9638C2}" srcOrd="2" destOrd="0" presId="urn:microsoft.com/office/officeart/2008/layout/HalfCircleOrganizationChart"/>
    <dgm:cxn modelId="{4D09C0D4-13C3-4A1F-9C19-0BCEBB4832FF}" type="presParOf" srcId="{B29E6BFE-1902-4705-9DF1-9DEB8F26089E}" destId="{DEEEE08F-2722-41C7-90F2-756AC8E56BE3}" srcOrd="2" destOrd="0" presId="urn:microsoft.com/office/officeart/2008/layout/HalfCircleOrganizationChart"/>
    <dgm:cxn modelId="{5AE91D5C-44BF-4BC8-B165-E295F9A48A8C}" type="presParOf" srcId="{B29E6BFE-1902-4705-9DF1-9DEB8F26089E}" destId="{086D5BF8-DAD0-4D24-BFB3-6F54295984C3}" srcOrd="3" destOrd="0" presId="urn:microsoft.com/office/officeart/2008/layout/HalfCircleOrganizationChart"/>
    <dgm:cxn modelId="{3C6AD0FD-BD4D-4FF7-B5F3-F7C205E03796}" type="presParOf" srcId="{086D5BF8-DAD0-4D24-BFB3-6F54295984C3}" destId="{AC610CA0-51D1-4167-91CF-1289AC837225}" srcOrd="0" destOrd="0" presId="urn:microsoft.com/office/officeart/2008/layout/HalfCircleOrganizationChart"/>
    <dgm:cxn modelId="{6EF02B49-2676-4417-9603-242D882F40DB}" type="presParOf" srcId="{AC610CA0-51D1-4167-91CF-1289AC837225}" destId="{D572BF7F-34D9-4D19-B724-9820D55DB323}" srcOrd="0" destOrd="0" presId="urn:microsoft.com/office/officeart/2008/layout/HalfCircleOrganizationChart"/>
    <dgm:cxn modelId="{7164FEED-605B-4C82-A8DE-5258A5A42C4A}" type="presParOf" srcId="{AC610CA0-51D1-4167-91CF-1289AC837225}" destId="{87A33B6B-9CAF-4B4C-AC31-C772112AE5E7}" srcOrd="1" destOrd="0" presId="urn:microsoft.com/office/officeart/2008/layout/HalfCircleOrganizationChart"/>
    <dgm:cxn modelId="{E3E3E5B6-1921-499F-8B2D-3CD211B54BCF}" type="presParOf" srcId="{AC610CA0-51D1-4167-91CF-1289AC837225}" destId="{6C08A56C-2874-4CFD-BCB6-054B8BC30111}" srcOrd="2" destOrd="0" presId="urn:microsoft.com/office/officeart/2008/layout/HalfCircleOrganizationChart"/>
    <dgm:cxn modelId="{12E50FD8-DF85-4D5F-BE3F-3CD56B388494}" type="presParOf" srcId="{AC610CA0-51D1-4167-91CF-1289AC837225}" destId="{2E4C4A25-4FD4-4356-BEB8-7A3193D54A8D}" srcOrd="3" destOrd="0" presId="urn:microsoft.com/office/officeart/2008/layout/HalfCircleOrganizationChart"/>
    <dgm:cxn modelId="{22E8ED89-C5FA-44A7-972A-6434D0F49592}" type="presParOf" srcId="{086D5BF8-DAD0-4D24-BFB3-6F54295984C3}" destId="{47FBDB1A-5698-416D-8976-EB3039C0B11A}" srcOrd="1" destOrd="0" presId="urn:microsoft.com/office/officeart/2008/layout/HalfCircleOrganizationChart"/>
    <dgm:cxn modelId="{8622B40B-9FF3-4A97-8E77-E18ED7A34165}" type="presParOf" srcId="{086D5BF8-DAD0-4D24-BFB3-6F54295984C3}" destId="{B3E3133E-2AD6-4EA6-A674-34F1FAE12EA2}" srcOrd="2" destOrd="0" presId="urn:microsoft.com/office/officeart/2008/layout/HalfCircleOrganizationChart"/>
    <dgm:cxn modelId="{F0ACACA6-3CB5-491D-A06B-8DF927B019FF}" type="presParOf" srcId="{B29E6BFE-1902-4705-9DF1-9DEB8F26089E}" destId="{C53FD613-5C10-4B40-A1DF-BE6594CD1B26}" srcOrd="4" destOrd="0" presId="urn:microsoft.com/office/officeart/2008/layout/HalfCircleOrganizationChart"/>
    <dgm:cxn modelId="{7934350F-A4CD-460C-82ED-77A1B059D217}" type="presParOf" srcId="{B29E6BFE-1902-4705-9DF1-9DEB8F26089E}" destId="{15B581A5-745F-4478-A394-490D7E394131}" srcOrd="5" destOrd="0" presId="urn:microsoft.com/office/officeart/2008/layout/HalfCircleOrganizationChart"/>
    <dgm:cxn modelId="{AF25BC58-F973-40EA-9BA7-9744A3A2EF0E}" type="presParOf" srcId="{15B581A5-745F-4478-A394-490D7E394131}" destId="{E3B44AB1-D5EF-4764-8297-E7915229001D}" srcOrd="0" destOrd="0" presId="urn:microsoft.com/office/officeart/2008/layout/HalfCircleOrganizationChart"/>
    <dgm:cxn modelId="{891F04B7-45CD-4AC2-840D-B5BF053673A2}" type="presParOf" srcId="{E3B44AB1-D5EF-4764-8297-E7915229001D}" destId="{5946906D-BBE8-4ACE-B2FC-24D73F0CAF96}" srcOrd="0" destOrd="0" presId="urn:microsoft.com/office/officeart/2008/layout/HalfCircleOrganizationChart"/>
    <dgm:cxn modelId="{60C1CE64-933B-47D6-A88B-FA69141D8882}" type="presParOf" srcId="{E3B44AB1-D5EF-4764-8297-E7915229001D}" destId="{585E2BB3-91D9-4902-86C1-B0F53461D64D}" srcOrd="1" destOrd="0" presId="urn:microsoft.com/office/officeart/2008/layout/HalfCircleOrganizationChart"/>
    <dgm:cxn modelId="{9ECA1E0D-C750-4E03-BAC9-6A0590B3B430}" type="presParOf" srcId="{E3B44AB1-D5EF-4764-8297-E7915229001D}" destId="{6ABE803C-956D-4977-9967-A2F5F157F5FB}" srcOrd="2" destOrd="0" presId="urn:microsoft.com/office/officeart/2008/layout/HalfCircleOrganizationChart"/>
    <dgm:cxn modelId="{35E7A9A0-1BD3-4C28-B168-973118ED69D5}" type="presParOf" srcId="{E3B44AB1-D5EF-4764-8297-E7915229001D}" destId="{DC7CCC21-CA30-4620-AB5F-A8761DBCD998}" srcOrd="3" destOrd="0" presId="urn:microsoft.com/office/officeart/2008/layout/HalfCircleOrganizationChart"/>
    <dgm:cxn modelId="{A39AE962-F5A5-41D1-A304-6DF875C5A65C}" type="presParOf" srcId="{15B581A5-745F-4478-A394-490D7E394131}" destId="{DE0D9A96-B044-40AF-8571-1A133B075941}" srcOrd="1" destOrd="0" presId="urn:microsoft.com/office/officeart/2008/layout/HalfCircleOrganizationChart"/>
    <dgm:cxn modelId="{6F0D5ED3-8639-4C23-882E-CAA9F0AFAE5B}" type="presParOf" srcId="{15B581A5-745F-4478-A394-490D7E394131}" destId="{15601FC9-FD8B-4F91-AE22-C27108539A4D}" srcOrd="2" destOrd="0" presId="urn:microsoft.com/office/officeart/2008/layout/HalfCircleOrganizationChart"/>
    <dgm:cxn modelId="{D9985B9D-85B5-48CF-AD2D-9AC3D7B294CC}" type="presParOf" srcId="{A1CA2FF9-B503-4C39-A794-1B0162406C6E}" destId="{E3C9ABD6-71B9-46B0-9CE3-F8CA81D1EC6E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383F39C-C5B1-4AAD-A517-B7AD66EC61C0}" type="doc">
      <dgm:prSet loTypeId="urn:microsoft.com/office/officeart/2008/layout/VerticalCurvedList" loCatId="list" qsTypeId="urn:microsoft.com/office/officeart/2005/8/quickstyle/simple1" qsCatId="simple" csTypeId="urn:microsoft.com/office/officeart/2005/8/colors/accent3_4" csCatId="accent3" phldr="1"/>
      <dgm:spPr/>
      <dgm:t>
        <a:bodyPr/>
        <a:lstStyle/>
        <a:p>
          <a:endParaRPr lang="id-ID"/>
        </a:p>
      </dgm:t>
    </dgm:pt>
    <dgm:pt modelId="{025513C9-2F35-48E1-8EAD-7FFF0EC69CA6}">
      <dgm:prSet phldrT="[Text]" custT="1"/>
      <dgm:spPr>
        <a:solidFill>
          <a:schemeClr val="bg1"/>
        </a:solidFill>
        <a:ln>
          <a:noFill/>
        </a:ln>
      </dgm:spPr>
      <dgm:t>
        <a:bodyPr/>
        <a:lstStyle/>
        <a:p>
          <a:r>
            <a:rPr lang="en-US" sz="1600" b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Kementerian/Lembaga/ PemProv/ PemKab/ PemKot</a:t>
          </a:r>
          <a:endParaRPr lang="id-ID" sz="1600" b="1" dirty="0">
            <a:solidFill>
              <a:schemeClr val="tx1"/>
            </a:solidFill>
          </a:endParaRPr>
        </a:p>
      </dgm:t>
    </dgm:pt>
    <dgm:pt modelId="{930B7017-70BB-4CE1-838D-5495975953BA}" type="parTrans" cxnId="{D5E5AB32-044E-4BA2-AE12-82E8F6284951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954FCAD5-12CB-4E83-A599-08B418DD2F1D}" type="sibTrans" cxnId="{D5E5AB32-044E-4BA2-AE12-82E8F6284951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56623C6D-FD2F-4B4A-9C5C-06F9017A2AD0}">
      <dgm:prSet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r>
            <a:rPr lang="fi-FI" sz="1600" b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Asosiasi profesi / BU /rantai pasok Jasa Konstruksi</a:t>
          </a:r>
          <a:endParaRPr lang="fi-FI" sz="1600" b="1" dirty="0">
            <a:solidFill>
              <a:schemeClr val="tx1"/>
            </a:solidFill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7D082060-36D2-4838-8049-C4C4B9D040D4}" type="parTrans" cxnId="{858D69F5-922A-49BE-870A-1CD790A4A13C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86621DD8-3C4E-4D21-96DC-48D1BEAD3290}" type="sibTrans" cxnId="{858D69F5-922A-49BE-870A-1CD790A4A13C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AAB9227E-307F-48A8-ACED-0A74273A4D06}">
      <dgm:prSet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r>
            <a:rPr lang="en-US" sz="1600" b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Lembaga Pendidikan dan Pelatihan Kerja</a:t>
          </a:r>
          <a:endParaRPr lang="en-US" sz="1600" b="1" dirty="0">
            <a:solidFill>
              <a:schemeClr val="tx1"/>
            </a:solidFill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696B9C5A-071E-4050-9024-A2A400B0A021}" type="parTrans" cxnId="{EE1C65DB-EBDD-4D76-8F5C-33B901F03735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1FBDD4DB-CA63-4854-912C-25CF006A39F6}" type="sibTrans" cxnId="{EE1C65DB-EBDD-4D76-8F5C-33B901F03735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922AB41D-2F14-40CC-AFDC-0C9D9FA3AF3F}">
      <dgm:prSet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r>
            <a:rPr lang="en-US" sz="1600" b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Konsultan dan Kontraktor pekerjaan konstruksi</a:t>
          </a:r>
          <a:endParaRPr lang="en-US" sz="1600" b="1" dirty="0">
            <a:solidFill>
              <a:schemeClr val="tx1"/>
            </a:solidFill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2EEB8DF1-AFBE-4AEC-86AD-28D4A2BCF02B}" type="parTrans" cxnId="{433C6364-784A-467F-8244-2114F5D58349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BEAE5A43-351F-4BC7-AACB-ADEC5008B4E0}" type="sibTrans" cxnId="{433C6364-784A-467F-8244-2114F5D58349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D53CBCF8-CBC2-4950-B568-C789C7E0BA01}">
      <dgm:prSet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r>
            <a:rPr lang="en-US" sz="1600" b="1" dirty="0" err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Perakit</a:t>
          </a:r>
          <a:r>
            <a:rPr lang="en-US"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 (Fabricator), Distributor, </a:t>
          </a:r>
          <a:r>
            <a:rPr lang="en-US" sz="1600" b="1" dirty="0" err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Aplikator</a:t>
          </a:r>
          <a:r>
            <a:rPr lang="en-US" sz="1600" b="1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 MPK</a:t>
          </a:r>
        </a:p>
      </dgm:t>
    </dgm:pt>
    <dgm:pt modelId="{1846D094-44BD-4C03-944E-8D40BDFA4EF1}" type="parTrans" cxnId="{C77D9231-AF46-4607-AEC0-0D2FBAFD0404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D02DAF58-C0D3-4C8D-9245-08658FB5E86D}" type="sibTrans" cxnId="{C77D9231-AF46-4607-AEC0-0D2FBAFD0404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EA17C2C8-C0D5-4CE9-B501-A5FC4B6C6C3C}">
      <dgm:prSet custT="1"/>
      <dgm:spPr>
        <a:solidFill>
          <a:schemeClr val="bg1">
            <a:lumMod val="95000"/>
          </a:schemeClr>
        </a:solidFill>
        <a:ln>
          <a:noFill/>
        </a:ln>
      </dgm:spPr>
      <dgm:t>
        <a:bodyPr/>
        <a:lstStyle/>
        <a:p>
          <a:r>
            <a:rPr lang="en-US" sz="1600" b="1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rPr>
            <a:t>Lembaga/Organisasi lain dengan visi pengembangan SDM jasa konstruksi, berbadan hukum, memiliki struktur organisasi yang jelas, dan mampu menyelenggarakan kegiatan PKB</a:t>
          </a:r>
          <a:endParaRPr lang="en-US" sz="1600" b="1" dirty="0">
            <a:solidFill>
              <a:schemeClr val="tx1"/>
            </a:solidFill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9BE54F24-3A88-4EB7-BB94-8FBAC88256DB}" type="parTrans" cxnId="{0296DA25-05A8-40F5-8EC6-939BEF42FE38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6D078235-CFCF-4D00-87D4-EC3FD60E8BE3}" type="sibTrans" cxnId="{0296DA25-05A8-40F5-8EC6-939BEF42FE38}">
      <dgm:prSet/>
      <dgm:spPr/>
      <dgm:t>
        <a:bodyPr/>
        <a:lstStyle/>
        <a:p>
          <a:endParaRPr lang="id-ID" sz="2400" b="1">
            <a:solidFill>
              <a:schemeClr val="tx1"/>
            </a:solidFill>
          </a:endParaRPr>
        </a:p>
      </dgm:t>
    </dgm:pt>
    <dgm:pt modelId="{415B1697-793F-467C-86DE-73E2078A65FA}" type="pres">
      <dgm:prSet presAssocID="{8383F39C-C5B1-4AAD-A517-B7AD66EC61C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C1B92FDD-6257-46A8-B046-D22494E47884}" type="pres">
      <dgm:prSet presAssocID="{8383F39C-C5B1-4AAD-A517-B7AD66EC61C0}" presName="Name1" presStyleCnt="0"/>
      <dgm:spPr/>
    </dgm:pt>
    <dgm:pt modelId="{C6B1C435-37ED-4007-98B3-3DD426A9E6C4}" type="pres">
      <dgm:prSet presAssocID="{8383F39C-C5B1-4AAD-A517-B7AD66EC61C0}" presName="cycle" presStyleCnt="0"/>
      <dgm:spPr/>
    </dgm:pt>
    <dgm:pt modelId="{46E75B8F-798F-4BF9-A558-137CCDD790C9}" type="pres">
      <dgm:prSet presAssocID="{8383F39C-C5B1-4AAD-A517-B7AD66EC61C0}" presName="srcNode" presStyleLbl="node1" presStyleIdx="0" presStyleCnt="6"/>
      <dgm:spPr/>
    </dgm:pt>
    <dgm:pt modelId="{376B4D3E-2DAE-48AA-BA03-9880060FAD78}" type="pres">
      <dgm:prSet presAssocID="{8383F39C-C5B1-4AAD-A517-B7AD66EC61C0}" presName="conn" presStyleLbl="parChTrans1D2" presStyleIdx="0" presStyleCnt="1"/>
      <dgm:spPr/>
      <dgm:t>
        <a:bodyPr/>
        <a:lstStyle/>
        <a:p>
          <a:endParaRPr lang="en-US"/>
        </a:p>
      </dgm:t>
    </dgm:pt>
    <dgm:pt modelId="{AE047890-2EE7-4693-9F6D-D6A12876E5D5}" type="pres">
      <dgm:prSet presAssocID="{8383F39C-C5B1-4AAD-A517-B7AD66EC61C0}" presName="extraNode" presStyleLbl="node1" presStyleIdx="0" presStyleCnt="6"/>
      <dgm:spPr/>
    </dgm:pt>
    <dgm:pt modelId="{BDEBA734-E97A-4D3E-9699-B18CCD84675D}" type="pres">
      <dgm:prSet presAssocID="{8383F39C-C5B1-4AAD-A517-B7AD66EC61C0}" presName="dstNode" presStyleLbl="node1" presStyleIdx="0" presStyleCnt="6"/>
      <dgm:spPr/>
    </dgm:pt>
    <dgm:pt modelId="{14571121-2F6D-4275-A77D-C52392D556DE}" type="pres">
      <dgm:prSet presAssocID="{025513C9-2F35-48E1-8EAD-7FFF0EC69CA6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1B093D9-B49D-4639-A597-FCA824508110}" type="pres">
      <dgm:prSet presAssocID="{025513C9-2F35-48E1-8EAD-7FFF0EC69CA6}" presName="accent_1" presStyleCnt="0"/>
      <dgm:spPr/>
    </dgm:pt>
    <dgm:pt modelId="{051042B0-352C-425A-A0A5-7334833350A0}" type="pres">
      <dgm:prSet presAssocID="{025513C9-2F35-48E1-8EAD-7FFF0EC69CA6}" presName="accentRepeatNode" presStyleLbl="solidFgAcc1" presStyleIdx="0" presStyleCnt="6"/>
      <dgm:spPr/>
    </dgm:pt>
    <dgm:pt modelId="{3805850D-BFEC-4DB7-A696-AEF8C8A8C005}" type="pres">
      <dgm:prSet presAssocID="{56623C6D-FD2F-4B4A-9C5C-06F9017A2AD0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90A83D-8EBB-42F1-A1E1-C8FAC4F4A9DB}" type="pres">
      <dgm:prSet presAssocID="{56623C6D-FD2F-4B4A-9C5C-06F9017A2AD0}" presName="accent_2" presStyleCnt="0"/>
      <dgm:spPr/>
    </dgm:pt>
    <dgm:pt modelId="{C669A6C5-02E4-409C-8221-F1636130807B}" type="pres">
      <dgm:prSet presAssocID="{56623C6D-FD2F-4B4A-9C5C-06F9017A2AD0}" presName="accentRepeatNode" presStyleLbl="solidFgAcc1" presStyleIdx="1" presStyleCnt="6"/>
      <dgm:spPr/>
    </dgm:pt>
    <dgm:pt modelId="{7B95AAF9-4647-4CCB-A82E-C1D822451202}" type="pres">
      <dgm:prSet presAssocID="{AAB9227E-307F-48A8-ACED-0A74273A4D06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B964BD-0271-4898-B3BC-4CCBC4E6929C}" type="pres">
      <dgm:prSet presAssocID="{AAB9227E-307F-48A8-ACED-0A74273A4D06}" presName="accent_3" presStyleCnt="0"/>
      <dgm:spPr/>
    </dgm:pt>
    <dgm:pt modelId="{AC0B408D-6CCA-4732-84FA-12EC19CD545C}" type="pres">
      <dgm:prSet presAssocID="{AAB9227E-307F-48A8-ACED-0A74273A4D06}" presName="accentRepeatNode" presStyleLbl="solidFgAcc1" presStyleIdx="2" presStyleCnt="6"/>
      <dgm:spPr/>
    </dgm:pt>
    <dgm:pt modelId="{A96A650C-9663-4FDD-A657-EE098A9C7174}" type="pres">
      <dgm:prSet presAssocID="{922AB41D-2F14-40CC-AFDC-0C9D9FA3AF3F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81C938-D88D-421C-BE81-26A850CD374A}" type="pres">
      <dgm:prSet presAssocID="{922AB41D-2F14-40CC-AFDC-0C9D9FA3AF3F}" presName="accent_4" presStyleCnt="0"/>
      <dgm:spPr/>
    </dgm:pt>
    <dgm:pt modelId="{5D3C4FD7-882E-45A8-B5ED-37D5F5659C4E}" type="pres">
      <dgm:prSet presAssocID="{922AB41D-2F14-40CC-AFDC-0C9D9FA3AF3F}" presName="accentRepeatNode" presStyleLbl="solidFgAcc1" presStyleIdx="3" presStyleCnt="6"/>
      <dgm:spPr/>
    </dgm:pt>
    <dgm:pt modelId="{CC10B37A-6038-4B3F-9D89-37CADEB7B2F3}" type="pres">
      <dgm:prSet presAssocID="{D53CBCF8-CBC2-4950-B568-C789C7E0BA01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DB68BD4-801B-4DAB-ADC4-00A2CAE23C20}" type="pres">
      <dgm:prSet presAssocID="{D53CBCF8-CBC2-4950-B568-C789C7E0BA01}" presName="accent_5" presStyleCnt="0"/>
      <dgm:spPr/>
    </dgm:pt>
    <dgm:pt modelId="{B909FCE7-D0C8-442A-B591-A08CB1332FBA}" type="pres">
      <dgm:prSet presAssocID="{D53CBCF8-CBC2-4950-B568-C789C7E0BA01}" presName="accentRepeatNode" presStyleLbl="solidFgAcc1" presStyleIdx="4" presStyleCnt="6"/>
      <dgm:spPr/>
    </dgm:pt>
    <dgm:pt modelId="{796B592B-F75E-4883-B67E-BB68FD160084}" type="pres">
      <dgm:prSet presAssocID="{EA17C2C8-C0D5-4CE9-B501-A5FC4B6C6C3C}" presName="text_6" presStyleLbl="node1" presStyleIdx="5" presStyleCnt="6" custScaleY="13346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1F9B7C-B76B-4D74-8519-869BA72F2384}" type="pres">
      <dgm:prSet presAssocID="{EA17C2C8-C0D5-4CE9-B501-A5FC4B6C6C3C}" presName="accent_6" presStyleCnt="0"/>
      <dgm:spPr/>
    </dgm:pt>
    <dgm:pt modelId="{230B7C3A-CAF2-4B30-AC96-6E26807700BF}" type="pres">
      <dgm:prSet presAssocID="{EA17C2C8-C0D5-4CE9-B501-A5FC4B6C6C3C}" presName="accentRepeatNode" presStyleLbl="solidFgAcc1" presStyleIdx="5" presStyleCnt="6"/>
      <dgm:spPr/>
    </dgm:pt>
  </dgm:ptLst>
  <dgm:cxnLst>
    <dgm:cxn modelId="{20BE1333-BC03-4D21-9842-F6D9F3604159}" type="presOf" srcId="{56623C6D-FD2F-4B4A-9C5C-06F9017A2AD0}" destId="{3805850D-BFEC-4DB7-A696-AEF8C8A8C005}" srcOrd="0" destOrd="0" presId="urn:microsoft.com/office/officeart/2008/layout/VerticalCurvedList"/>
    <dgm:cxn modelId="{858D69F5-922A-49BE-870A-1CD790A4A13C}" srcId="{8383F39C-C5B1-4AAD-A517-B7AD66EC61C0}" destId="{56623C6D-FD2F-4B4A-9C5C-06F9017A2AD0}" srcOrd="1" destOrd="0" parTransId="{7D082060-36D2-4838-8049-C4C4B9D040D4}" sibTransId="{86621DD8-3C4E-4D21-96DC-48D1BEAD3290}"/>
    <dgm:cxn modelId="{5E106D8E-56F9-413C-97A6-A0999813E698}" type="presOf" srcId="{922AB41D-2F14-40CC-AFDC-0C9D9FA3AF3F}" destId="{A96A650C-9663-4FDD-A657-EE098A9C7174}" srcOrd="0" destOrd="0" presId="urn:microsoft.com/office/officeart/2008/layout/VerticalCurvedList"/>
    <dgm:cxn modelId="{0296DA25-05A8-40F5-8EC6-939BEF42FE38}" srcId="{8383F39C-C5B1-4AAD-A517-B7AD66EC61C0}" destId="{EA17C2C8-C0D5-4CE9-B501-A5FC4B6C6C3C}" srcOrd="5" destOrd="0" parTransId="{9BE54F24-3A88-4EB7-BB94-8FBAC88256DB}" sibTransId="{6D078235-CFCF-4D00-87D4-EC3FD60E8BE3}"/>
    <dgm:cxn modelId="{A0AC93D7-DBB6-44DF-AF8B-9B046A5830A1}" type="presOf" srcId="{EA17C2C8-C0D5-4CE9-B501-A5FC4B6C6C3C}" destId="{796B592B-F75E-4883-B67E-BB68FD160084}" srcOrd="0" destOrd="0" presId="urn:microsoft.com/office/officeart/2008/layout/VerticalCurvedList"/>
    <dgm:cxn modelId="{BDA69228-8D6F-4827-85F0-41CDAEC2FDFC}" type="presOf" srcId="{025513C9-2F35-48E1-8EAD-7FFF0EC69CA6}" destId="{14571121-2F6D-4275-A77D-C52392D556DE}" srcOrd="0" destOrd="0" presId="urn:microsoft.com/office/officeart/2008/layout/VerticalCurvedList"/>
    <dgm:cxn modelId="{D19AFD52-4A3C-4074-9339-2A0C86C8CE83}" type="presOf" srcId="{AAB9227E-307F-48A8-ACED-0A74273A4D06}" destId="{7B95AAF9-4647-4CCB-A82E-C1D822451202}" srcOrd="0" destOrd="0" presId="urn:microsoft.com/office/officeart/2008/layout/VerticalCurvedList"/>
    <dgm:cxn modelId="{6D4938CC-078A-4B40-A55C-4A2DB0F658CA}" type="presOf" srcId="{954FCAD5-12CB-4E83-A599-08B418DD2F1D}" destId="{376B4D3E-2DAE-48AA-BA03-9880060FAD78}" srcOrd="0" destOrd="0" presId="urn:microsoft.com/office/officeart/2008/layout/VerticalCurvedList"/>
    <dgm:cxn modelId="{178371AF-B6B0-42A0-A6FE-89B00AB9ABD2}" type="presOf" srcId="{D53CBCF8-CBC2-4950-B568-C789C7E0BA01}" destId="{CC10B37A-6038-4B3F-9D89-37CADEB7B2F3}" srcOrd="0" destOrd="0" presId="urn:microsoft.com/office/officeart/2008/layout/VerticalCurvedList"/>
    <dgm:cxn modelId="{EE1C65DB-EBDD-4D76-8F5C-33B901F03735}" srcId="{8383F39C-C5B1-4AAD-A517-B7AD66EC61C0}" destId="{AAB9227E-307F-48A8-ACED-0A74273A4D06}" srcOrd="2" destOrd="0" parTransId="{696B9C5A-071E-4050-9024-A2A400B0A021}" sibTransId="{1FBDD4DB-CA63-4854-912C-25CF006A39F6}"/>
    <dgm:cxn modelId="{433C6364-784A-467F-8244-2114F5D58349}" srcId="{8383F39C-C5B1-4AAD-A517-B7AD66EC61C0}" destId="{922AB41D-2F14-40CC-AFDC-0C9D9FA3AF3F}" srcOrd="3" destOrd="0" parTransId="{2EEB8DF1-AFBE-4AEC-86AD-28D4A2BCF02B}" sibTransId="{BEAE5A43-351F-4BC7-AACB-ADEC5008B4E0}"/>
    <dgm:cxn modelId="{BB90E757-9206-4F64-9812-EBAD1DDC5927}" type="presOf" srcId="{8383F39C-C5B1-4AAD-A517-B7AD66EC61C0}" destId="{415B1697-793F-467C-86DE-73E2078A65FA}" srcOrd="0" destOrd="0" presId="urn:microsoft.com/office/officeart/2008/layout/VerticalCurvedList"/>
    <dgm:cxn modelId="{D5E5AB32-044E-4BA2-AE12-82E8F6284951}" srcId="{8383F39C-C5B1-4AAD-A517-B7AD66EC61C0}" destId="{025513C9-2F35-48E1-8EAD-7FFF0EC69CA6}" srcOrd="0" destOrd="0" parTransId="{930B7017-70BB-4CE1-838D-5495975953BA}" sibTransId="{954FCAD5-12CB-4E83-A599-08B418DD2F1D}"/>
    <dgm:cxn modelId="{C77D9231-AF46-4607-AEC0-0D2FBAFD0404}" srcId="{8383F39C-C5B1-4AAD-A517-B7AD66EC61C0}" destId="{D53CBCF8-CBC2-4950-B568-C789C7E0BA01}" srcOrd="4" destOrd="0" parTransId="{1846D094-44BD-4C03-944E-8D40BDFA4EF1}" sibTransId="{D02DAF58-C0D3-4C8D-9245-08658FB5E86D}"/>
    <dgm:cxn modelId="{44E676CF-5DCD-4107-83FC-E92155FF432D}" type="presParOf" srcId="{415B1697-793F-467C-86DE-73E2078A65FA}" destId="{C1B92FDD-6257-46A8-B046-D22494E47884}" srcOrd="0" destOrd="0" presId="urn:microsoft.com/office/officeart/2008/layout/VerticalCurvedList"/>
    <dgm:cxn modelId="{1DE859BC-23B4-4F5B-90B5-CD07457186CB}" type="presParOf" srcId="{C1B92FDD-6257-46A8-B046-D22494E47884}" destId="{C6B1C435-37ED-4007-98B3-3DD426A9E6C4}" srcOrd="0" destOrd="0" presId="urn:microsoft.com/office/officeart/2008/layout/VerticalCurvedList"/>
    <dgm:cxn modelId="{D29368B8-1AC6-4E09-AAEE-465BABCF4054}" type="presParOf" srcId="{C6B1C435-37ED-4007-98B3-3DD426A9E6C4}" destId="{46E75B8F-798F-4BF9-A558-137CCDD790C9}" srcOrd="0" destOrd="0" presId="urn:microsoft.com/office/officeart/2008/layout/VerticalCurvedList"/>
    <dgm:cxn modelId="{8CABDED4-00D0-4175-BEA5-E30FD11FC044}" type="presParOf" srcId="{C6B1C435-37ED-4007-98B3-3DD426A9E6C4}" destId="{376B4D3E-2DAE-48AA-BA03-9880060FAD78}" srcOrd="1" destOrd="0" presId="urn:microsoft.com/office/officeart/2008/layout/VerticalCurvedList"/>
    <dgm:cxn modelId="{05D99CB6-528B-48E9-88C5-409C9410F6DA}" type="presParOf" srcId="{C6B1C435-37ED-4007-98B3-3DD426A9E6C4}" destId="{AE047890-2EE7-4693-9F6D-D6A12876E5D5}" srcOrd="2" destOrd="0" presId="urn:microsoft.com/office/officeart/2008/layout/VerticalCurvedList"/>
    <dgm:cxn modelId="{56609EEC-B078-4AAD-A84F-20E2B0EEA5AF}" type="presParOf" srcId="{C6B1C435-37ED-4007-98B3-3DD426A9E6C4}" destId="{BDEBA734-E97A-4D3E-9699-B18CCD84675D}" srcOrd="3" destOrd="0" presId="urn:microsoft.com/office/officeart/2008/layout/VerticalCurvedList"/>
    <dgm:cxn modelId="{B254B278-AA4E-4B3A-B8A5-1F2E1B20DD71}" type="presParOf" srcId="{C1B92FDD-6257-46A8-B046-D22494E47884}" destId="{14571121-2F6D-4275-A77D-C52392D556DE}" srcOrd="1" destOrd="0" presId="urn:microsoft.com/office/officeart/2008/layout/VerticalCurvedList"/>
    <dgm:cxn modelId="{04221C9F-A126-4622-B1DA-C133C2B69AB9}" type="presParOf" srcId="{C1B92FDD-6257-46A8-B046-D22494E47884}" destId="{E1B093D9-B49D-4639-A597-FCA824508110}" srcOrd="2" destOrd="0" presId="urn:microsoft.com/office/officeart/2008/layout/VerticalCurvedList"/>
    <dgm:cxn modelId="{A131972F-C6A7-45F8-AC10-996D68AFA8F3}" type="presParOf" srcId="{E1B093D9-B49D-4639-A597-FCA824508110}" destId="{051042B0-352C-425A-A0A5-7334833350A0}" srcOrd="0" destOrd="0" presId="urn:microsoft.com/office/officeart/2008/layout/VerticalCurvedList"/>
    <dgm:cxn modelId="{CE07DEB3-BA96-4DCC-8336-37234C8EC7E6}" type="presParOf" srcId="{C1B92FDD-6257-46A8-B046-D22494E47884}" destId="{3805850D-BFEC-4DB7-A696-AEF8C8A8C005}" srcOrd="3" destOrd="0" presId="urn:microsoft.com/office/officeart/2008/layout/VerticalCurvedList"/>
    <dgm:cxn modelId="{D63B3AC6-B46A-4BF4-B758-064F03F5C571}" type="presParOf" srcId="{C1B92FDD-6257-46A8-B046-D22494E47884}" destId="{EA90A83D-8EBB-42F1-A1E1-C8FAC4F4A9DB}" srcOrd="4" destOrd="0" presId="urn:microsoft.com/office/officeart/2008/layout/VerticalCurvedList"/>
    <dgm:cxn modelId="{207CCB32-CB64-4505-9902-08F6E43E98BB}" type="presParOf" srcId="{EA90A83D-8EBB-42F1-A1E1-C8FAC4F4A9DB}" destId="{C669A6C5-02E4-409C-8221-F1636130807B}" srcOrd="0" destOrd="0" presId="urn:microsoft.com/office/officeart/2008/layout/VerticalCurvedList"/>
    <dgm:cxn modelId="{23F94458-4D18-4DCB-8CC0-35EC7A5D5627}" type="presParOf" srcId="{C1B92FDD-6257-46A8-B046-D22494E47884}" destId="{7B95AAF9-4647-4CCB-A82E-C1D822451202}" srcOrd="5" destOrd="0" presId="urn:microsoft.com/office/officeart/2008/layout/VerticalCurvedList"/>
    <dgm:cxn modelId="{48CC90F5-489A-46F2-B632-8EAD5EE16A8D}" type="presParOf" srcId="{C1B92FDD-6257-46A8-B046-D22494E47884}" destId="{37B964BD-0271-4898-B3BC-4CCBC4E6929C}" srcOrd="6" destOrd="0" presId="urn:microsoft.com/office/officeart/2008/layout/VerticalCurvedList"/>
    <dgm:cxn modelId="{68293988-FF9F-40DA-8AF9-E3EF043CE1B5}" type="presParOf" srcId="{37B964BD-0271-4898-B3BC-4CCBC4E6929C}" destId="{AC0B408D-6CCA-4732-84FA-12EC19CD545C}" srcOrd="0" destOrd="0" presId="urn:microsoft.com/office/officeart/2008/layout/VerticalCurvedList"/>
    <dgm:cxn modelId="{01E2009E-586F-4029-BEC9-4A06FEA4229A}" type="presParOf" srcId="{C1B92FDD-6257-46A8-B046-D22494E47884}" destId="{A96A650C-9663-4FDD-A657-EE098A9C7174}" srcOrd="7" destOrd="0" presId="urn:microsoft.com/office/officeart/2008/layout/VerticalCurvedList"/>
    <dgm:cxn modelId="{359C25A0-820E-4F5D-80AC-4B2FB2CC3734}" type="presParOf" srcId="{C1B92FDD-6257-46A8-B046-D22494E47884}" destId="{B181C938-D88D-421C-BE81-26A850CD374A}" srcOrd="8" destOrd="0" presId="urn:microsoft.com/office/officeart/2008/layout/VerticalCurvedList"/>
    <dgm:cxn modelId="{13748F18-27F8-49D7-905B-B42B66FCCEA0}" type="presParOf" srcId="{B181C938-D88D-421C-BE81-26A850CD374A}" destId="{5D3C4FD7-882E-45A8-B5ED-37D5F5659C4E}" srcOrd="0" destOrd="0" presId="urn:microsoft.com/office/officeart/2008/layout/VerticalCurvedList"/>
    <dgm:cxn modelId="{4AED9E2E-9A18-4FF0-9473-E0BDDF203AB7}" type="presParOf" srcId="{C1B92FDD-6257-46A8-B046-D22494E47884}" destId="{CC10B37A-6038-4B3F-9D89-37CADEB7B2F3}" srcOrd="9" destOrd="0" presId="urn:microsoft.com/office/officeart/2008/layout/VerticalCurvedList"/>
    <dgm:cxn modelId="{34B2FE49-702F-4EFA-A4A3-8F48D1F4C56C}" type="presParOf" srcId="{C1B92FDD-6257-46A8-B046-D22494E47884}" destId="{6DB68BD4-801B-4DAB-ADC4-00A2CAE23C20}" srcOrd="10" destOrd="0" presId="urn:microsoft.com/office/officeart/2008/layout/VerticalCurvedList"/>
    <dgm:cxn modelId="{A47B403A-76CE-41DD-A049-D48808F5624C}" type="presParOf" srcId="{6DB68BD4-801B-4DAB-ADC4-00A2CAE23C20}" destId="{B909FCE7-D0C8-442A-B591-A08CB1332FBA}" srcOrd="0" destOrd="0" presId="urn:microsoft.com/office/officeart/2008/layout/VerticalCurvedList"/>
    <dgm:cxn modelId="{564CE557-5C78-45F9-8937-A0DD64D7E75E}" type="presParOf" srcId="{C1B92FDD-6257-46A8-B046-D22494E47884}" destId="{796B592B-F75E-4883-B67E-BB68FD160084}" srcOrd="11" destOrd="0" presId="urn:microsoft.com/office/officeart/2008/layout/VerticalCurvedList"/>
    <dgm:cxn modelId="{B8629A15-33FA-4E40-BB45-F907155F458D}" type="presParOf" srcId="{C1B92FDD-6257-46A8-B046-D22494E47884}" destId="{721F9B7C-B76B-4D74-8519-869BA72F2384}" srcOrd="12" destOrd="0" presId="urn:microsoft.com/office/officeart/2008/layout/VerticalCurvedList"/>
    <dgm:cxn modelId="{AA0DDD24-1332-4C79-A070-AA4CC7D18521}" type="presParOf" srcId="{721F9B7C-B76B-4D74-8519-869BA72F2384}" destId="{230B7C3A-CAF2-4B30-AC96-6E26807700B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262B9D00-C826-4E11-8429-177F52B13C39}" type="doc">
      <dgm:prSet loTypeId="urn:microsoft.com/office/officeart/2005/8/layout/process5" loCatId="process" qsTypeId="urn:microsoft.com/office/officeart/2005/8/quickstyle/3d4" qsCatId="3D" csTypeId="urn:microsoft.com/office/officeart/2005/8/colors/accent6_1" csCatId="accent6" phldr="1"/>
      <dgm:spPr/>
      <dgm:t>
        <a:bodyPr/>
        <a:lstStyle/>
        <a:p>
          <a:endParaRPr lang="id-ID"/>
        </a:p>
      </dgm:t>
    </dgm:pt>
    <dgm:pt modelId="{AD54CEA8-5F53-4347-86E7-E38FF30F9C6D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Akses</a:t>
          </a:r>
          <a:r>
            <a:rPr lang="en-US" sz="1400" b="1" dirty="0">
              <a:solidFill>
                <a:srgbClr val="002060"/>
              </a:solidFill>
            </a:rPr>
            <a:t> SIKI PKB</a:t>
          </a:r>
        </a:p>
      </dgm:t>
    </dgm:pt>
    <dgm:pt modelId="{DE73FDEF-55AF-4C8C-BC8B-D06C900BD70A}" type="parTrans" cxnId="{E2A43AF9-53FA-4ADA-88A5-FAC0B7DB1532}">
      <dgm:prSet/>
      <dgm:spPr/>
      <dgm:t>
        <a:bodyPr/>
        <a:lstStyle/>
        <a:p>
          <a:endParaRPr lang="id-ID"/>
        </a:p>
      </dgm:t>
    </dgm:pt>
    <dgm:pt modelId="{7687A3FF-D23F-4D53-AB0F-6B1DA8BA7B9C}" type="sibTrans" cxnId="{E2A43AF9-53FA-4ADA-88A5-FAC0B7DB1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310EC75C-E063-4A6D-B708-652AE6A98FFB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Registrasi</a:t>
          </a:r>
          <a:r>
            <a:rPr lang="en-US" sz="1400" b="1" dirty="0">
              <a:solidFill>
                <a:srgbClr val="002060"/>
              </a:solidFill>
            </a:rPr>
            <a:t> Akun </a:t>
          </a:r>
          <a:r>
            <a:rPr lang="en-US" sz="1400" b="1" dirty="0" err="1">
              <a:solidFill>
                <a:srgbClr val="002060"/>
              </a:solidFill>
            </a:rPr>
            <a:t>Penyelenggara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Kegiatan</a:t>
          </a:r>
          <a:endParaRPr lang="id-ID" sz="1400" b="1" dirty="0">
            <a:solidFill>
              <a:srgbClr val="002060"/>
            </a:solidFill>
          </a:endParaRPr>
        </a:p>
      </dgm:t>
    </dgm:pt>
    <dgm:pt modelId="{DC529E6A-B598-4A66-9DC8-0689D344A803}" type="parTrans" cxnId="{302F391F-B1A8-486D-BCEF-F541FE7143D4}">
      <dgm:prSet/>
      <dgm:spPr/>
      <dgm:t>
        <a:bodyPr/>
        <a:lstStyle/>
        <a:p>
          <a:endParaRPr lang="id-ID"/>
        </a:p>
      </dgm:t>
    </dgm:pt>
    <dgm:pt modelId="{F26F70EC-E779-4452-97E7-E0713E7366DB}" type="sibTrans" cxnId="{302F391F-B1A8-486D-BCEF-F541FE7143D4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EF4EB16-B0C9-452C-B68A-00BB68859A7B}">
      <dgm:prSet phldrT="[Text]" custT="1"/>
      <dgm:spPr/>
      <dgm:t>
        <a:bodyPr/>
        <a:lstStyle/>
        <a:p>
          <a:r>
            <a:rPr lang="en-US" sz="1400" b="1" dirty="0">
              <a:solidFill>
                <a:srgbClr val="002060"/>
              </a:solidFill>
            </a:rPr>
            <a:t>Login </a:t>
          </a:r>
          <a:r>
            <a:rPr lang="en-US" sz="1400" b="1" dirty="0" err="1">
              <a:solidFill>
                <a:srgbClr val="002060"/>
              </a:solidFill>
            </a:rPr>
            <a:t>dengan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akun</a:t>
          </a:r>
          <a:r>
            <a:rPr lang="en-US" sz="1400" b="1" dirty="0">
              <a:solidFill>
                <a:srgbClr val="002060"/>
              </a:solidFill>
            </a:rPr>
            <a:t> yang </a:t>
          </a:r>
          <a:r>
            <a:rPr lang="en-US" sz="1400" b="1" dirty="0" err="1">
              <a:solidFill>
                <a:srgbClr val="002060"/>
              </a:solidFill>
            </a:rPr>
            <a:t>telah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diaktivasi</a:t>
          </a:r>
          <a:endParaRPr lang="id-ID" sz="1400" b="1" dirty="0">
            <a:solidFill>
              <a:srgbClr val="002060"/>
            </a:solidFill>
          </a:endParaRPr>
        </a:p>
      </dgm:t>
    </dgm:pt>
    <dgm:pt modelId="{0FF0BCAB-0768-45C1-BC0F-0C57BDC601F9}" type="parTrans" cxnId="{6306278D-C6FA-40B1-933C-9AA417BA0B56}">
      <dgm:prSet/>
      <dgm:spPr/>
      <dgm:t>
        <a:bodyPr/>
        <a:lstStyle/>
        <a:p>
          <a:endParaRPr lang="id-ID"/>
        </a:p>
      </dgm:t>
    </dgm:pt>
    <dgm:pt modelId="{B9A78629-975F-4B90-AE96-9E5B92F536AA}" type="sibTrans" cxnId="{6306278D-C6FA-40B1-933C-9AA417BA0B56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4E899A98-15D4-4256-AA7B-5F8B4291E564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Pengisian</a:t>
          </a:r>
          <a:r>
            <a:rPr lang="en-US" sz="1400" b="1" dirty="0">
              <a:solidFill>
                <a:srgbClr val="002060"/>
              </a:solidFill>
            </a:rPr>
            <a:t> Data </a:t>
          </a:r>
          <a:r>
            <a:rPr lang="en-US" sz="1400" b="1" dirty="0" err="1">
              <a:solidFill>
                <a:srgbClr val="002060"/>
              </a:solidFill>
            </a:rPr>
            <a:t>Permohonan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Kegiatan</a:t>
          </a:r>
          <a:endParaRPr lang="id-ID" sz="1400" b="1" dirty="0">
            <a:solidFill>
              <a:srgbClr val="002060"/>
            </a:solidFill>
          </a:endParaRPr>
        </a:p>
      </dgm:t>
    </dgm:pt>
    <dgm:pt modelId="{E60EB875-8DE7-483C-BC93-388F2A9709FE}" type="parTrans" cxnId="{BF9A43E2-1D21-4746-83E6-0B3A0D6475FB}">
      <dgm:prSet/>
      <dgm:spPr/>
      <dgm:t>
        <a:bodyPr/>
        <a:lstStyle/>
        <a:p>
          <a:endParaRPr lang="id-ID"/>
        </a:p>
      </dgm:t>
    </dgm:pt>
    <dgm:pt modelId="{8B9E4C69-BF9B-4B9A-BD80-944831447FF2}" type="sibTrans" cxnId="{BF9A43E2-1D21-4746-83E6-0B3A0D6475FB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76611A96-8D89-4ABC-A2D5-6376D1FAA627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Verifikasi</a:t>
          </a:r>
          <a:r>
            <a:rPr lang="en-US" sz="1400" b="1" dirty="0">
              <a:solidFill>
                <a:srgbClr val="002060"/>
              </a:solidFill>
            </a:rPr>
            <a:t> dan </a:t>
          </a:r>
          <a:r>
            <a:rPr lang="en-US" sz="1400" b="1" dirty="0" err="1">
              <a:solidFill>
                <a:srgbClr val="002060"/>
              </a:solidFill>
            </a:rPr>
            <a:t>Validasi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Permohonan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Kegiatan</a:t>
          </a:r>
          <a:endParaRPr lang="en-US" sz="1400" b="1" dirty="0">
            <a:solidFill>
              <a:srgbClr val="002060"/>
            </a:solidFill>
          </a:endParaRPr>
        </a:p>
      </dgm:t>
    </dgm:pt>
    <dgm:pt modelId="{664007BD-9DE2-40B1-A604-17B906DB5D4F}" type="parTrans" cxnId="{E17DD8EA-AF9B-49B8-9FE5-8D3BE60DC532}">
      <dgm:prSet/>
      <dgm:spPr/>
      <dgm:t>
        <a:bodyPr/>
        <a:lstStyle/>
        <a:p>
          <a:endParaRPr lang="id-ID"/>
        </a:p>
      </dgm:t>
    </dgm:pt>
    <dgm:pt modelId="{3C94571C-248A-4A3D-B20F-21729F420AE2}" type="sibTrans" cxnId="{E17DD8EA-AF9B-49B8-9FE5-8D3BE60DC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2DE258B-5EDD-47A4-A98D-065D917BEA6A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Pelaksanaan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Kegiatan</a:t>
          </a:r>
          <a:r>
            <a:rPr lang="en-US" sz="1400" b="1" dirty="0">
              <a:solidFill>
                <a:srgbClr val="002060"/>
              </a:solidFill>
            </a:rPr>
            <a:t> PKB</a:t>
          </a:r>
        </a:p>
      </dgm:t>
    </dgm:pt>
    <dgm:pt modelId="{FCFAA163-428E-432A-AC4A-0C193CBD4A8D}" type="parTrans" cxnId="{39237697-2E58-484C-ABA4-C86F5629A50A}">
      <dgm:prSet/>
      <dgm:spPr/>
      <dgm:t>
        <a:bodyPr/>
        <a:lstStyle/>
        <a:p>
          <a:endParaRPr lang="id-ID"/>
        </a:p>
      </dgm:t>
    </dgm:pt>
    <dgm:pt modelId="{D13B4EC8-F381-4E7D-AB9E-D011BAF0CD91}" type="sibTrans" cxnId="{39237697-2E58-484C-ABA4-C86F5629A50A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A62AF5F-6435-4364-A72A-478E6CFEE794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Pelaporan</a:t>
          </a:r>
          <a:r>
            <a:rPr lang="en-US" sz="1400" b="1" dirty="0">
              <a:solidFill>
                <a:srgbClr val="002060"/>
              </a:solidFill>
            </a:rPr>
            <a:t> </a:t>
          </a:r>
        </a:p>
        <a:p>
          <a:r>
            <a:rPr lang="en-US" sz="1400" b="1" dirty="0" err="1">
              <a:solidFill>
                <a:srgbClr val="002060"/>
              </a:solidFill>
            </a:rPr>
            <a:t>Kegiatan</a:t>
          </a:r>
          <a:r>
            <a:rPr lang="en-US" sz="1400" b="1" dirty="0">
              <a:solidFill>
                <a:srgbClr val="002060"/>
              </a:solidFill>
            </a:rPr>
            <a:t> PKB</a:t>
          </a:r>
        </a:p>
      </dgm:t>
    </dgm:pt>
    <dgm:pt modelId="{54E1A5CC-FC95-4B5C-8E76-70D09B9F9705}" type="parTrans" cxnId="{6FE6A8E4-FA3A-49B6-9901-C9DA34466931}">
      <dgm:prSet/>
      <dgm:spPr/>
      <dgm:t>
        <a:bodyPr/>
        <a:lstStyle/>
        <a:p>
          <a:endParaRPr lang="id-ID"/>
        </a:p>
      </dgm:t>
    </dgm:pt>
    <dgm:pt modelId="{5F942606-2424-4829-90AD-5B91C84FC30D}" type="sibTrans" cxnId="{6FE6A8E4-FA3A-49B6-9901-C9DA34466931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1A7C13D-FF6D-4CD5-A5D6-359A981AEAF3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Verifikasi</a:t>
          </a:r>
          <a:r>
            <a:rPr lang="en-US" sz="1400" b="1" dirty="0">
              <a:solidFill>
                <a:srgbClr val="002060"/>
              </a:solidFill>
            </a:rPr>
            <a:t>, </a:t>
          </a:r>
          <a:r>
            <a:rPr lang="en-US" sz="1400" b="1" dirty="0" err="1">
              <a:solidFill>
                <a:srgbClr val="002060"/>
              </a:solidFill>
            </a:rPr>
            <a:t>Validasi</a:t>
          </a:r>
          <a:r>
            <a:rPr lang="en-US" sz="1400" b="1" dirty="0">
              <a:solidFill>
                <a:srgbClr val="002060"/>
              </a:solidFill>
            </a:rPr>
            <a:t> dan </a:t>
          </a:r>
          <a:r>
            <a:rPr lang="en-US" sz="1400" b="1" dirty="0" err="1">
              <a:solidFill>
                <a:srgbClr val="002060"/>
              </a:solidFill>
            </a:rPr>
            <a:t>Penilaian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Kegiatan</a:t>
          </a:r>
          <a:endParaRPr lang="en-US" sz="1400" b="1" dirty="0">
            <a:solidFill>
              <a:srgbClr val="002060"/>
            </a:solidFill>
          </a:endParaRPr>
        </a:p>
      </dgm:t>
    </dgm:pt>
    <dgm:pt modelId="{A1DA8FDB-A69A-4776-85C4-89D44544563B}" type="parTrans" cxnId="{A7AF24D7-7A32-495E-A728-33B6EB87644D}">
      <dgm:prSet/>
      <dgm:spPr/>
      <dgm:t>
        <a:bodyPr/>
        <a:lstStyle/>
        <a:p>
          <a:endParaRPr lang="id-ID"/>
        </a:p>
      </dgm:t>
    </dgm:pt>
    <dgm:pt modelId="{144435B7-8C3A-43C1-B9ED-815C237DE833}" type="sibTrans" cxnId="{A7AF24D7-7A32-495E-A728-33B6EB87644D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997EB590-F184-40B9-B422-CDD04BC86DB3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Pengesahan</a:t>
          </a:r>
          <a:r>
            <a:rPr lang="en-US" sz="1400" b="1" dirty="0">
              <a:solidFill>
                <a:srgbClr val="002060"/>
              </a:solidFill>
            </a:rPr>
            <a:t> / </a:t>
          </a:r>
          <a:r>
            <a:rPr lang="en-US" sz="1400" b="1" dirty="0" err="1">
              <a:solidFill>
                <a:srgbClr val="002060"/>
              </a:solidFill>
            </a:rPr>
            <a:t>Penetapan</a:t>
          </a:r>
          <a:r>
            <a:rPr lang="en-US" sz="1400" b="1" dirty="0">
              <a:solidFill>
                <a:srgbClr val="002060"/>
              </a:solidFill>
            </a:rPr>
            <a:t> SKPK </a:t>
          </a:r>
          <a:r>
            <a:rPr lang="en-US" sz="1400" b="1" dirty="0" err="1">
              <a:solidFill>
                <a:srgbClr val="002060"/>
              </a:solidFill>
            </a:rPr>
            <a:t>Kegiatan</a:t>
          </a:r>
          <a:endParaRPr lang="en-US" sz="1400" b="1" dirty="0">
            <a:solidFill>
              <a:srgbClr val="002060"/>
            </a:solidFill>
          </a:endParaRPr>
        </a:p>
      </dgm:t>
    </dgm:pt>
    <dgm:pt modelId="{1DA14726-53EF-4823-B553-F4F5FB0C2891}" type="parTrans" cxnId="{248E913F-F986-4C61-B0CA-ADDBD4285CD9}">
      <dgm:prSet/>
      <dgm:spPr/>
      <dgm:t>
        <a:bodyPr/>
        <a:lstStyle/>
        <a:p>
          <a:endParaRPr lang="id-ID"/>
        </a:p>
      </dgm:t>
    </dgm:pt>
    <dgm:pt modelId="{F831478C-E0B0-48C6-A4A5-1917C276FBD6}" type="sibTrans" cxnId="{248E913F-F986-4C61-B0CA-ADDBD4285CD9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5B07F661-21FD-4226-B11E-25E019FF7B66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Verifikasi</a:t>
          </a:r>
          <a:r>
            <a:rPr lang="en-US" sz="1400" b="1" dirty="0">
              <a:solidFill>
                <a:srgbClr val="002060"/>
              </a:solidFill>
            </a:rPr>
            <a:t> dan </a:t>
          </a:r>
          <a:r>
            <a:rPr lang="en-US" sz="1400" b="1" dirty="0" err="1">
              <a:solidFill>
                <a:srgbClr val="002060"/>
              </a:solidFill>
            </a:rPr>
            <a:t>Validasi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permohonan</a:t>
          </a:r>
          <a:r>
            <a:rPr lang="en-US" sz="1400" b="1" dirty="0">
              <a:solidFill>
                <a:srgbClr val="002060"/>
              </a:solidFill>
            </a:rPr>
            <a:t> Akun</a:t>
          </a:r>
          <a:endParaRPr lang="id-ID" sz="1400" b="1" dirty="0">
            <a:solidFill>
              <a:srgbClr val="002060"/>
            </a:solidFill>
          </a:endParaRPr>
        </a:p>
      </dgm:t>
    </dgm:pt>
    <dgm:pt modelId="{65D33F37-9CD7-40B7-A709-C11C8AC09BA9}" type="parTrans" cxnId="{3B9187A1-A02A-4089-AC67-DB95439638C0}">
      <dgm:prSet/>
      <dgm:spPr/>
      <dgm:t>
        <a:bodyPr/>
        <a:lstStyle/>
        <a:p>
          <a:endParaRPr lang="en-ID"/>
        </a:p>
      </dgm:t>
    </dgm:pt>
    <dgm:pt modelId="{1B128018-3255-4C3E-A6F2-B681F04F9947}" type="sibTrans" cxnId="{3B9187A1-A02A-4089-AC67-DB95439638C0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en-ID"/>
        </a:p>
      </dgm:t>
    </dgm:pt>
    <dgm:pt modelId="{0D1DC267-EDB7-48C8-8BFA-4E7B7031A1E1}">
      <dgm:prSet phldrT="[Text]" custT="1"/>
      <dgm:spPr/>
      <dgm:t>
        <a:bodyPr/>
        <a:lstStyle/>
        <a:p>
          <a:r>
            <a:rPr lang="en-US" sz="1400" b="1" dirty="0">
              <a:solidFill>
                <a:srgbClr val="002060"/>
              </a:solidFill>
            </a:rPr>
            <a:t>Tenaga Ahli Yang </a:t>
          </a:r>
          <a:r>
            <a:rPr lang="en-US" sz="1400" b="1" dirty="0" err="1">
              <a:solidFill>
                <a:srgbClr val="002060"/>
              </a:solidFill>
            </a:rPr>
            <a:t>terlibat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Mendapatkan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Perolehan</a:t>
          </a:r>
          <a:r>
            <a:rPr lang="en-US" sz="1400" b="1" dirty="0">
              <a:solidFill>
                <a:srgbClr val="002060"/>
              </a:solidFill>
            </a:rPr>
            <a:t> Nilai SKPK</a:t>
          </a:r>
        </a:p>
      </dgm:t>
    </dgm:pt>
    <dgm:pt modelId="{BE8F2A95-D086-4AF1-A9DE-4EF362944DEF}" type="sibTrans" cxnId="{744DF3DB-9E55-4042-8AB2-40EDDE4E90F7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B64DA9E-ABDB-4FF6-911E-D6747CAD5678}" type="parTrans" cxnId="{744DF3DB-9E55-4042-8AB2-40EDDE4E90F7}">
      <dgm:prSet/>
      <dgm:spPr/>
      <dgm:t>
        <a:bodyPr/>
        <a:lstStyle/>
        <a:p>
          <a:endParaRPr lang="id-ID"/>
        </a:p>
      </dgm:t>
    </dgm:pt>
    <dgm:pt modelId="{98281E7A-B42B-4A60-8F0A-02FBBE192048}" type="pres">
      <dgm:prSet presAssocID="{262B9D00-C826-4E11-8429-177F52B13C3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1A49A10-DA55-43D2-B848-2A752A4B7FB1}" type="pres">
      <dgm:prSet presAssocID="{AD54CEA8-5F53-4347-86E7-E38FF30F9C6D}" presName="node" presStyleLbl="node1" presStyleIdx="0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77E669-BE62-41BC-9950-13C5D39E30D2}" type="pres">
      <dgm:prSet presAssocID="{7687A3FF-D23F-4D53-AB0F-6B1DA8BA7B9C}" presName="sibTrans" presStyleLbl="sibTrans2D1" presStyleIdx="0" presStyleCnt="10" custLinFactNeighborX="-2697" custLinFactNeighborY="2390"/>
      <dgm:spPr/>
      <dgm:t>
        <a:bodyPr/>
        <a:lstStyle/>
        <a:p>
          <a:endParaRPr lang="en-US"/>
        </a:p>
      </dgm:t>
    </dgm:pt>
    <dgm:pt modelId="{80702E3B-FA77-4C95-8465-C752588C38FB}" type="pres">
      <dgm:prSet presAssocID="{7687A3FF-D23F-4D53-AB0F-6B1DA8BA7B9C}" presName="connectorText" presStyleLbl="sibTrans2D1" presStyleIdx="0" presStyleCnt="10"/>
      <dgm:spPr/>
      <dgm:t>
        <a:bodyPr/>
        <a:lstStyle/>
        <a:p>
          <a:endParaRPr lang="en-US"/>
        </a:p>
      </dgm:t>
    </dgm:pt>
    <dgm:pt modelId="{FB08B26A-8E52-454A-9694-166FDA94A66C}" type="pres">
      <dgm:prSet presAssocID="{310EC75C-E063-4A6D-B708-652AE6A98FFB}" presName="node" presStyleLbl="node1" presStyleIdx="1" presStyleCnt="11" custLinFactNeighborX="442" custLinFactNeighborY="6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A16790-742C-466A-95A4-0BF22E5FCD7A}" type="pres">
      <dgm:prSet presAssocID="{F26F70EC-E779-4452-97E7-E0713E7366DB}" presName="sibTrans" presStyleLbl="sibTrans2D1" presStyleIdx="1" presStyleCnt="10" custLinFactNeighborX="6231" custLinFactNeighborY="-11920"/>
      <dgm:spPr/>
      <dgm:t>
        <a:bodyPr/>
        <a:lstStyle/>
        <a:p>
          <a:endParaRPr lang="en-US"/>
        </a:p>
      </dgm:t>
    </dgm:pt>
    <dgm:pt modelId="{C56007E9-35BB-4D39-9B1A-57F61D92EDEB}" type="pres">
      <dgm:prSet presAssocID="{F26F70EC-E779-4452-97E7-E0713E7366DB}" presName="connectorText" presStyleLbl="sibTrans2D1" presStyleIdx="1" presStyleCnt="10"/>
      <dgm:spPr/>
      <dgm:t>
        <a:bodyPr/>
        <a:lstStyle/>
        <a:p>
          <a:endParaRPr lang="en-US"/>
        </a:p>
      </dgm:t>
    </dgm:pt>
    <dgm:pt modelId="{7D12FF1B-AFF2-41BF-A1B9-96394947895C}" type="pres">
      <dgm:prSet presAssocID="{5B07F661-21FD-4226-B11E-25E019FF7B66}" presName="node" presStyleLbl="node1" presStyleIdx="2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D77E6C-9E07-4195-BF67-9B25D7196EAA}" type="pres">
      <dgm:prSet presAssocID="{1B128018-3255-4C3E-A6F2-B681F04F9947}" presName="sibTrans" presStyleLbl="sibTrans2D1" presStyleIdx="2" presStyleCnt="10" custLinFactNeighborX="-1795" custLinFactNeighborY="5787"/>
      <dgm:spPr/>
      <dgm:t>
        <a:bodyPr/>
        <a:lstStyle/>
        <a:p>
          <a:endParaRPr lang="en-US"/>
        </a:p>
      </dgm:t>
    </dgm:pt>
    <dgm:pt modelId="{B03BAD51-824A-4B72-B5C9-F4D969B0FE1F}" type="pres">
      <dgm:prSet presAssocID="{1B128018-3255-4C3E-A6F2-B681F04F9947}" presName="connectorText" presStyleLbl="sibTrans2D1" presStyleIdx="2" presStyleCnt="10"/>
      <dgm:spPr/>
      <dgm:t>
        <a:bodyPr/>
        <a:lstStyle/>
        <a:p>
          <a:endParaRPr lang="en-US"/>
        </a:p>
      </dgm:t>
    </dgm:pt>
    <dgm:pt modelId="{2B6E1E24-A7FA-4049-86FC-9D12842052E7}" type="pres">
      <dgm:prSet presAssocID="{AEF4EB16-B0C9-452C-B68A-00BB68859A7B}" presName="node" presStyleLbl="node1" presStyleIdx="3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F05F3B-4E23-47B7-9399-FA0B1A3EC9AF}" type="pres">
      <dgm:prSet presAssocID="{B9A78629-975F-4B90-AE96-9E5B92F536AA}" presName="sibTrans" presStyleLbl="sibTrans2D1" presStyleIdx="3" presStyleCnt="10"/>
      <dgm:spPr/>
      <dgm:t>
        <a:bodyPr/>
        <a:lstStyle/>
        <a:p>
          <a:endParaRPr lang="en-US"/>
        </a:p>
      </dgm:t>
    </dgm:pt>
    <dgm:pt modelId="{16836755-55F7-4A1E-8705-055A4D230720}" type="pres">
      <dgm:prSet presAssocID="{B9A78629-975F-4B90-AE96-9E5B92F536AA}" presName="connectorText" presStyleLbl="sibTrans2D1" presStyleIdx="3" presStyleCnt="10"/>
      <dgm:spPr/>
      <dgm:t>
        <a:bodyPr/>
        <a:lstStyle/>
        <a:p>
          <a:endParaRPr lang="en-US"/>
        </a:p>
      </dgm:t>
    </dgm:pt>
    <dgm:pt modelId="{C53C5ED3-16AC-4B3F-9B93-D856278E85E8}" type="pres">
      <dgm:prSet presAssocID="{4E899A98-15D4-4256-AA7B-5F8B4291E564}" presName="node" presStyleLbl="node1" presStyleIdx="4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98488BD-C1A4-477A-8CF9-A79D8E5107F2}" type="pres">
      <dgm:prSet presAssocID="{8B9E4C69-BF9B-4B9A-BD80-944831447FF2}" presName="sibTrans" presStyleLbl="sibTrans2D1" presStyleIdx="4" presStyleCnt="10" custLinFactNeighborX="-7826" custLinFactNeighborY="10039"/>
      <dgm:spPr/>
      <dgm:t>
        <a:bodyPr/>
        <a:lstStyle/>
        <a:p>
          <a:endParaRPr lang="en-US"/>
        </a:p>
      </dgm:t>
    </dgm:pt>
    <dgm:pt modelId="{5033852B-6252-4BC2-BA8A-939A6D79CE68}" type="pres">
      <dgm:prSet presAssocID="{8B9E4C69-BF9B-4B9A-BD80-944831447FF2}" presName="connectorText" presStyleLbl="sibTrans2D1" presStyleIdx="4" presStyleCnt="10"/>
      <dgm:spPr/>
      <dgm:t>
        <a:bodyPr/>
        <a:lstStyle/>
        <a:p>
          <a:endParaRPr lang="en-US"/>
        </a:p>
      </dgm:t>
    </dgm:pt>
    <dgm:pt modelId="{519EAD41-65A7-4AAB-AFFA-DCC2B68A3AFF}" type="pres">
      <dgm:prSet presAssocID="{76611A96-8D89-4ABC-A2D5-6376D1FAA627}" presName="node" presStyleLbl="node1" presStyleIdx="5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F3E634-1966-415E-85D5-38A897C4E7E3}" type="pres">
      <dgm:prSet presAssocID="{3C94571C-248A-4A3D-B20F-21729F420AE2}" presName="sibTrans" presStyleLbl="sibTrans2D1" presStyleIdx="5" presStyleCnt="10" custLinFactNeighborX="-214" custLinFactNeighborY="-8615"/>
      <dgm:spPr/>
      <dgm:t>
        <a:bodyPr/>
        <a:lstStyle/>
        <a:p>
          <a:endParaRPr lang="en-US"/>
        </a:p>
      </dgm:t>
    </dgm:pt>
    <dgm:pt modelId="{73F9BE4E-A25B-4D57-B8A1-8D52E04917B6}" type="pres">
      <dgm:prSet presAssocID="{3C94571C-248A-4A3D-B20F-21729F420AE2}" presName="connectorText" presStyleLbl="sibTrans2D1" presStyleIdx="5" presStyleCnt="10"/>
      <dgm:spPr/>
      <dgm:t>
        <a:bodyPr/>
        <a:lstStyle/>
        <a:p>
          <a:endParaRPr lang="en-US"/>
        </a:p>
      </dgm:t>
    </dgm:pt>
    <dgm:pt modelId="{10DF5648-7416-434C-8BC3-0F92F96B97CB}" type="pres">
      <dgm:prSet presAssocID="{A2DE258B-5EDD-47A4-A98D-065D917BEA6A}" presName="node" presStyleLbl="node1" presStyleIdx="6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48B252-526A-4E26-936C-C9CCF666F5DE}" type="pres">
      <dgm:prSet presAssocID="{D13B4EC8-F381-4E7D-AB9E-D011BAF0CD91}" presName="sibTrans" presStyleLbl="sibTrans2D1" presStyleIdx="6" presStyleCnt="10" custLinFactNeighborX="-7376" custLinFactNeighborY="-1344"/>
      <dgm:spPr/>
      <dgm:t>
        <a:bodyPr/>
        <a:lstStyle/>
        <a:p>
          <a:endParaRPr lang="en-US"/>
        </a:p>
      </dgm:t>
    </dgm:pt>
    <dgm:pt modelId="{036AA6AD-A8A4-4086-BC2C-1512CC873A0D}" type="pres">
      <dgm:prSet presAssocID="{D13B4EC8-F381-4E7D-AB9E-D011BAF0CD91}" presName="connectorText" presStyleLbl="sibTrans2D1" presStyleIdx="6" presStyleCnt="10"/>
      <dgm:spPr/>
      <dgm:t>
        <a:bodyPr/>
        <a:lstStyle/>
        <a:p>
          <a:endParaRPr lang="en-US"/>
        </a:p>
      </dgm:t>
    </dgm:pt>
    <dgm:pt modelId="{6D3AEE44-43FD-48EE-8CF1-7C4499C3371A}" type="pres">
      <dgm:prSet presAssocID="{2A62AF5F-6435-4364-A72A-478E6CFEE794}" presName="node" presStyleLbl="node1" presStyleIdx="7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F72D01-FAD7-4120-AE83-1A0F208ED1F8}" type="pres">
      <dgm:prSet presAssocID="{5F942606-2424-4829-90AD-5B91C84FC30D}" presName="sibTrans" presStyleLbl="sibTrans2D1" presStyleIdx="7" presStyleCnt="10" custLinFactNeighborX="17358" custLinFactNeighborY="-4381"/>
      <dgm:spPr/>
      <dgm:t>
        <a:bodyPr/>
        <a:lstStyle/>
        <a:p>
          <a:endParaRPr lang="en-US"/>
        </a:p>
      </dgm:t>
    </dgm:pt>
    <dgm:pt modelId="{AABABA15-70F9-4FFF-A43F-542ACDA84C22}" type="pres">
      <dgm:prSet presAssocID="{5F942606-2424-4829-90AD-5B91C84FC30D}" presName="connectorText" presStyleLbl="sibTrans2D1" presStyleIdx="7" presStyleCnt="10"/>
      <dgm:spPr/>
      <dgm:t>
        <a:bodyPr/>
        <a:lstStyle/>
        <a:p>
          <a:endParaRPr lang="en-US"/>
        </a:p>
      </dgm:t>
    </dgm:pt>
    <dgm:pt modelId="{BF16CC55-EE22-4FA0-B744-3C75ED0CDFB9}" type="pres">
      <dgm:prSet presAssocID="{21A7C13D-FF6D-4CD5-A5D6-359A981AEAF3}" presName="node" presStyleLbl="node1" presStyleIdx="8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6B0C22-5E1F-47C4-ABDB-F0D776289AB1}" type="pres">
      <dgm:prSet presAssocID="{144435B7-8C3A-43C1-B9ED-815C237DE833}" presName="sibTrans" presStyleLbl="sibTrans2D1" presStyleIdx="8" presStyleCnt="10"/>
      <dgm:spPr/>
      <dgm:t>
        <a:bodyPr/>
        <a:lstStyle/>
        <a:p>
          <a:endParaRPr lang="en-US"/>
        </a:p>
      </dgm:t>
    </dgm:pt>
    <dgm:pt modelId="{6741C56C-4C87-4BA4-8853-C720F6210EC5}" type="pres">
      <dgm:prSet presAssocID="{144435B7-8C3A-43C1-B9ED-815C237DE833}" presName="connectorText" presStyleLbl="sibTrans2D1" presStyleIdx="8" presStyleCnt="10"/>
      <dgm:spPr/>
      <dgm:t>
        <a:bodyPr/>
        <a:lstStyle/>
        <a:p>
          <a:endParaRPr lang="en-US"/>
        </a:p>
      </dgm:t>
    </dgm:pt>
    <dgm:pt modelId="{7D66EB39-461E-4387-864C-3DC4290864AF}" type="pres">
      <dgm:prSet presAssocID="{997EB590-F184-40B9-B422-CDD04BC86DB3}" presName="node" presStyleLbl="node1" presStyleIdx="9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33039C-BA0A-4FD7-AF5B-4CA33D23A3BE}" type="pres">
      <dgm:prSet presAssocID="{F831478C-E0B0-48C6-A4A5-1917C276FBD6}" presName="sibTrans" presStyleLbl="sibTrans2D1" presStyleIdx="9" presStyleCnt="10"/>
      <dgm:spPr/>
      <dgm:t>
        <a:bodyPr/>
        <a:lstStyle/>
        <a:p>
          <a:endParaRPr lang="en-US"/>
        </a:p>
      </dgm:t>
    </dgm:pt>
    <dgm:pt modelId="{2D5E3A06-7608-427B-8000-20DCF6ED2E43}" type="pres">
      <dgm:prSet presAssocID="{F831478C-E0B0-48C6-A4A5-1917C276FBD6}" presName="connectorText" presStyleLbl="sibTrans2D1" presStyleIdx="9" presStyleCnt="10"/>
      <dgm:spPr/>
      <dgm:t>
        <a:bodyPr/>
        <a:lstStyle/>
        <a:p>
          <a:endParaRPr lang="en-US"/>
        </a:p>
      </dgm:t>
    </dgm:pt>
    <dgm:pt modelId="{1E8F4112-35A4-4295-87F4-B72985AE28CB}" type="pres">
      <dgm:prSet presAssocID="{0D1DC267-EDB7-48C8-8BFA-4E7B7031A1E1}" presName="node" presStyleLbl="node1" presStyleIdx="10" presStyleCnt="1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248D0FF-9F89-43B2-BC40-73367E6BDED7}" type="presOf" srcId="{262B9D00-C826-4E11-8429-177F52B13C39}" destId="{98281E7A-B42B-4A60-8F0A-02FBBE192048}" srcOrd="0" destOrd="0" presId="urn:microsoft.com/office/officeart/2005/8/layout/process5"/>
    <dgm:cxn modelId="{225D2B66-F0CC-4CA0-9898-FA630844B873}" type="presOf" srcId="{A2DE258B-5EDD-47A4-A98D-065D917BEA6A}" destId="{10DF5648-7416-434C-8BC3-0F92F96B97CB}" srcOrd="0" destOrd="0" presId="urn:microsoft.com/office/officeart/2005/8/layout/process5"/>
    <dgm:cxn modelId="{A9F431B7-66E3-48FF-950B-38FF395CF41F}" type="presOf" srcId="{8B9E4C69-BF9B-4B9A-BD80-944831447FF2}" destId="{5033852B-6252-4BC2-BA8A-939A6D79CE68}" srcOrd="1" destOrd="0" presId="urn:microsoft.com/office/officeart/2005/8/layout/process5"/>
    <dgm:cxn modelId="{2A82F52D-3841-4AE6-991B-30362D76A3A1}" type="presOf" srcId="{21A7C13D-FF6D-4CD5-A5D6-359A981AEAF3}" destId="{BF16CC55-EE22-4FA0-B744-3C75ED0CDFB9}" srcOrd="0" destOrd="0" presId="urn:microsoft.com/office/officeart/2005/8/layout/process5"/>
    <dgm:cxn modelId="{117C124F-0CDA-4556-8F99-326E87C47CF7}" type="presOf" srcId="{0D1DC267-EDB7-48C8-8BFA-4E7B7031A1E1}" destId="{1E8F4112-35A4-4295-87F4-B72985AE28CB}" srcOrd="0" destOrd="0" presId="urn:microsoft.com/office/officeart/2005/8/layout/process5"/>
    <dgm:cxn modelId="{13317B7B-DE82-4D26-9402-2E07A56E946C}" type="presOf" srcId="{144435B7-8C3A-43C1-B9ED-815C237DE833}" destId="{6741C56C-4C87-4BA4-8853-C720F6210EC5}" srcOrd="1" destOrd="0" presId="urn:microsoft.com/office/officeart/2005/8/layout/process5"/>
    <dgm:cxn modelId="{5C0D8BFB-03A8-4520-ABA8-87092B6FE05C}" type="presOf" srcId="{F26F70EC-E779-4452-97E7-E0713E7366DB}" destId="{39A16790-742C-466A-95A4-0BF22E5FCD7A}" srcOrd="0" destOrd="0" presId="urn:microsoft.com/office/officeart/2005/8/layout/process5"/>
    <dgm:cxn modelId="{CB75E2D9-A3AC-49F0-B1E6-7463F5B8E9D2}" type="presOf" srcId="{3C94571C-248A-4A3D-B20F-21729F420AE2}" destId="{73F9BE4E-A25B-4D57-B8A1-8D52E04917B6}" srcOrd="1" destOrd="0" presId="urn:microsoft.com/office/officeart/2005/8/layout/process5"/>
    <dgm:cxn modelId="{8E94D942-3543-4DAD-A79F-5D3064D0EF6B}" type="presOf" srcId="{5F942606-2424-4829-90AD-5B91C84FC30D}" destId="{AABABA15-70F9-4FFF-A43F-542ACDA84C22}" srcOrd="1" destOrd="0" presId="urn:microsoft.com/office/officeart/2005/8/layout/process5"/>
    <dgm:cxn modelId="{B477B3D7-364F-48CD-B8D7-EC76FDAEA737}" type="presOf" srcId="{5F942606-2424-4829-90AD-5B91C84FC30D}" destId="{D5F72D01-FAD7-4120-AE83-1A0F208ED1F8}" srcOrd="0" destOrd="0" presId="urn:microsoft.com/office/officeart/2005/8/layout/process5"/>
    <dgm:cxn modelId="{39237697-2E58-484C-ABA4-C86F5629A50A}" srcId="{262B9D00-C826-4E11-8429-177F52B13C39}" destId="{A2DE258B-5EDD-47A4-A98D-065D917BEA6A}" srcOrd="6" destOrd="0" parTransId="{FCFAA163-428E-432A-AC4A-0C193CBD4A8D}" sibTransId="{D13B4EC8-F381-4E7D-AB9E-D011BAF0CD91}"/>
    <dgm:cxn modelId="{DCFC8F7A-90CD-4CDB-96C8-229FD56ECB6B}" type="presOf" srcId="{B9A78629-975F-4B90-AE96-9E5B92F536AA}" destId="{1DF05F3B-4E23-47B7-9399-FA0B1A3EC9AF}" srcOrd="0" destOrd="0" presId="urn:microsoft.com/office/officeart/2005/8/layout/process5"/>
    <dgm:cxn modelId="{85C2C925-A390-4BF8-85F4-3FBFC886FD7A}" type="presOf" srcId="{76611A96-8D89-4ABC-A2D5-6376D1FAA627}" destId="{519EAD41-65A7-4AAB-AFFA-DCC2B68A3AFF}" srcOrd="0" destOrd="0" presId="urn:microsoft.com/office/officeart/2005/8/layout/process5"/>
    <dgm:cxn modelId="{3B9187A1-A02A-4089-AC67-DB95439638C0}" srcId="{262B9D00-C826-4E11-8429-177F52B13C39}" destId="{5B07F661-21FD-4226-B11E-25E019FF7B66}" srcOrd="2" destOrd="0" parTransId="{65D33F37-9CD7-40B7-A709-C11C8AC09BA9}" sibTransId="{1B128018-3255-4C3E-A6F2-B681F04F9947}"/>
    <dgm:cxn modelId="{88AAAF6A-B00F-462C-AA76-8CF699AE4E18}" type="presOf" srcId="{8B9E4C69-BF9B-4B9A-BD80-944831447FF2}" destId="{B98488BD-C1A4-477A-8CF9-A79D8E5107F2}" srcOrd="0" destOrd="0" presId="urn:microsoft.com/office/officeart/2005/8/layout/process5"/>
    <dgm:cxn modelId="{302F391F-B1A8-486D-BCEF-F541FE7143D4}" srcId="{262B9D00-C826-4E11-8429-177F52B13C39}" destId="{310EC75C-E063-4A6D-B708-652AE6A98FFB}" srcOrd="1" destOrd="0" parTransId="{DC529E6A-B598-4A66-9DC8-0689D344A803}" sibTransId="{F26F70EC-E779-4452-97E7-E0713E7366DB}"/>
    <dgm:cxn modelId="{E17DD8EA-AF9B-49B8-9FE5-8D3BE60DC532}" srcId="{262B9D00-C826-4E11-8429-177F52B13C39}" destId="{76611A96-8D89-4ABC-A2D5-6376D1FAA627}" srcOrd="5" destOrd="0" parTransId="{664007BD-9DE2-40B1-A604-17B906DB5D4F}" sibTransId="{3C94571C-248A-4A3D-B20F-21729F420AE2}"/>
    <dgm:cxn modelId="{6306278D-C6FA-40B1-933C-9AA417BA0B56}" srcId="{262B9D00-C826-4E11-8429-177F52B13C39}" destId="{AEF4EB16-B0C9-452C-B68A-00BB68859A7B}" srcOrd="3" destOrd="0" parTransId="{0FF0BCAB-0768-45C1-BC0F-0C57BDC601F9}" sibTransId="{B9A78629-975F-4B90-AE96-9E5B92F536AA}"/>
    <dgm:cxn modelId="{3003DD90-F9BA-4AF3-B000-F3A941844632}" type="presOf" srcId="{144435B7-8C3A-43C1-B9ED-815C237DE833}" destId="{316B0C22-5E1F-47C4-ABDB-F0D776289AB1}" srcOrd="0" destOrd="0" presId="urn:microsoft.com/office/officeart/2005/8/layout/process5"/>
    <dgm:cxn modelId="{248E913F-F986-4C61-B0CA-ADDBD4285CD9}" srcId="{262B9D00-C826-4E11-8429-177F52B13C39}" destId="{997EB590-F184-40B9-B422-CDD04BC86DB3}" srcOrd="9" destOrd="0" parTransId="{1DA14726-53EF-4823-B553-F4F5FB0C2891}" sibTransId="{F831478C-E0B0-48C6-A4A5-1917C276FBD6}"/>
    <dgm:cxn modelId="{ECDDEDC6-E669-493D-8FCE-8EE6E16047B3}" type="presOf" srcId="{7687A3FF-D23F-4D53-AB0F-6B1DA8BA7B9C}" destId="{3877E669-BE62-41BC-9950-13C5D39E30D2}" srcOrd="0" destOrd="0" presId="urn:microsoft.com/office/officeart/2005/8/layout/process5"/>
    <dgm:cxn modelId="{A97A6135-D4D1-491D-A3E7-26CAFF3B5853}" type="presOf" srcId="{F831478C-E0B0-48C6-A4A5-1917C276FBD6}" destId="{9733039C-BA0A-4FD7-AF5B-4CA33D23A3BE}" srcOrd="0" destOrd="0" presId="urn:microsoft.com/office/officeart/2005/8/layout/process5"/>
    <dgm:cxn modelId="{FE586EDA-6493-4638-A710-FE7FB0087886}" type="presOf" srcId="{3C94571C-248A-4A3D-B20F-21729F420AE2}" destId="{3FF3E634-1966-415E-85D5-38A897C4E7E3}" srcOrd="0" destOrd="0" presId="urn:microsoft.com/office/officeart/2005/8/layout/process5"/>
    <dgm:cxn modelId="{85EB3EEE-400E-40D7-8691-5CAC5D3EB231}" type="presOf" srcId="{310EC75C-E063-4A6D-B708-652AE6A98FFB}" destId="{FB08B26A-8E52-454A-9694-166FDA94A66C}" srcOrd="0" destOrd="0" presId="urn:microsoft.com/office/officeart/2005/8/layout/process5"/>
    <dgm:cxn modelId="{6FE6A8E4-FA3A-49B6-9901-C9DA34466931}" srcId="{262B9D00-C826-4E11-8429-177F52B13C39}" destId="{2A62AF5F-6435-4364-A72A-478E6CFEE794}" srcOrd="7" destOrd="0" parTransId="{54E1A5CC-FC95-4B5C-8E76-70D09B9F9705}" sibTransId="{5F942606-2424-4829-90AD-5B91C84FC30D}"/>
    <dgm:cxn modelId="{C1EFB1A3-58C7-4D3B-AFB7-B6369271E08A}" type="presOf" srcId="{1B128018-3255-4C3E-A6F2-B681F04F9947}" destId="{B8D77E6C-9E07-4195-BF67-9B25D7196EAA}" srcOrd="0" destOrd="0" presId="urn:microsoft.com/office/officeart/2005/8/layout/process5"/>
    <dgm:cxn modelId="{744DF3DB-9E55-4042-8AB2-40EDDE4E90F7}" srcId="{262B9D00-C826-4E11-8429-177F52B13C39}" destId="{0D1DC267-EDB7-48C8-8BFA-4E7B7031A1E1}" srcOrd="10" destOrd="0" parTransId="{AB64DA9E-ABDB-4FF6-911E-D6747CAD5678}" sibTransId="{BE8F2A95-D086-4AF1-A9DE-4EF362944DEF}"/>
    <dgm:cxn modelId="{5958A02E-A938-4BA6-A8DE-5B4982281976}" type="presOf" srcId="{F26F70EC-E779-4452-97E7-E0713E7366DB}" destId="{C56007E9-35BB-4D39-9B1A-57F61D92EDEB}" srcOrd="1" destOrd="0" presId="urn:microsoft.com/office/officeart/2005/8/layout/process5"/>
    <dgm:cxn modelId="{F30BFEB4-CBA7-4D1B-8A6E-EDD9F8C11D70}" type="presOf" srcId="{B9A78629-975F-4B90-AE96-9E5B92F536AA}" destId="{16836755-55F7-4A1E-8705-055A4D230720}" srcOrd="1" destOrd="0" presId="urn:microsoft.com/office/officeart/2005/8/layout/process5"/>
    <dgm:cxn modelId="{7797B233-2339-435B-836C-54619122472A}" type="presOf" srcId="{D13B4EC8-F381-4E7D-AB9E-D011BAF0CD91}" destId="{036AA6AD-A8A4-4086-BC2C-1512CC873A0D}" srcOrd="1" destOrd="0" presId="urn:microsoft.com/office/officeart/2005/8/layout/process5"/>
    <dgm:cxn modelId="{D6EDEAB6-2D4C-41F7-A42E-B5BD2D8D8BEF}" type="presOf" srcId="{AEF4EB16-B0C9-452C-B68A-00BB68859A7B}" destId="{2B6E1E24-A7FA-4049-86FC-9D12842052E7}" srcOrd="0" destOrd="0" presId="urn:microsoft.com/office/officeart/2005/8/layout/process5"/>
    <dgm:cxn modelId="{E2A43AF9-53FA-4ADA-88A5-FAC0B7DB1532}" srcId="{262B9D00-C826-4E11-8429-177F52B13C39}" destId="{AD54CEA8-5F53-4347-86E7-E38FF30F9C6D}" srcOrd="0" destOrd="0" parTransId="{DE73FDEF-55AF-4C8C-BC8B-D06C900BD70A}" sibTransId="{7687A3FF-D23F-4D53-AB0F-6B1DA8BA7B9C}"/>
    <dgm:cxn modelId="{E91191BB-650B-4C5A-9882-47EA43C896B5}" type="presOf" srcId="{1B128018-3255-4C3E-A6F2-B681F04F9947}" destId="{B03BAD51-824A-4B72-B5C9-F4D969B0FE1F}" srcOrd="1" destOrd="0" presId="urn:microsoft.com/office/officeart/2005/8/layout/process5"/>
    <dgm:cxn modelId="{25507E80-800D-4838-A8C2-F538C180167B}" type="presOf" srcId="{4E899A98-15D4-4256-AA7B-5F8B4291E564}" destId="{C53C5ED3-16AC-4B3F-9B93-D856278E85E8}" srcOrd="0" destOrd="0" presId="urn:microsoft.com/office/officeart/2005/8/layout/process5"/>
    <dgm:cxn modelId="{BF9A43E2-1D21-4746-83E6-0B3A0D6475FB}" srcId="{262B9D00-C826-4E11-8429-177F52B13C39}" destId="{4E899A98-15D4-4256-AA7B-5F8B4291E564}" srcOrd="4" destOrd="0" parTransId="{E60EB875-8DE7-483C-BC93-388F2A9709FE}" sibTransId="{8B9E4C69-BF9B-4B9A-BD80-944831447FF2}"/>
    <dgm:cxn modelId="{5C572F1C-E6DB-405D-8D5D-0657C48469BC}" type="presOf" srcId="{AD54CEA8-5F53-4347-86E7-E38FF30F9C6D}" destId="{01A49A10-DA55-43D2-B848-2A752A4B7FB1}" srcOrd="0" destOrd="0" presId="urn:microsoft.com/office/officeart/2005/8/layout/process5"/>
    <dgm:cxn modelId="{A7AF24D7-7A32-495E-A728-33B6EB87644D}" srcId="{262B9D00-C826-4E11-8429-177F52B13C39}" destId="{21A7C13D-FF6D-4CD5-A5D6-359A981AEAF3}" srcOrd="8" destOrd="0" parTransId="{A1DA8FDB-A69A-4776-85C4-89D44544563B}" sibTransId="{144435B7-8C3A-43C1-B9ED-815C237DE833}"/>
    <dgm:cxn modelId="{F47665A5-C641-41E0-B636-6991A63D71E4}" type="presOf" srcId="{2A62AF5F-6435-4364-A72A-478E6CFEE794}" destId="{6D3AEE44-43FD-48EE-8CF1-7C4499C3371A}" srcOrd="0" destOrd="0" presId="urn:microsoft.com/office/officeart/2005/8/layout/process5"/>
    <dgm:cxn modelId="{9CD151FF-E276-4405-BD28-53F2AE1D8C0D}" type="presOf" srcId="{7687A3FF-D23F-4D53-AB0F-6B1DA8BA7B9C}" destId="{80702E3B-FA77-4C95-8465-C752588C38FB}" srcOrd="1" destOrd="0" presId="urn:microsoft.com/office/officeart/2005/8/layout/process5"/>
    <dgm:cxn modelId="{DE25A346-47E8-462A-B7F0-10468E94D659}" type="presOf" srcId="{D13B4EC8-F381-4E7D-AB9E-D011BAF0CD91}" destId="{7848B252-526A-4E26-936C-C9CCF666F5DE}" srcOrd="0" destOrd="0" presId="urn:microsoft.com/office/officeart/2005/8/layout/process5"/>
    <dgm:cxn modelId="{DD5C56A7-F3F4-4F16-AFC7-A96ACA811F0B}" type="presOf" srcId="{997EB590-F184-40B9-B422-CDD04BC86DB3}" destId="{7D66EB39-461E-4387-864C-3DC4290864AF}" srcOrd="0" destOrd="0" presId="urn:microsoft.com/office/officeart/2005/8/layout/process5"/>
    <dgm:cxn modelId="{9FB66605-AFDA-4035-8542-F6D2B58F28B0}" type="presOf" srcId="{5B07F661-21FD-4226-B11E-25E019FF7B66}" destId="{7D12FF1B-AFF2-41BF-A1B9-96394947895C}" srcOrd="0" destOrd="0" presId="urn:microsoft.com/office/officeart/2005/8/layout/process5"/>
    <dgm:cxn modelId="{94E25562-D9B7-42DC-9C9B-E97D23539957}" type="presOf" srcId="{F831478C-E0B0-48C6-A4A5-1917C276FBD6}" destId="{2D5E3A06-7608-427B-8000-20DCF6ED2E43}" srcOrd="1" destOrd="0" presId="urn:microsoft.com/office/officeart/2005/8/layout/process5"/>
    <dgm:cxn modelId="{CD982028-A641-440F-929B-1C9F2ED20129}" type="presParOf" srcId="{98281E7A-B42B-4A60-8F0A-02FBBE192048}" destId="{01A49A10-DA55-43D2-B848-2A752A4B7FB1}" srcOrd="0" destOrd="0" presId="urn:microsoft.com/office/officeart/2005/8/layout/process5"/>
    <dgm:cxn modelId="{8EEF701C-F806-4E5D-8DDC-ED07A06D133D}" type="presParOf" srcId="{98281E7A-B42B-4A60-8F0A-02FBBE192048}" destId="{3877E669-BE62-41BC-9950-13C5D39E30D2}" srcOrd="1" destOrd="0" presId="urn:microsoft.com/office/officeart/2005/8/layout/process5"/>
    <dgm:cxn modelId="{52FD6F21-537D-4570-9204-F3215609A645}" type="presParOf" srcId="{3877E669-BE62-41BC-9950-13C5D39E30D2}" destId="{80702E3B-FA77-4C95-8465-C752588C38FB}" srcOrd="0" destOrd="0" presId="urn:microsoft.com/office/officeart/2005/8/layout/process5"/>
    <dgm:cxn modelId="{F427C8EF-C89F-44BB-9394-ADEBFFCE0A45}" type="presParOf" srcId="{98281E7A-B42B-4A60-8F0A-02FBBE192048}" destId="{FB08B26A-8E52-454A-9694-166FDA94A66C}" srcOrd="2" destOrd="0" presId="urn:microsoft.com/office/officeart/2005/8/layout/process5"/>
    <dgm:cxn modelId="{C7B8EB96-94E1-484E-8A93-761A27D69E28}" type="presParOf" srcId="{98281E7A-B42B-4A60-8F0A-02FBBE192048}" destId="{39A16790-742C-466A-95A4-0BF22E5FCD7A}" srcOrd="3" destOrd="0" presId="urn:microsoft.com/office/officeart/2005/8/layout/process5"/>
    <dgm:cxn modelId="{AC4211B2-61CA-47D2-8350-0732F3B32DC8}" type="presParOf" srcId="{39A16790-742C-466A-95A4-0BF22E5FCD7A}" destId="{C56007E9-35BB-4D39-9B1A-57F61D92EDEB}" srcOrd="0" destOrd="0" presId="urn:microsoft.com/office/officeart/2005/8/layout/process5"/>
    <dgm:cxn modelId="{478FBA2B-9B1A-4592-AA40-D584524BA882}" type="presParOf" srcId="{98281E7A-B42B-4A60-8F0A-02FBBE192048}" destId="{7D12FF1B-AFF2-41BF-A1B9-96394947895C}" srcOrd="4" destOrd="0" presId="urn:microsoft.com/office/officeart/2005/8/layout/process5"/>
    <dgm:cxn modelId="{C3FE39BA-9071-49F7-AE4C-E2EA67B92E1B}" type="presParOf" srcId="{98281E7A-B42B-4A60-8F0A-02FBBE192048}" destId="{B8D77E6C-9E07-4195-BF67-9B25D7196EAA}" srcOrd="5" destOrd="0" presId="urn:microsoft.com/office/officeart/2005/8/layout/process5"/>
    <dgm:cxn modelId="{A56EF0C9-BC7F-492D-B10B-EC86A848D609}" type="presParOf" srcId="{B8D77E6C-9E07-4195-BF67-9B25D7196EAA}" destId="{B03BAD51-824A-4B72-B5C9-F4D969B0FE1F}" srcOrd="0" destOrd="0" presId="urn:microsoft.com/office/officeart/2005/8/layout/process5"/>
    <dgm:cxn modelId="{E3CA0898-CF8F-4475-AAF5-04F75B188FA9}" type="presParOf" srcId="{98281E7A-B42B-4A60-8F0A-02FBBE192048}" destId="{2B6E1E24-A7FA-4049-86FC-9D12842052E7}" srcOrd="6" destOrd="0" presId="urn:microsoft.com/office/officeart/2005/8/layout/process5"/>
    <dgm:cxn modelId="{FECAA481-A364-4E6D-B5B3-79B30890C103}" type="presParOf" srcId="{98281E7A-B42B-4A60-8F0A-02FBBE192048}" destId="{1DF05F3B-4E23-47B7-9399-FA0B1A3EC9AF}" srcOrd="7" destOrd="0" presId="urn:microsoft.com/office/officeart/2005/8/layout/process5"/>
    <dgm:cxn modelId="{F7B2E8E1-0827-4A59-9C37-F155E9531F62}" type="presParOf" srcId="{1DF05F3B-4E23-47B7-9399-FA0B1A3EC9AF}" destId="{16836755-55F7-4A1E-8705-055A4D230720}" srcOrd="0" destOrd="0" presId="urn:microsoft.com/office/officeart/2005/8/layout/process5"/>
    <dgm:cxn modelId="{A49F0F97-AF3B-4E4C-8779-5D1932DA4461}" type="presParOf" srcId="{98281E7A-B42B-4A60-8F0A-02FBBE192048}" destId="{C53C5ED3-16AC-4B3F-9B93-D856278E85E8}" srcOrd="8" destOrd="0" presId="urn:microsoft.com/office/officeart/2005/8/layout/process5"/>
    <dgm:cxn modelId="{0A0D0A8A-D1F2-4204-9798-09E70E8B8A0E}" type="presParOf" srcId="{98281E7A-B42B-4A60-8F0A-02FBBE192048}" destId="{B98488BD-C1A4-477A-8CF9-A79D8E5107F2}" srcOrd="9" destOrd="0" presId="urn:microsoft.com/office/officeart/2005/8/layout/process5"/>
    <dgm:cxn modelId="{49A22DCB-93B1-4BCA-821C-3183E87DDF77}" type="presParOf" srcId="{B98488BD-C1A4-477A-8CF9-A79D8E5107F2}" destId="{5033852B-6252-4BC2-BA8A-939A6D79CE68}" srcOrd="0" destOrd="0" presId="urn:microsoft.com/office/officeart/2005/8/layout/process5"/>
    <dgm:cxn modelId="{5BC0F036-83C2-4BE5-81BB-C88DD6606A94}" type="presParOf" srcId="{98281E7A-B42B-4A60-8F0A-02FBBE192048}" destId="{519EAD41-65A7-4AAB-AFFA-DCC2B68A3AFF}" srcOrd="10" destOrd="0" presId="urn:microsoft.com/office/officeart/2005/8/layout/process5"/>
    <dgm:cxn modelId="{5EB271E1-9719-4F8C-B44A-3C420682A28B}" type="presParOf" srcId="{98281E7A-B42B-4A60-8F0A-02FBBE192048}" destId="{3FF3E634-1966-415E-85D5-38A897C4E7E3}" srcOrd="11" destOrd="0" presId="urn:microsoft.com/office/officeart/2005/8/layout/process5"/>
    <dgm:cxn modelId="{0C6BFB65-CE7A-45BD-9052-FD34BBE29CCA}" type="presParOf" srcId="{3FF3E634-1966-415E-85D5-38A897C4E7E3}" destId="{73F9BE4E-A25B-4D57-B8A1-8D52E04917B6}" srcOrd="0" destOrd="0" presId="urn:microsoft.com/office/officeart/2005/8/layout/process5"/>
    <dgm:cxn modelId="{36B436F1-B2FC-4D02-89DC-EF6ED8612430}" type="presParOf" srcId="{98281E7A-B42B-4A60-8F0A-02FBBE192048}" destId="{10DF5648-7416-434C-8BC3-0F92F96B97CB}" srcOrd="12" destOrd="0" presId="urn:microsoft.com/office/officeart/2005/8/layout/process5"/>
    <dgm:cxn modelId="{7CFA2F2C-2B78-406B-B485-505476F25E30}" type="presParOf" srcId="{98281E7A-B42B-4A60-8F0A-02FBBE192048}" destId="{7848B252-526A-4E26-936C-C9CCF666F5DE}" srcOrd="13" destOrd="0" presId="urn:microsoft.com/office/officeart/2005/8/layout/process5"/>
    <dgm:cxn modelId="{5E0C625F-2573-4D73-984B-B7739B8AD1C5}" type="presParOf" srcId="{7848B252-526A-4E26-936C-C9CCF666F5DE}" destId="{036AA6AD-A8A4-4086-BC2C-1512CC873A0D}" srcOrd="0" destOrd="0" presId="urn:microsoft.com/office/officeart/2005/8/layout/process5"/>
    <dgm:cxn modelId="{EE0CCB21-06F9-463D-ABA7-8608FFF40907}" type="presParOf" srcId="{98281E7A-B42B-4A60-8F0A-02FBBE192048}" destId="{6D3AEE44-43FD-48EE-8CF1-7C4499C3371A}" srcOrd="14" destOrd="0" presId="urn:microsoft.com/office/officeart/2005/8/layout/process5"/>
    <dgm:cxn modelId="{86113D7E-FB01-4970-B258-31C9553A74E8}" type="presParOf" srcId="{98281E7A-B42B-4A60-8F0A-02FBBE192048}" destId="{D5F72D01-FAD7-4120-AE83-1A0F208ED1F8}" srcOrd="15" destOrd="0" presId="urn:microsoft.com/office/officeart/2005/8/layout/process5"/>
    <dgm:cxn modelId="{81AE8DA4-356C-4243-B715-D8C6AF1E601A}" type="presParOf" srcId="{D5F72D01-FAD7-4120-AE83-1A0F208ED1F8}" destId="{AABABA15-70F9-4FFF-A43F-542ACDA84C22}" srcOrd="0" destOrd="0" presId="urn:microsoft.com/office/officeart/2005/8/layout/process5"/>
    <dgm:cxn modelId="{6C3454D1-370F-4F85-ABA9-DE6C32C7BE18}" type="presParOf" srcId="{98281E7A-B42B-4A60-8F0A-02FBBE192048}" destId="{BF16CC55-EE22-4FA0-B744-3C75ED0CDFB9}" srcOrd="16" destOrd="0" presId="urn:microsoft.com/office/officeart/2005/8/layout/process5"/>
    <dgm:cxn modelId="{F2D58F22-3F2F-4843-AC08-83DDC75509EE}" type="presParOf" srcId="{98281E7A-B42B-4A60-8F0A-02FBBE192048}" destId="{316B0C22-5E1F-47C4-ABDB-F0D776289AB1}" srcOrd="17" destOrd="0" presId="urn:microsoft.com/office/officeart/2005/8/layout/process5"/>
    <dgm:cxn modelId="{21268DA1-8F93-4523-B1AC-7AE0C19C065E}" type="presParOf" srcId="{316B0C22-5E1F-47C4-ABDB-F0D776289AB1}" destId="{6741C56C-4C87-4BA4-8853-C720F6210EC5}" srcOrd="0" destOrd="0" presId="urn:microsoft.com/office/officeart/2005/8/layout/process5"/>
    <dgm:cxn modelId="{089D9E26-4F1B-4F1C-A727-A39E3019598B}" type="presParOf" srcId="{98281E7A-B42B-4A60-8F0A-02FBBE192048}" destId="{7D66EB39-461E-4387-864C-3DC4290864AF}" srcOrd="18" destOrd="0" presId="urn:microsoft.com/office/officeart/2005/8/layout/process5"/>
    <dgm:cxn modelId="{F76AF898-F502-4F12-B5F5-B647BB63FEC0}" type="presParOf" srcId="{98281E7A-B42B-4A60-8F0A-02FBBE192048}" destId="{9733039C-BA0A-4FD7-AF5B-4CA33D23A3BE}" srcOrd="19" destOrd="0" presId="urn:microsoft.com/office/officeart/2005/8/layout/process5"/>
    <dgm:cxn modelId="{45DFFDE0-7AC6-4149-80D5-3973EBD2B114}" type="presParOf" srcId="{9733039C-BA0A-4FD7-AF5B-4CA33D23A3BE}" destId="{2D5E3A06-7608-427B-8000-20DCF6ED2E43}" srcOrd="0" destOrd="0" presId="urn:microsoft.com/office/officeart/2005/8/layout/process5"/>
    <dgm:cxn modelId="{9E922D12-ACD9-452A-8E82-E698E7572343}" type="presParOf" srcId="{98281E7A-B42B-4A60-8F0A-02FBBE192048}" destId="{1E8F4112-35A4-4295-87F4-B72985AE28CB}" srcOrd="20" destOrd="0" presId="urn:microsoft.com/office/officeart/2005/8/layout/process5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262B9D00-C826-4E11-8429-177F52B13C39}" type="doc">
      <dgm:prSet loTypeId="urn:microsoft.com/office/officeart/2005/8/layout/process5" loCatId="process" qsTypeId="urn:microsoft.com/office/officeart/2005/8/quickstyle/3d4" qsCatId="3D" csTypeId="urn:microsoft.com/office/officeart/2005/8/colors/accent6_1" csCatId="accent6" phldr="1"/>
      <dgm:spPr/>
      <dgm:t>
        <a:bodyPr/>
        <a:lstStyle/>
        <a:p>
          <a:endParaRPr lang="id-ID"/>
        </a:p>
      </dgm:t>
    </dgm:pt>
    <dgm:pt modelId="{AD54CEA8-5F53-4347-86E7-E38FF30F9C6D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Informasi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r>
            <a:rPr lang="en-US" sz="1200" b="1" dirty="0">
              <a:solidFill>
                <a:srgbClr val="002060"/>
              </a:solidFill>
            </a:rPr>
            <a:t> PKB</a:t>
          </a:r>
        </a:p>
      </dgm:t>
    </dgm:pt>
    <dgm:pt modelId="{DE73FDEF-55AF-4C8C-BC8B-D06C900BD70A}" type="parTrans" cxnId="{E2A43AF9-53FA-4ADA-88A5-FAC0B7DB1532}">
      <dgm:prSet/>
      <dgm:spPr/>
      <dgm:t>
        <a:bodyPr/>
        <a:lstStyle/>
        <a:p>
          <a:endParaRPr lang="id-ID"/>
        </a:p>
      </dgm:t>
    </dgm:pt>
    <dgm:pt modelId="{7687A3FF-D23F-4D53-AB0F-6B1DA8BA7B9C}" type="sibTrans" cxnId="{E2A43AF9-53FA-4ADA-88A5-FAC0B7DB1532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310EC75C-E063-4A6D-B708-652AE6A98FFB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Mendaftar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r>
            <a:rPr lang="en-US" sz="1200" b="1" dirty="0">
              <a:solidFill>
                <a:srgbClr val="002060"/>
              </a:solidFill>
            </a:rPr>
            <a:t> PKB</a:t>
          </a:r>
          <a:endParaRPr lang="id-ID" sz="1200" b="1" dirty="0">
            <a:solidFill>
              <a:srgbClr val="002060"/>
            </a:solidFill>
          </a:endParaRPr>
        </a:p>
      </dgm:t>
    </dgm:pt>
    <dgm:pt modelId="{DC529E6A-B598-4A66-9DC8-0689D344A803}" type="parTrans" cxnId="{302F391F-B1A8-486D-BCEF-F541FE7143D4}">
      <dgm:prSet/>
      <dgm:spPr/>
      <dgm:t>
        <a:bodyPr/>
        <a:lstStyle/>
        <a:p>
          <a:endParaRPr lang="id-ID"/>
        </a:p>
      </dgm:t>
    </dgm:pt>
    <dgm:pt modelId="{F26F70EC-E779-4452-97E7-E0713E7366DB}" type="sibTrans" cxnId="{302F391F-B1A8-486D-BCEF-F541FE7143D4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A2DE258B-5EDD-47A4-A98D-065D917BEA6A}">
      <dgm:prSet phldrT="[Text]" custT="1"/>
      <dgm:spPr/>
      <dgm:t>
        <a:bodyPr/>
        <a:lstStyle/>
        <a:p>
          <a:r>
            <a:rPr lang="en-US" sz="1400" b="1" dirty="0" err="1">
              <a:solidFill>
                <a:srgbClr val="002060"/>
              </a:solidFill>
            </a:rPr>
            <a:t>Pelaksanaan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en-US" sz="1400" b="1" dirty="0" err="1">
              <a:solidFill>
                <a:srgbClr val="002060"/>
              </a:solidFill>
            </a:rPr>
            <a:t>Kegiatan</a:t>
          </a:r>
          <a:endParaRPr lang="en-US" sz="1400" b="1" dirty="0">
            <a:solidFill>
              <a:srgbClr val="002060"/>
            </a:solidFill>
          </a:endParaRPr>
        </a:p>
      </dgm:t>
    </dgm:pt>
    <dgm:pt modelId="{FCFAA163-428E-432A-AC4A-0C193CBD4A8D}" type="parTrans" cxnId="{39237697-2E58-484C-ABA4-C86F5629A50A}">
      <dgm:prSet/>
      <dgm:spPr/>
      <dgm:t>
        <a:bodyPr/>
        <a:lstStyle/>
        <a:p>
          <a:endParaRPr lang="id-ID"/>
        </a:p>
      </dgm:t>
    </dgm:pt>
    <dgm:pt modelId="{D13B4EC8-F381-4E7D-AB9E-D011BAF0CD91}" type="sibTrans" cxnId="{39237697-2E58-484C-ABA4-C86F5629A50A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A62AF5F-6435-4364-A72A-478E6CFEE794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Pelaporan</a:t>
          </a:r>
          <a:r>
            <a:rPr lang="en-US" sz="1200" b="1" dirty="0">
              <a:solidFill>
                <a:srgbClr val="002060"/>
              </a:solidFill>
            </a:rPr>
            <a:t> </a:t>
          </a:r>
        </a:p>
        <a:p>
          <a:r>
            <a:rPr lang="en-US" sz="1200" b="1" dirty="0" err="1">
              <a:solidFill>
                <a:srgbClr val="002060"/>
              </a:solidFill>
            </a:rPr>
            <a:t>Kegiatan</a:t>
          </a:r>
          <a:r>
            <a:rPr lang="en-US" sz="1200" b="1" dirty="0">
              <a:solidFill>
                <a:srgbClr val="002060"/>
              </a:solidFill>
            </a:rPr>
            <a:t> PKB ( </a:t>
          </a:r>
          <a:r>
            <a:rPr lang="en-US" sz="1200" b="1" dirty="0" err="1">
              <a:solidFill>
                <a:srgbClr val="002060"/>
              </a:solidFill>
            </a:rPr>
            <a:t>Lapor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r>
            <a:rPr lang="en-US" sz="1200" b="1" dirty="0">
              <a:solidFill>
                <a:srgbClr val="002060"/>
              </a:solidFill>
            </a:rPr>
            <a:t>,  </a:t>
          </a:r>
          <a:r>
            <a:rPr lang="en-US" sz="1200" b="1" dirty="0" err="1">
              <a:solidFill>
                <a:srgbClr val="002060"/>
              </a:solidFill>
            </a:rPr>
            <a:t>Pernyata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benaran</a:t>
          </a:r>
          <a:r>
            <a:rPr lang="en-US" sz="1200" b="1" dirty="0">
              <a:solidFill>
                <a:srgbClr val="002060"/>
              </a:solidFill>
            </a:rPr>
            <a:t>, </a:t>
          </a:r>
          <a:r>
            <a:rPr lang="en-US" sz="1200" b="1" dirty="0" err="1">
              <a:solidFill>
                <a:srgbClr val="002060"/>
              </a:solidFill>
            </a:rPr>
            <a:t>Dokumentasi</a:t>
          </a:r>
          <a:r>
            <a:rPr lang="en-US" sz="1200" b="1" dirty="0">
              <a:solidFill>
                <a:srgbClr val="002060"/>
              </a:solidFill>
            </a:rPr>
            <a:t> dan Data </a:t>
          </a:r>
          <a:r>
            <a:rPr lang="en-US" sz="1200" b="1" dirty="0" err="1">
              <a:solidFill>
                <a:srgbClr val="002060"/>
              </a:solidFill>
            </a:rPr>
            <a:t>Peserta</a:t>
          </a:r>
          <a:r>
            <a:rPr lang="en-US" sz="1200" b="1" dirty="0">
              <a:solidFill>
                <a:srgbClr val="002060"/>
              </a:solidFill>
            </a:rPr>
            <a:t>)</a:t>
          </a:r>
        </a:p>
      </dgm:t>
    </dgm:pt>
    <dgm:pt modelId="{54E1A5CC-FC95-4B5C-8E76-70D09B9F9705}" type="parTrans" cxnId="{6FE6A8E4-FA3A-49B6-9901-C9DA34466931}">
      <dgm:prSet/>
      <dgm:spPr/>
      <dgm:t>
        <a:bodyPr/>
        <a:lstStyle/>
        <a:p>
          <a:endParaRPr lang="id-ID"/>
        </a:p>
      </dgm:t>
    </dgm:pt>
    <dgm:pt modelId="{5F942606-2424-4829-90AD-5B91C84FC30D}" type="sibTrans" cxnId="{6FE6A8E4-FA3A-49B6-9901-C9DA34466931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21A7C13D-FF6D-4CD5-A5D6-359A981AEAF3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Verifikasi</a:t>
          </a:r>
          <a:r>
            <a:rPr lang="en-US" sz="1200" b="1" dirty="0">
              <a:solidFill>
                <a:srgbClr val="002060"/>
              </a:solidFill>
            </a:rPr>
            <a:t>, </a:t>
          </a:r>
          <a:r>
            <a:rPr lang="en-US" sz="1200" b="1" dirty="0" err="1">
              <a:solidFill>
                <a:srgbClr val="002060"/>
              </a:solidFill>
            </a:rPr>
            <a:t>Validasi</a:t>
          </a:r>
          <a:r>
            <a:rPr lang="en-US" sz="1200" b="1" dirty="0">
              <a:solidFill>
                <a:srgbClr val="002060"/>
              </a:solidFill>
            </a:rPr>
            <a:t> dan </a:t>
          </a:r>
          <a:r>
            <a:rPr lang="en-US" sz="1200" b="1" dirty="0" err="1">
              <a:solidFill>
                <a:srgbClr val="002060"/>
              </a:solidFill>
            </a:rPr>
            <a:t>Penilai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endParaRPr lang="en-US" sz="1200" b="1" dirty="0">
            <a:solidFill>
              <a:srgbClr val="002060"/>
            </a:solidFill>
          </a:endParaRPr>
        </a:p>
      </dgm:t>
    </dgm:pt>
    <dgm:pt modelId="{A1DA8FDB-A69A-4776-85C4-89D44544563B}" type="parTrans" cxnId="{A7AF24D7-7A32-495E-A728-33B6EB87644D}">
      <dgm:prSet/>
      <dgm:spPr/>
      <dgm:t>
        <a:bodyPr/>
        <a:lstStyle/>
        <a:p>
          <a:endParaRPr lang="id-ID"/>
        </a:p>
      </dgm:t>
    </dgm:pt>
    <dgm:pt modelId="{144435B7-8C3A-43C1-B9ED-815C237DE833}" type="sibTrans" cxnId="{A7AF24D7-7A32-495E-A728-33B6EB87644D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997EB590-F184-40B9-B422-CDD04BC86DB3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Pengesahan</a:t>
          </a:r>
          <a:r>
            <a:rPr lang="en-US" sz="1200" b="1" dirty="0">
              <a:solidFill>
                <a:srgbClr val="002060"/>
              </a:solidFill>
            </a:rPr>
            <a:t> / </a:t>
          </a:r>
          <a:r>
            <a:rPr lang="en-US" sz="1200" b="1" dirty="0" err="1">
              <a:solidFill>
                <a:srgbClr val="002060"/>
              </a:solidFill>
            </a:rPr>
            <a:t>Penetapan</a:t>
          </a:r>
          <a:r>
            <a:rPr lang="en-US" sz="1200" b="1" dirty="0">
              <a:solidFill>
                <a:srgbClr val="002060"/>
              </a:solidFill>
            </a:rPr>
            <a:t> SKPK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endParaRPr lang="en-US" sz="1200" b="1" dirty="0">
            <a:solidFill>
              <a:srgbClr val="002060"/>
            </a:solidFill>
          </a:endParaRPr>
        </a:p>
      </dgm:t>
    </dgm:pt>
    <dgm:pt modelId="{1DA14726-53EF-4823-B553-F4F5FB0C2891}" type="parTrans" cxnId="{248E913F-F986-4C61-B0CA-ADDBD4285CD9}">
      <dgm:prSet/>
      <dgm:spPr/>
      <dgm:t>
        <a:bodyPr/>
        <a:lstStyle/>
        <a:p>
          <a:endParaRPr lang="id-ID"/>
        </a:p>
      </dgm:t>
    </dgm:pt>
    <dgm:pt modelId="{F831478C-E0B0-48C6-A4A5-1917C276FBD6}" type="sibTrans" cxnId="{248E913F-F986-4C61-B0CA-ADDBD4285CD9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0D1DC267-EDB7-48C8-8BFA-4E7B7031A1E1}">
      <dgm:prSet phldrT="[Text]" custT="1"/>
      <dgm:spPr/>
      <dgm:t>
        <a:bodyPr/>
        <a:lstStyle/>
        <a:p>
          <a:r>
            <a:rPr lang="en-US" sz="1200" b="1" dirty="0">
              <a:solidFill>
                <a:srgbClr val="002060"/>
              </a:solidFill>
            </a:rPr>
            <a:t>Tenaga Ahli Yang </a:t>
          </a:r>
          <a:r>
            <a:rPr lang="en-US" sz="1200" b="1" dirty="0" err="1">
              <a:solidFill>
                <a:srgbClr val="002060"/>
              </a:solidFill>
            </a:rPr>
            <a:t>terlibat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Mendapatkan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Perolehan</a:t>
          </a:r>
          <a:r>
            <a:rPr lang="en-US" sz="1200" b="1" dirty="0">
              <a:solidFill>
                <a:srgbClr val="002060"/>
              </a:solidFill>
            </a:rPr>
            <a:t> Nilai SKPK</a:t>
          </a:r>
        </a:p>
      </dgm:t>
    </dgm:pt>
    <dgm:pt modelId="{AB64DA9E-ABDB-4FF6-911E-D6747CAD5678}" type="parTrans" cxnId="{744DF3DB-9E55-4042-8AB2-40EDDE4E90F7}">
      <dgm:prSet/>
      <dgm:spPr/>
      <dgm:t>
        <a:bodyPr/>
        <a:lstStyle/>
        <a:p>
          <a:endParaRPr lang="id-ID"/>
        </a:p>
      </dgm:t>
    </dgm:pt>
    <dgm:pt modelId="{BE8F2A95-D086-4AF1-A9DE-4EF362944DEF}" type="sibTrans" cxnId="{744DF3DB-9E55-4042-8AB2-40EDDE4E90F7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5B07F661-21FD-4226-B11E-25E019FF7B66}">
      <dgm:prSet phldrT="[Text]" custT="1"/>
      <dgm:spPr/>
      <dgm:t>
        <a:bodyPr/>
        <a:lstStyle/>
        <a:p>
          <a:r>
            <a:rPr lang="en-US" sz="1200" b="1" dirty="0" err="1">
              <a:solidFill>
                <a:srgbClr val="002060"/>
              </a:solidFill>
            </a:rPr>
            <a:t>Terdaftar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Sebagai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Peserta</a:t>
          </a:r>
          <a:r>
            <a:rPr lang="en-US" sz="1200" b="1" dirty="0">
              <a:solidFill>
                <a:srgbClr val="002060"/>
              </a:solidFill>
            </a:rPr>
            <a:t> </a:t>
          </a:r>
          <a:r>
            <a:rPr lang="en-US" sz="1200" b="1" dirty="0" err="1">
              <a:solidFill>
                <a:srgbClr val="002060"/>
              </a:solidFill>
            </a:rPr>
            <a:t>Kegiatan</a:t>
          </a:r>
          <a:r>
            <a:rPr lang="en-US" sz="1200" b="1" dirty="0">
              <a:solidFill>
                <a:srgbClr val="002060"/>
              </a:solidFill>
            </a:rPr>
            <a:t> PKB</a:t>
          </a:r>
          <a:endParaRPr lang="id-ID" sz="1200" b="1" dirty="0">
            <a:solidFill>
              <a:srgbClr val="002060"/>
            </a:solidFill>
          </a:endParaRPr>
        </a:p>
      </dgm:t>
    </dgm:pt>
    <dgm:pt modelId="{65D33F37-9CD7-40B7-A709-C11C8AC09BA9}" type="parTrans" cxnId="{3B9187A1-A02A-4089-AC67-DB95439638C0}">
      <dgm:prSet/>
      <dgm:spPr/>
      <dgm:t>
        <a:bodyPr/>
        <a:lstStyle/>
        <a:p>
          <a:endParaRPr lang="en-ID"/>
        </a:p>
      </dgm:t>
    </dgm:pt>
    <dgm:pt modelId="{1B128018-3255-4C3E-A6F2-B681F04F9947}" type="sibTrans" cxnId="{3B9187A1-A02A-4089-AC67-DB95439638C0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en-ID"/>
        </a:p>
      </dgm:t>
    </dgm:pt>
    <dgm:pt modelId="{2551C04F-020F-495D-A318-D01245191349}">
      <dgm:prSet phldrT="[Text]" custT="1"/>
      <dgm:spPr/>
      <dgm:t>
        <a:bodyPr/>
        <a:lstStyle/>
        <a:p>
          <a:r>
            <a:rPr lang="en-US" sz="1400" b="1" dirty="0">
              <a:solidFill>
                <a:srgbClr val="002060"/>
              </a:solidFill>
            </a:rPr>
            <a:t>SKPK Masuk </a:t>
          </a:r>
          <a:r>
            <a:rPr lang="en-US" sz="1400" b="1" dirty="0" err="1">
              <a:solidFill>
                <a:srgbClr val="002060"/>
              </a:solidFill>
            </a:rPr>
            <a:t>dalam</a:t>
          </a:r>
          <a:r>
            <a:rPr lang="en-US" sz="1400" b="1" dirty="0">
              <a:solidFill>
                <a:srgbClr val="002060"/>
              </a:solidFill>
            </a:rPr>
            <a:t> </a:t>
          </a:r>
          <a:r>
            <a:rPr lang="id-ID" sz="1400" b="1" dirty="0">
              <a:solidFill>
                <a:srgbClr val="002060"/>
              </a:solidFill>
            </a:rPr>
            <a:t>Buku Catatan Elektronik</a:t>
          </a:r>
          <a:r>
            <a:rPr lang="en-US" sz="1400" b="1" dirty="0">
              <a:solidFill>
                <a:srgbClr val="002060"/>
              </a:solidFill>
            </a:rPr>
            <a:t> TKK</a:t>
          </a:r>
        </a:p>
      </dgm:t>
    </dgm:pt>
    <dgm:pt modelId="{7F9DF969-7821-47A1-8C06-4A22D451FC9B}" type="sibTrans" cxnId="{C68991A4-5230-48BD-8050-DDEA24FF64A5}">
      <dgm:prSet/>
      <dgm:spPr>
        <a:solidFill>
          <a:srgbClr val="00B0F0"/>
        </a:solidFill>
        <a:ln>
          <a:noFill/>
        </a:ln>
      </dgm:spPr>
      <dgm:t>
        <a:bodyPr/>
        <a:lstStyle/>
        <a:p>
          <a:endParaRPr lang="id-ID"/>
        </a:p>
      </dgm:t>
    </dgm:pt>
    <dgm:pt modelId="{BCDB9010-55FA-404A-9363-BA57C20B00BD}" type="parTrans" cxnId="{C68991A4-5230-48BD-8050-DDEA24FF64A5}">
      <dgm:prSet/>
      <dgm:spPr/>
      <dgm:t>
        <a:bodyPr/>
        <a:lstStyle/>
        <a:p>
          <a:endParaRPr lang="id-ID"/>
        </a:p>
      </dgm:t>
    </dgm:pt>
    <dgm:pt modelId="{98281E7A-B42B-4A60-8F0A-02FBBE192048}" type="pres">
      <dgm:prSet presAssocID="{262B9D00-C826-4E11-8429-177F52B13C3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1A49A10-DA55-43D2-B848-2A752A4B7FB1}" type="pres">
      <dgm:prSet presAssocID="{AD54CEA8-5F53-4347-86E7-E38FF30F9C6D}" presName="node" presStyleLbl="node1" presStyleIdx="0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77E669-BE62-41BC-9950-13C5D39E30D2}" type="pres">
      <dgm:prSet presAssocID="{7687A3FF-D23F-4D53-AB0F-6B1DA8BA7B9C}" presName="sibTrans" presStyleLbl="sibTrans2D1" presStyleIdx="0" presStyleCnt="8" custLinFactNeighborX="-2697" custLinFactNeighborY="2390"/>
      <dgm:spPr/>
      <dgm:t>
        <a:bodyPr/>
        <a:lstStyle/>
        <a:p>
          <a:endParaRPr lang="en-US"/>
        </a:p>
      </dgm:t>
    </dgm:pt>
    <dgm:pt modelId="{80702E3B-FA77-4C95-8465-C752588C38FB}" type="pres">
      <dgm:prSet presAssocID="{7687A3FF-D23F-4D53-AB0F-6B1DA8BA7B9C}" presName="connectorText" presStyleLbl="sibTrans2D1" presStyleIdx="0" presStyleCnt="8"/>
      <dgm:spPr/>
      <dgm:t>
        <a:bodyPr/>
        <a:lstStyle/>
        <a:p>
          <a:endParaRPr lang="en-US"/>
        </a:p>
      </dgm:t>
    </dgm:pt>
    <dgm:pt modelId="{FB08B26A-8E52-454A-9694-166FDA94A66C}" type="pres">
      <dgm:prSet presAssocID="{310EC75C-E063-4A6D-B708-652AE6A98FFB}" presName="node" presStyleLbl="node1" presStyleIdx="1" presStyleCnt="9" custLinFactNeighborX="442" custLinFactNeighborY="6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A16790-742C-466A-95A4-0BF22E5FCD7A}" type="pres">
      <dgm:prSet presAssocID="{F26F70EC-E779-4452-97E7-E0713E7366DB}" presName="sibTrans" presStyleLbl="sibTrans2D1" presStyleIdx="1" presStyleCnt="8" custLinFactNeighborX="6231" custLinFactNeighborY="-11920"/>
      <dgm:spPr/>
      <dgm:t>
        <a:bodyPr/>
        <a:lstStyle/>
        <a:p>
          <a:endParaRPr lang="en-US"/>
        </a:p>
      </dgm:t>
    </dgm:pt>
    <dgm:pt modelId="{C56007E9-35BB-4D39-9B1A-57F61D92EDEB}" type="pres">
      <dgm:prSet presAssocID="{F26F70EC-E779-4452-97E7-E0713E7366DB}" presName="connectorText" presStyleLbl="sibTrans2D1" presStyleIdx="1" presStyleCnt="8"/>
      <dgm:spPr/>
      <dgm:t>
        <a:bodyPr/>
        <a:lstStyle/>
        <a:p>
          <a:endParaRPr lang="en-US"/>
        </a:p>
      </dgm:t>
    </dgm:pt>
    <dgm:pt modelId="{7D12FF1B-AFF2-41BF-A1B9-96394947895C}" type="pres">
      <dgm:prSet presAssocID="{5B07F661-21FD-4226-B11E-25E019FF7B66}" presName="node" presStyleLbl="node1" presStyleIdx="2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8D77E6C-9E07-4195-BF67-9B25D7196EAA}" type="pres">
      <dgm:prSet presAssocID="{1B128018-3255-4C3E-A6F2-B681F04F9947}" presName="sibTrans" presStyleLbl="sibTrans2D1" presStyleIdx="2" presStyleCnt="8" custLinFactNeighborX="-1795" custLinFactNeighborY="5787"/>
      <dgm:spPr/>
      <dgm:t>
        <a:bodyPr/>
        <a:lstStyle/>
        <a:p>
          <a:endParaRPr lang="en-US"/>
        </a:p>
      </dgm:t>
    </dgm:pt>
    <dgm:pt modelId="{B03BAD51-824A-4B72-B5C9-F4D969B0FE1F}" type="pres">
      <dgm:prSet presAssocID="{1B128018-3255-4C3E-A6F2-B681F04F9947}" presName="connectorText" presStyleLbl="sibTrans2D1" presStyleIdx="2" presStyleCnt="8"/>
      <dgm:spPr/>
      <dgm:t>
        <a:bodyPr/>
        <a:lstStyle/>
        <a:p>
          <a:endParaRPr lang="en-US"/>
        </a:p>
      </dgm:t>
    </dgm:pt>
    <dgm:pt modelId="{10DF5648-7416-434C-8BC3-0F92F96B97CB}" type="pres">
      <dgm:prSet presAssocID="{A2DE258B-5EDD-47A4-A98D-065D917BEA6A}" presName="node" presStyleLbl="node1" presStyleIdx="3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48B252-526A-4E26-936C-C9CCF666F5DE}" type="pres">
      <dgm:prSet presAssocID="{D13B4EC8-F381-4E7D-AB9E-D011BAF0CD91}" presName="sibTrans" presStyleLbl="sibTrans2D1" presStyleIdx="3" presStyleCnt="8" custLinFactNeighborX="-7376" custLinFactNeighborY="-1344"/>
      <dgm:spPr/>
      <dgm:t>
        <a:bodyPr/>
        <a:lstStyle/>
        <a:p>
          <a:endParaRPr lang="en-US"/>
        </a:p>
      </dgm:t>
    </dgm:pt>
    <dgm:pt modelId="{036AA6AD-A8A4-4086-BC2C-1512CC873A0D}" type="pres">
      <dgm:prSet presAssocID="{D13B4EC8-F381-4E7D-AB9E-D011BAF0CD91}" presName="connectorText" presStyleLbl="sibTrans2D1" presStyleIdx="3" presStyleCnt="8"/>
      <dgm:spPr/>
      <dgm:t>
        <a:bodyPr/>
        <a:lstStyle/>
        <a:p>
          <a:endParaRPr lang="en-US"/>
        </a:p>
      </dgm:t>
    </dgm:pt>
    <dgm:pt modelId="{6D3AEE44-43FD-48EE-8CF1-7C4499C3371A}" type="pres">
      <dgm:prSet presAssocID="{2A62AF5F-6435-4364-A72A-478E6CFEE794}" presName="node" presStyleLbl="node1" presStyleIdx="4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F72D01-FAD7-4120-AE83-1A0F208ED1F8}" type="pres">
      <dgm:prSet presAssocID="{5F942606-2424-4829-90AD-5B91C84FC30D}" presName="sibTrans" presStyleLbl="sibTrans2D1" presStyleIdx="4" presStyleCnt="8" custLinFactNeighborX="17358" custLinFactNeighborY="-4381"/>
      <dgm:spPr/>
      <dgm:t>
        <a:bodyPr/>
        <a:lstStyle/>
        <a:p>
          <a:endParaRPr lang="en-US"/>
        </a:p>
      </dgm:t>
    </dgm:pt>
    <dgm:pt modelId="{AABABA15-70F9-4FFF-A43F-542ACDA84C22}" type="pres">
      <dgm:prSet presAssocID="{5F942606-2424-4829-90AD-5B91C84FC30D}" presName="connectorText" presStyleLbl="sibTrans2D1" presStyleIdx="4" presStyleCnt="8"/>
      <dgm:spPr/>
      <dgm:t>
        <a:bodyPr/>
        <a:lstStyle/>
        <a:p>
          <a:endParaRPr lang="en-US"/>
        </a:p>
      </dgm:t>
    </dgm:pt>
    <dgm:pt modelId="{BF16CC55-EE22-4FA0-B744-3C75ED0CDFB9}" type="pres">
      <dgm:prSet presAssocID="{21A7C13D-FF6D-4CD5-A5D6-359A981AEAF3}" presName="node" presStyleLbl="node1" presStyleIdx="5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6B0C22-5E1F-47C4-ABDB-F0D776289AB1}" type="pres">
      <dgm:prSet presAssocID="{144435B7-8C3A-43C1-B9ED-815C237DE833}" presName="sibTrans" presStyleLbl="sibTrans2D1" presStyleIdx="5" presStyleCnt="8"/>
      <dgm:spPr/>
      <dgm:t>
        <a:bodyPr/>
        <a:lstStyle/>
        <a:p>
          <a:endParaRPr lang="en-US"/>
        </a:p>
      </dgm:t>
    </dgm:pt>
    <dgm:pt modelId="{6741C56C-4C87-4BA4-8853-C720F6210EC5}" type="pres">
      <dgm:prSet presAssocID="{144435B7-8C3A-43C1-B9ED-815C237DE833}" presName="connectorText" presStyleLbl="sibTrans2D1" presStyleIdx="5" presStyleCnt="8"/>
      <dgm:spPr/>
      <dgm:t>
        <a:bodyPr/>
        <a:lstStyle/>
        <a:p>
          <a:endParaRPr lang="en-US"/>
        </a:p>
      </dgm:t>
    </dgm:pt>
    <dgm:pt modelId="{7D66EB39-461E-4387-864C-3DC4290864AF}" type="pres">
      <dgm:prSet presAssocID="{997EB590-F184-40B9-B422-CDD04BC86DB3}" presName="node" presStyleLbl="node1" presStyleIdx="6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33039C-BA0A-4FD7-AF5B-4CA33D23A3BE}" type="pres">
      <dgm:prSet presAssocID="{F831478C-E0B0-48C6-A4A5-1917C276FBD6}" presName="sibTrans" presStyleLbl="sibTrans2D1" presStyleIdx="6" presStyleCnt="8"/>
      <dgm:spPr/>
      <dgm:t>
        <a:bodyPr/>
        <a:lstStyle/>
        <a:p>
          <a:endParaRPr lang="en-US"/>
        </a:p>
      </dgm:t>
    </dgm:pt>
    <dgm:pt modelId="{2D5E3A06-7608-427B-8000-20DCF6ED2E43}" type="pres">
      <dgm:prSet presAssocID="{F831478C-E0B0-48C6-A4A5-1917C276FBD6}" presName="connectorText" presStyleLbl="sibTrans2D1" presStyleIdx="6" presStyleCnt="8"/>
      <dgm:spPr/>
      <dgm:t>
        <a:bodyPr/>
        <a:lstStyle/>
        <a:p>
          <a:endParaRPr lang="en-US"/>
        </a:p>
      </dgm:t>
    </dgm:pt>
    <dgm:pt modelId="{1E8F4112-35A4-4295-87F4-B72985AE28CB}" type="pres">
      <dgm:prSet presAssocID="{0D1DC267-EDB7-48C8-8BFA-4E7B7031A1E1}" presName="node" presStyleLbl="node1" presStyleIdx="7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BA764D-ECD5-4996-9C44-8A0A5F19889D}" type="pres">
      <dgm:prSet presAssocID="{BE8F2A95-D086-4AF1-A9DE-4EF362944DEF}" presName="sibTrans" presStyleLbl="sibTrans2D1" presStyleIdx="7" presStyleCnt="8" custLinFactNeighborX="4917" custLinFactNeighborY="-2615"/>
      <dgm:spPr/>
      <dgm:t>
        <a:bodyPr/>
        <a:lstStyle/>
        <a:p>
          <a:endParaRPr lang="en-US"/>
        </a:p>
      </dgm:t>
    </dgm:pt>
    <dgm:pt modelId="{8D66E80D-3792-44A1-A555-C859786D3F71}" type="pres">
      <dgm:prSet presAssocID="{BE8F2A95-D086-4AF1-A9DE-4EF362944DEF}" presName="connectorText" presStyleLbl="sibTrans2D1" presStyleIdx="7" presStyleCnt="8"/>
      <dgm:spPr/>
      <dgm:t>
        <a:bodyPr/>
        <a:lstStyle/>
        <a:p>
          <a:endParaRPr lang="en-US"/>
        </a:p>
      </dgm:t>
    </dgm:pt>
    <dgm:pt modelId="{B3269C98-FE39-4934-95BE-9C10E0C6B355}" type="pres">
      <dgm:prSet presAssocID="{2551C04F-020F-495D-A318-D01245191349}" presName="node" presStyleLbl="node1" presStyleIdx="8" presStyleCnt="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F9E4E38-6804-47B0-A5FE-1B24D721901A}" type="presOf" srcId="{144435B7-8C3A-43C1-B9ED-815C237DE833}" destId="{6741C56C-4C87-4BA4-8853-C720F6210EC5}" srcOrd="1" destOrd="0" presId="urn:microsoft.com/office/officeart/2005/8/layout/process5"/>
    <dgm:cxn modelId="{248E913F-F986-4C61-B0CA-ADDBD4285CD9}" srcId="{262B9D00-C826-4E11-8429-177F52B13C39}" destId="{997EB590-F184-40B9-B422-CDD04BC86DB3}" srcOrd="6" destOrd="0" parTransId="{1DA14726-53EF-4823-B553-F4F5FB0C2891}" sibTransId="{F831478C-E0B0-48C6-A4A5-1917C276FBD6}"/>
    <dgm:cxn modelId="{F7B052A1-5664-4D70-AAD9-C2A9912DC3ED}" type="presOf" srcId="{D13B4EC8-F381-4E7D-AB9E-D011BAF0CD91}" destId="{7848B252-526A-4E26-936C-C9CCF666F5DE}" srcOrd="0" destOrd="0" presId="urn:microsoft.com/office/officeart/2005/8/layout/process5"/>
    <dgm:cxn modelId="{302F391F-B1A8-486D-BCEF-F541FE7143D4}" srcId="{262B9D00-C826-4E11-8429-177F52B13C39}" destId="{310EC75C-E063-4A6D-B708-652AE6A98FFB}" srcOrd="1" destOrd="0" parTransId="{DC529E6A-B598-4A66-9DC8-0689D344A803}" sibTransId="{F26F70EC-E779-4452-97E7-E0713E7366DB}"/>
    <dgm:cxn modelId="{E2A43AF9-53FA-4ADA-88A5-FAC0B7DB1532}" srcId="{262B9D00-C826-4E11-8429-177F52B13C39}" destId="{AD54CEA8-5F53-4347-86E7-E38FF30F9C6D}" srcOrd="0" destOrd="0" parTransId="{DE73FDEF-55AF-4C8C-BC8B-D06C900BD70A}" sibTransId="{7687A3FF-D23F-4D53-AB0F-6B1DA8BA7B9C}"/>
    <dgm:cxn modelId="{15D5D475-47AE-4D70-9F34-64C8B0712544}" type="presOf" srcId="{BE8F2A95-D086-4AF1-A9DE-4EF362944DEF}" destId="{8D66E80D-3792-44A1-A555-C859786D3F71}" srcOrd="1" destOrd="0" presId="urn:microsoft.com/office/officeart/2005/8/layout/process5"/>
    <dgm:cxn modelId="{76DF4266-7E31-48FA-A542-4F5121C6CF84}" type="presOf" srcId="{262B9D00-C826-4E11-8429-177F52B13C39}" destId="{98281E7A-B42B-4A60-8F0A-02FBBE192048}" srcOrd="0" destOrd="0" presId="urn:microsoft.com/office/officeart/2005/8/layout/process5"/>
    <dgm:cxn modelId="{AF4DF3CD-81C8-45FB-8C06-BF6C252F2B7A}" type="presOf" srcId="{1B128018-3255-4C3E-A6F2-B681F04F9947}" destId="{B8D77E6C-9E07-4195-BF67-9B25D7196EAA}" srcOrd="0" destOrd="0" presId="urn:microsoft.com/office/officeart/2005/8/layout/process5"/>
    <dgm:cxn modelId="{744DF3DB-9E55-4042-8AB2-40EDDE4E90F7}" srcId="{262B9D00-C826-4E11-8429-177F52B13C39}" destId="{0D1DC267-EDB7-48C8-8BFA-4E7B7031A1E1}" srcOrd="7" destOrd="0" parTransId="{AB64DA9E-ABDB-4FF6-911E-D6747CAD5678}" sibTransId="{BE8F2A95-D086-4AF1-A9DE-4EF362944DEF}"/>
    <dgm:cxn modelId="{1AC98B62-A59B-432D-980F-F94E64B170F6}" type="presOf" srcId="{5F942606-2424-4829-90AD-5B91C84FC30D}" destId="{D5F72D01-FAD7-4120-AE83-1A0F208ED1F8}" srcOrd="0" destOrd="0" presId="urn:microsoft.com/office/officeart/2005/8/layout/process5"/>
    <dgm:cxn modelId="{91CEE8BB-09DA-444B-8A37-1B6972922514}" type="presOf" srcId="{7687A3FF-D23F-4D53-AB0F-6B1DA8BA7B9C}" destId="{80702E3B-FA77-4C95-8465-C752588C38FB}" srcOrd="1" destOrd="0" presId="urn:microsoft.com/office/officeart/2005/8/layout/process5"/>
    <dgm:cxn modelId="{6FE6A8E4-FA3A-49B6-9901-C9DA34466931}" srcId="{262B9D00-C826-4E11-8429-177F52B13C39}" destId="{2A62AF5F-6435-4364-A72A-478E6CFEE794}" srcOrd="4" destOrd="0" parTransId="{54E1A5CC-FC95-4B5C-8E76-70D09B9F9705}" sibTransId="{5F942606-2424-4829-90AD-5B91C84FC30D}"/>
    <dgm:cxn modelId="{3B9187A1-A02A-4089-AC67-DB95439638C0}" srcId="{262B9D00-C826-4E11-8429-177F52B13C39}" destId="{5B07F661-21FD-4226-B11E-25E019FF7B66}" srcOrd="2" destOrd="0" parTransId="{65D33F37-9CD7-40B7-A709-C11C8AC09BA9}" sibTransId="{1B128018-3255-4C3E-A6F2-B681F04F9947}"/>
    <dgm:cxn modelId="{C11700C1-4ACE-415F-ADE5-68D20F185481}" type="presOf" srcId="{F831478C-E0B0-48C6-A4A5-1917C276FBD6}" destId="{2D5E3A06-7608-427B-8000-20DCF6ED2E43}" srcOrd="1" destOrd="0" presId="urn:microsoft.com/office/officeart/2005/8/layout/process5"/>
    <dgm:cxn modelId="{BC608BFB-C927-4C4C-8CA1-87AD4C3C8A4C}" type="presOf" srcId="{997EB590-F184-40B9-B422-CDD04BC86DB3}" destId="{7D66EB39-461E-4387-864C-3DC4290864AF}" srcOrd="0" destOrd="0" presId="urn:microsoft.com/office/officeart/2005/8/layout/process5"/>
    <dgm:cxn modelId="{2FCC0AA3-04DD-46D6-9C61-1D603FB84819}" type="presOf" srcId="{0D1DC267-EDB7-48C8-8BFA-4E7B7031A1E1}" destId="{1E8F4112-35A4-4295-87F4-B72985AE28CB}" srcOrd="0" destOrd="0" presId="urn:microsoft.com/office/officeart/2005/8/layout/process5"/>
    <dgm:cxn modelId="{BED800D9-C33B-4443-9FBA-86700EEE7D79}" type="presOf" srcId="{F26F70EC-E779-4452-97E7-E0713E7366DB}" destId="{39A16790-742C-466A-95A4-0BF22E5FCD7A}" srcOrd="0" destOrd="0" presId="urn:microsoft.com/office/officeart/2005/8/layout/process5"/>
    <dgm:cxn modelId="{EA007520-B7F8-44FB-9915-186ADD10EA9C}" type="presOf" srcId="{F831478C-E0B0-48C6-A4A5-1917C276FBD6}" destId="{9733039C-BA0A-4FD7-AF5B-4CA33D23A3BE}" srcOrd="0" destOrd="0" presId="urn:microsoft.com/office/officeart/2005/8/layout/process5"/>
    <dgm:cxn modelId="{7423E718-E37F-48BC-9F0D-E56502F0A6C8}" type="presOf" srcId="{F26F70EC-E779-4452-97E7-E0713E7366DB}" destId="{C56007E9-35BB-4D39-9B1A-57F61D92EDEB}" srcOrd="1" destOrd="0" presId="urn:microsoft.com/office/officeart/2005/8/layout/process5"/>
    <dgm:cxn modelId="{90D5A08E-238F-423D-8293-222901E39838}" type="presOf" srcId="{AD54CEA8-5F53-4347-86E7-E38FF30F9C6D}" destId="{01A49A10-DA55-43D2-B848-2A752A4B7FB1}" srcOrd="0" destOrd="0" presId="urn:microsoft.com/office/officeart/2005/8/layout/process5"/>
    <dgm:cxn modelId="{FD1EF74A-9411-4551-802D-270C8705394F}" type="presOf" srcId="{7687A3FF-D23F-4D53-AB0F-6B1DA8BA7B9C}" destId="{3877E669-BE62-41BC-9950-13C5D39E30D2}" srcOrd="0" destOrd="0" presId="urn:microsoft.com/office/officeart/2005/8/layout/process5"/>
    <dgm:cxn modelId="{39237697-2E58-484C-ABA4-C86F5629A50A}" srcId="{262B9D00-C826-4E11-8429-177F52B13C39}" destId="{A2DE258B-5EDD-47A4-A98D-065D917BEA6A}" srcOrd="3" destOrd="0" parTransId="{FCFAA163-428E-432A-AC4A-0C193CBD4A8D}" sibTransId="{D13B4EC8-F381-4E7D-AB9E-D011BAF0CD91}"/>
    <dgm:cxn modelId="{260F1CD6-2241-421E-96E2-C38A98824839}" type="presOf" srcId="{2A62AF5F-6435-4364-A72A-478E6CFEE794}" destId="{6D3AEE44-43FD-48EE-8CF1-7C4499C3371A}" srcOrd="0" destOrd="0" presId="urn:microsoft.com/office/officeart/2005/8/layout/process5"/>
    <dgm:cxn modelId="{A7AF24D7-7A32-495E-A728-33B6EB87644D}" srcId="{262B9D00-C826-4E11-8429-177F52B13C39}" destId="{21A7C13D-FF6D-4CD5-A5D6-359A981AEAF3}" srcOrd="5" destOrd="0" parTransId="{A1DA8FDB-A69A-4776-85C4-89D44544563B}" sibTransId="{144435B7-8C3A-43C1-B9ED-815C237DE833}"/>
    <dgm:cxn modelId="{C68991A4-5230-48BD-8050-DDEA24FF64A5}" srcId="{262B9D00-C826-4E11-8429-177F52B13C39}" destId="{2551C04F-020F-495D-A318-D01245191349}" srcOrd="8" destOrd="0" parTransId="{BCDB9010-55FA-404A-9363-BA57C20B00BD}" sibTransId="{7F9DF969-7821-47A1-8C06-4A22D451FC9B}"/>
    <dgm:cxn modelId="{ADC199B5-99A2-4FDA-943E-953DB272B400}" type="presOf" srcId="{21A7C13D-FF6D-4CD5-A5D6-359A981AEAF3}" destId="{BF16CC55-EE22-4FA0-B744-3C75ED0CDFB9}" srcOrd="0" destOrd="0" presId="urn:microsoft.com/office/officeart/2005/8/layout/process5"/>
    <dgm:cxn modelId="{F683EB49-28AF-4FA4-993B-51FFDFEAEC28}" type="presOf" srcId="{A2DE258B-5EDD-47A4-A98D-065D917BEA6A}" destId="{10DF5648-7416-434C-8BC3-0F92F96B97CB}" srcOrd="0" destOrd="0" presId="urn:microsoft.com/office/officeart/2005/8/layout/process5"/>
    <dgm:cxn modelId="{A16456D8-7AA0-43DC-85A6-935B7C420B6F}" type="presOf" srcId="{144435B7-8C3A-43C1-B9ED-815C237DE833}" destId="{316B0C22-5E1F-47C4-ABDB-F0D776289AB1}" srcOrd="0" destOrd="0" presId="urn:microsoft.com/office/officeart/2005/8/layout/process5"/>
    <dgm:cxn modelId="{5364BC46-E1EA-45D3-BDB7-0BD0E3AA1F15}" type="presOf" srcId="{5B07F661-21FD-4226-B11E-25E019FF7B66}" destId="{7D12FF1B-AFF2-41BF-A1B9-96394947895C}" srcOrd="0" destOrd="0" presId="urn:microsoft.com/office/officeart/2005/8/layout/process5"/>
    <dgm:cxn modelId="{94D0CD4D-5337-435F-9C0F-F4765F62A29E}" type="presOf" srcId="{5F942606-2424-4829-90AD-5B91C84FC30D}" destId="{AABABA15-70F9-4FFF-A43F-542ACDA84C22}" srcOrd="1" destOrd="0" presId="urn:microsoft.com/office/officeart/2005/8/layout/process5"/>
    <dgm:cxn modelId="{05859D0A-90DE-4327-998A-A2F35B671AA6}" type="presOf" srcId="{BE8F2A95-D086-4AF1-A9DE-4EF362944DEF}" destId="{42BA764D-ECD5-4996-9C44-8A0A5F19889D}" srcOrd="0" destOrd="0" presId="urn:microsoft.com/office/officeart/2005/8/layout/process5"/>
    <dgm:cxn modelId="{82037EA4-19BF-478D-AC93-8D55C15C1A41}" type="presOf" srcId="{2551C04F-020F-495D-A318-D01245191349}" destId="{B3269C98-FE39-4934-95BE-9C10E0C6B355}" srcOrd="0" destOrd="0" presId="urn:microsoft.com/office/officeart/2005/8/layout/process5"/>
    <dgm:cxn modelId="{59495722-58E5-4DE3-8375-D7D717BFD113}" type="presOf" srcId="{1B128018-3255-4C3E-A6F2-B681F04F9947}" destId="{B03BAD51-824A-4B72-B5C9-F4D969B0FE1F}" srcOrd="1" destOrd="0" presId="urn:microsoft.com/office/officeart/2005/8/layout/process5"/>
    <dgm:cxn modelId="{4819A246-1860-4A33-A2C8-44F7A00B0DF2}" type="presOf" srcId="{D13B4EC8-F381-4E7D-AB9E-D011BAF0CD91}" destId="{036AA6AD-A8A4-4086-BC2C-1512CC873A0D}" srcOrd="1" destOrd="0" presId="urn:microsoft.com/office/officeart/2005/8/layout/process5"/>
    <dgm:cxn modelId="{C3A2307E-F2A9-4CD2-A3AB-7B43E09AA768}" type="presOf" srcId="{310EC75C-E063-4A6D-B708-652AE6A98FFB}" destId="{FB08B26A-8E52-454A-9694-166FDA94A66C}" srcOrd="0" destOrd="0" presId="urn:microsoft.com/office/officeart/2005/8/layout/process5"/>
    <dgm:cxn modelId="{8AA25576-EC07-4B1C-84B5-6C4D0E19A9FD}" type="presParOf" srcId="{98281E7A-B42B-4A60-8F0A-02FBBE192048}" destId="{01A49A10-DA55-43D2-B848-2A752A4B7FB1}" srcOrd="0" destOrd="0" presId="urn:microsoft.com/office/officeart/2005/8/layout/process5"/>
    <dgm:cxn modelId="{FCBAB23E-1484-4D6C-8F5F-4D7212ADF041}" type="presParOf" srcId="{98281E7A-B42B-4A60-8F0A-02FBBE192048}" destId="{3877E669-BE62-41BC-9950-13C5D39E30D2}" srcOrd="1" destOrd="0" presId="urn:microsoft.com/office/officeart/2005/8/layout/process5"/>
    <dgm:cxn modelId="{71B53D2E-0C8A-4B08-BAF6-DBE1F446599C}" type="presParOf" srcId="{3877E669-BE62-41BC-9950-13C5D39E30D2}" destId="{80702E3B-FA77-4C95-8465-C752588C38FB}" srcOrd="0" destOrd="0" presId="urn:microsoft.com/office/officeart/2005/8/layout/process5"/>
    <dgm:cxn modelId="{A94E3159-658F-434B-B1D3-A816C3FC4984}" type="presParOf" srcId="{98281E7A-B42B-4A60-8F0A-02FBBE192048}" destId="{FB08B26A-8E52-454A-9694-166FDA94A66C}" srcOrd="2" destOrd="0" presId="urn:microsoft.com/office/officeart/2005/8/layout/process5"/>
    <dgm:cxn modelId="{D77102A6-1833-44BB-A56F-C66A604FCDE4}" type="presParOf" srcId="{98281E7A-B42B-4A60-8F0A-02FBBE192048}" destId="{39A16790-742C-466A-95A4-0BF22E5FCD7A}" srcOrd="3" destOrd="0" presId="urn:microsoft.com/office/officeart/2005/8/layout/process5"/>
    <dgm:cxn modelId="{F97C59B6-C97B-4F83-959E-53474CE73F33}" type="presParOf" srcId="{39A16790-742C-466A-95A4-0BF22E5FCD7A}" destId="{C56007E9-35BB-4D39-9B1A-57F61D92EDEB}" srcOrd="0" destOrd="0" presId="urn:microsoft.com/office/officeart/2005/8/layout/process5"/>
    <dgm:cxn modelId="{E6B207BE-02DF-4CD1-BCA7-63A29529D5A0}" type="presParOf" srcId="{98281E7A-B42B-4A60-8F0A-02FBBE192048}" destId="{7D12FF1B-AFF2-41BF-A1B9-96394947895C}" srcOrd="4" destOrd="0" presId="urn:microsoft.com/office/officeart/2005/8/layout/process5"/>
    <dgm:cxn modelId="{63ACD90F-6A2A-439F-B4B0-400B6B2DEC53}" type="presParOf" srcId="{98281E7A-B42B-4A60-8F0A-02FBBE192048}" destId="{B8D77E6C-9E07-4195-BF67-9B25D7196EAA}" srcOrd="5" destOrd="0" presId="urn:microsoft.com/office/officeart/2005/8/layout/process5"/>
    <dgm:cxn modelId="{45FBFA04-B353-49ED-92E1-1430B2C75277}" type="presParOf" srcId="{B8D77E6C-9E07-4195-BF67-9B25D7196EAA}" destId="{B03BAD51-824A-4B72-B5C9-F4D969B0FE1F}" srcOrd="0" destOrd="0" presId="urn:microsoft.com/office/officeart/2005/8/layout/process5"/>
    <dgm:cxn modelId="{EB96FCEC-9BEA-4967-BA94-C3483DFB1F87}" type="presParOf" srcId="{98281E7A-B42B-4A60-8F0A-02FBBE192048}" destId="{10DF5648-7416-434C-8BC3-0F92F96B97CB}" srcOrd="6" destOrd="0" presId="urn:microsoft.com/office/officeart/2005/8/layout/process5"/>
    <dgm:cxn modelId="{606B246F-1FE9-4126-8DCF-1709FF97487A}" type="presParOf" srcId="{98281E7A-B42B-4A60-8F0A-02FBBE192048}" destId="{7848B252-526A-4E26-936C-C9CCF666F5DE}" srcOrd="7" destOrd="0" presId="urn:microsoft.com/office/officeart/2005/8/layout/process5"/>
    <dgm:cxn modelId="{1FC1B7B5-F5FE-49A6-93C3-3F71E4ADF300}" type="presParOf" srcId="{7848B252-526A-4E26-936C-C9CCF666F5DE}" destId="{036AA6AD-A8A4-4086-BC2C-1512CC873A0D}" srcOrd="0" destOrd="0" presId="urn:microsoft.com/office/officeart/2005/8/layout/process5"/>
    <dgm:cxn modelId="{3650C7C4-1816-4BC6-9266-93D21DF0EB1D}" type="presParOf" srcId="{98281E7A-B42B-4A60-8F0A-02FBBE192048}" destId="{6D3AEE44-43FD-48EE-8CF1-7C4499C3371A}" srcOrd="8" destOrd="0" presId="urn:microsoft.com/office/officeart/2005/8/layout/process5"/>
    <dgm:cxn modelId="{326B69F7-9225-4F52-881D-0AEFF9F98498}" type="presParOf" srcId="{98281E7A-B42B-4A60-8F0A-02FBBE192048}" destId="{D5F72D01-FAD7-4120-AE83-1A0F208ED1F8}" srcOrd="9" destOrd="0" presId="urn:microsoft.com/office/officeart/2005/8/layout/process5"/>
    <dgm:cxn modelId="{A59AA5D6-CF4D-46F2-AB01-50E3F62EFBFA}" type="presParOf" srcId="{D5F72D01-FAD7-4120-AE83-1A0F208ED1F8}" destId="{AABABA15-70F9-4FFF-A43F-542ACDA84C22}" srcOrd="0" destOrd="0" presId="urn:microsoft.com/office/officeart/2005/8/layout/process5"/>
    <dgm:cxn modelId="{A7BBCFDC-DF90-4CE3-AB4F-72FC561FA4AD}" type="presParOf" srcId="{98281E7A-B42B-4A60-8F0A-02FBBE192048}" destId="{BF16CC55-EE22-4FA0-B744-3C75ED0CDFB9}" srcOrd="10" destOrd="0" presId="urn:microsoft.com/office/officeart/2005/8/layout/process5"/>
    <dgm:cxn modelId="{03D4F5E0-2153-4588-A0B4-8AFDB3750685}" type="presParOf" srcId="{98281E7A-B42B-4A60-8F0A-02FBBE192048}" destId="{316B0C22-5E1F-47C4-ABDB-F0D776289AB1}" srcOrd="11" destOrd="0" presId="urn:microsoft.com/office/officeart/2005/8/layout/process5"/>
    <dgm:cxn modelId="{EC5163B5-856D-4A29-9C18-14B5F4023155}" type="presParOf" srcId="{316B0C22-5E1F-47C4-ABDB-F0D776289AB1}" destId="{6741C56C-4C87-4BA4-8853-C720F6210EC5}" srcOrd="0" destOrd="0" presId="urn:microsoft.com/office/officeart/2005/8/layout/process5"/>
    <dgm:cxn modelId="{981CECF4-5DBF-4ADD-A2C4-36CB6B999DE6}" type="presParOf" srcId="{98281E7A-B42B-4A60-8F0A-02FBBE192048}" destId="{7D66EB39-461E-4387-864C-3DC4290864AF}" srcOrd="12" destOrd="0" presId="urn:microsoft.com/office/officeart/2005/8/layout/process5"/>
    <dgm:cxn modelId="{D76023CF-F505-4F9C-BA18-7F44EFDACD67}" type="presParOf" srcId="{98281E7A-B42B-4A60-8F0A-02FBBE192048}" destId="{9733039C-BA0A-4FD7-AF5B-4CA33D23A3BE}" srcOrd="13" destOrd="0" presId="urn:microsoft.com/office/officeart/2005/8/layout/process5"/>
    <dgm:cxn modelId="{8C60C9F9-833A-450C-817E-07428A717529}" type="presParOf" srcId="{9733039C-BA0A-4FD7-AF5B-4CA33D23A3BE}" destId="{2D5E3A06-7608-427B-8000-20DCF6ED2E43}" srcOrd="0" destOrd="0" presId="urn:microsoft.com/office/officeart/2005/8/layout/process5"/>
    <dgm:cxn modelId="{53CE9A72-2B5E-4CCE-B8F7-52933887A60C}" type="presParOf" srcId="{98281E7A-B42B-4A60-8F0A-02FBBE192048}" destId="{1E8F4112-35A4-4295-87F4-B72985AE28CB}" srcOrd="14" destOrd="0" presId="urn:microsoft.com/office/officeart/2005/8/layout/process5"/>
    <dgm:cxn modelId="{F02979A8-2DEF-4AA2-9C06-41B6CF12C244}" type="presParOf" srcId="{98281E7A-B42B-4A60-8F0A-02FBBE192048}" destId="{42BA764D-ECD5-4996-9C44-8A0A5F19889D}" srcOrd="15" destOrd="0" presId="urn:microsoft.com/office/officeart/2005/8/layout/process5"/>
    <dgm:cxn modelId="{0E100EAB-209A-48A7-80D9-0C9851D3285C}" type="presParOf" srcId="{42BA764D-ECD5-4996-9C44-8A0A5F19889D}" destId="{8D66E80D-3792-44A1-A555-C859786D3F71}" srcOrd="0" destOrd="0" presId="urn:microsoft.com/office/officeart/2005/8/layout/process5"/>
    <dgm:cxn modelId="{E39ED928-F3E0-4F9A-AD7A-4555378B379E}" type="presParOf" srcId="{98281E7A-B42B-4A60-8F0A-02FBBE192048}" destId="{B3269C98-FE39-4934-95BE-9C10E0C6B355}" srcOrd="16" destOrd="0" presId="urn:microsoft.com/office/officeart/2005/8/layout/process5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A49A10-DA55-43D2-B848-2A752A4B7FB1}">
      <dsp:nvSpPr>
        <dsp:cNvPr id="0" name=""/>
        <dsp:cNvSpPr/>
      </dsp:nvSpPr>
      <dsp:spPr>
        <a:xfrm>
          <a:off x="5115" y="647911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Akses</a:t>
          </a:r>
          <a:r>
            <a:rPr lang="en-US" sz="1400" kern="1200" dirty="0"/>
            <a:t> Portal </a:t>
          </a:r>
          <a:r>
            <a:rPr lang="en-US" sz="1400" kern="1200" dirty="0" err="1"/>
            <a:t>Perizinan</a:t>
          </a:r>
          <a:r>
            <a:rPr lang="en-US" sz="1400" kern="1200" dirty="0"/>
            <a:t> PUPR</a:t>
          </a:r>
          <a:endParaRPr lang="id-ID" sz="1400" kern="1200" dirty="0"/>
        </a:p>
      </dsp:txBody>
      <dsp:txXfrm>
        <a:off x="32981" y="675777"/>
        <a:ext cx="1529977" cy="895693"/>
      </dsp:txXfrm>
    </dsp:sp>
    <dsp:sp modelId="{3877E669-BE62-41BC-9950-13C5D39E30D2}">
      <dsp:nvSpPr>
        <dsp:cNvPr id="0" name=""/>
        <dsp:cNvSpPr/>
      </dsp:nvSpPr>
      <dsp:spPr>
        <a:xfrm rot="8930">
          <a:off x="1731908" y="929863"/>
          <a:ext cx="339886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1731908" y="1008382"/>
        <a:ext cx="237920" cy="235953"/>
      </dsp:txXfrm>
    </dsp:sp>
    <dsp:sp modelId="{FB08B26A-8E52-454A-9694-166FDA94A66C}">
      <dsp:nvSpPr>
        <dsp:cNvPr id="0" name=""/>
        <dsp:cNvSpPr/>
      </dsp:nvSpPr>
      <dsp:spPr>
        <a:xfrm>
          <a:off x="2232117" y="65369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Registrasi</a:t>
          </a:r>
          <a:r>
            <a:rPr lang="en-US" sz="1400" kern="1200" dirty="0"/>
            <a:t> </a:t>
          </a:r>
          <a:r>
            <a:rPr lang="en-US" sz="1400" kern="1200" dirty="0" err="1"/>
            <a:t>Akun</a:t>
          </a:r>
          <a:r>
            <a:rPr lang="en-US" sz="1400" kern="1200" dirty="0"/>
            <a:t> SKK-K</a:t>
          </a:r>
          <a:endParaRPr lang="id-ID" sz="1400" kern="1200" dirty="0"/>
        </a:p>
      </dsp:txBody>
      <dsp:txXfrm>
        <a:off x="2259983" y="681561"/>
        <a:ext cx="1529977" cy="895693"/>
      </dsp:txXfrm>
    </dsp:sp>
    <dsp:sp modelId="{39A16790-742C-466A-95A4-0BF22E5FCD7A}">
      <dsp:nvSpPr>
        <dsp:cNvPr id="0" name=""/>
        <dsp:cNvSpPr/>
      </dsp:nvSpPr>
      <dsp:spPr>
        <a:xfrm rot="21591014">
          <a:off x="3864617" y="946504"/>
          <a:ext cx="332456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3864617" y="1025285"/>
        <a:ext cx="232719" cy="235953"/>
      </dsp:txXfrm>
    </dsp:sp>
    <dsp:sp modelId="{7D12FF1B-AFF2-41BF-A1B9-96394947895C}">
      <dsp:nvSpPr>
        <dsp:cNvPr id="0" name=""/>
        <dsp:cNvSpPr/>
      </dsp:nvSpPr>
      <dsp:spPr>
        <a:xfrm>
          <a:off x="4445101" y="647911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Login </a:t>
          </a:r>
          <a:r>
            <a:rPr lang="en-US" sz="1400" kern="1200" dirty="0" err="1"/>
            <a:t>dengan</a:t>
          </a:r>
          <a:r>
            <a:rPr lang="en-US" sz="1400" kern="1200" dirty="0"/>
            <a:t> </a:t>
          </a:r>
          <a:r>
            <a:rPr lang="en-US" sz="1400" kern="1200" dirty="0" err="1"/>
            <a:t>akun</a:t>
          </a:r>
          <a:r>
            <a:rPr lang="en-US" sz="1400" kern="1200" dirty="0"/>
            <a:t> </a:t>
          </a:r>
          <a:r>
            <a:rPr lang="en-US" sz="1400" kern="1200" dirty="0" err="1"/>
            <a:t>yg</a:t>
          </a:r>
          <a:r>
            <a:rPr lang="en-US" sz="1400" kern="1200" dirty="0"/>
            <a:t> </a:t>
          </a:r>
          <a:r>
            <a:rPr lang="en-US" sz="1400" kern="1200" dirty="0" err="1"/>
            <a:t>dikirim</a:t>
          </a:r>
          <a:r>
            <a:rPr lang="en-US" sz="1400" kern="1200" dirty="0"/>
            <a:t> </a:t>
          </a:r>
          <a:r>
            <a:rPr lang="en-US" sz="1400" kern="1200" dirty="0" err="1"/>
            <a:t>melalui</a:t>
          </a:r>
          <a:r>
            <a:rPr lang="en-US" sz="1400" kern="1200" dirty="0"/>
            <a:t> Email</a:t>
          </a:r>
          <a:endParaRPr lang="id-ID" sz="1400" kern="1200" dirty="0"/>
        </a:p>
      </dsp:txBody>
      <dsp:txXfrm>
        <a:off x="4472967" y="675777"/>
        <a:ext cx="1529977" cy="895693"/>
      </dsp:txXfrm>
    </dsp:sp>
    <dsp:sp modelId="{B8D77E6C-9E07-4195-BF67-9B25D7196EAA}">
      <dsp:nvSpPr>
        <dsp:cNvPr id="0" name=""/>
        <dsp:cNvSpPr/>
      </dsp:nvSpPr>
      <dsp:spPr>
        <a:xfrm>
          <a:off x="6042094" y="898107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D" sz="1100" kern="1200"/>
        </a:p>
      </dsp:txBody>
      <dsp:txXfrm>
        <a:off x="6042094" y="976758"/>
        <a:ext cx="235319" cy="235953"/>
      </dsp:txXfrm>
    </dsp:sp>
    <dsp:sp modelId="{2B6E1E24-A7FA-4049-86FC-9D12842052E7}">
      <dsp:nvSpPr>
        <dsp:cNvPr id="0" name=""/>
        <dsp:cNvSpPr/>
      </dsp:nvSpPr>
      <dsp:spPr>
        <a:xfrm>
          <a:off x="6665095" y="647911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rmohonan</a:t>
          </a:r>
          <a:r>
            <a:rPr lang="en-US" sz="1400" kern="1200" dirty="0"/>
            <a:t> SKK</a:t>
          </a:r>
          <a:endParaRPr lang="id-ID" sz="1400" kern="1200" dirty="0"/>
        </a:p>
      </dsp:txBody>
      <dsp:txXfrm>
        <a:off x="6692961" y="675777"/>
        <a:ext cx="1529977" cy="895693"/>
      </dsp:txXfrm>
    </dsp:sp>
    <dsp:sp modelId="{1DF05F3B-4E23-47B7-9399-FA0B1A3EC9AF}">
      <dsp:nvSpPr>
        <dsp:cNvPr id="0" name=""/>
        <dsp:cNvSpPr/>
      </dsp:nvSpPr>
      <dsp:spPr>
        <a:xfrm>
          <a:off x="8390346" y="926996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8390346" y="1005647"/>
        <a:ext cx="235319" cy="235953"/>
      </dsp:txXfrm>
    </dsp:sp>
    <dsp:sp modelId="{C53C5ED3-16AC-4B3F-9B93-D856278E85E8}">
      <dsp:nvSpPr>
        <dsp:cNvPr id="0" name=""/>
        <dsp:cNvSpPr/>
      </dsp:nvSpPr>
      <dsp:spPr>
        <a:xfrm>
          <a:off x="8885088" y="647911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gisian</a:t>
          </a:r>
          <a:r>
            <a:rPr lang="en-US" sz="1400" kern="1200" dirty="0"/>
            <a:t> Data Personal dan </a:t>
          </a:r>
          <a:r>
            <a:rPr lang="en-US" sz="1400" kern="1200" dirty="0" err="1"/>
            <a:t>Persyaratan</a:t>
          </a:r>
          <a:endParaRPr lang="id-ID" sz="1400" kern="1200" dirty="0"/>
        </a:p>
      </dsp:txBody>
      <dsp:txXfrm>
        <a:off x="8912954" y="675777"/>
        <a:ext cx="1529977" cy="895693"/>
      </dsp:txXfrm>
    </dsp:sp>
    <dsp:sp modelId="{B98488BD-C1A4-477A-8CF9-A79D8E5107F2}">
      <dsp:nvSpPr>
        <dsp:cNvPr id="0" name=""/>
        <dsp:cNvSpPr/>
      </dsp:nvSpPr>
      <dsp:spPr>
        <a:xfrm rot="5400000">
          <a:off x="9549418" y="1748403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-5400000">
        <a:off x="9599527" y="1776946"/>
        <a:ext cx="235953" cy="235319"/>
      </dsp:txXfrm>
    </dsp:sp>
    <dsp:sp modelId="{519EAD41-65A7-4AAB-AFFA-DCC2B68A3AFF}">
      <dsp:nvSpPr>
        <dsp:cNvPr id="0" name=""/>
        <dsp:cNvSpPr/>
      </dsp:nvSpPr>
      <dsp:spPr>
        <a:xfrm>
          <a:off x="8885088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Mendapatkan</a:t>
          </a:r>
          <a:endParaRPr lang="en-US" sz="1400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D-</a:t>
          </a:r>
          <a:r>
            <a:rPr lang="en-US" sz="1400" kern="1200" dirty="0" err="1"/>
            <a:t>Izin</a:t>
          </a:r>
          <a:endParaRPr lang="en-US" sz="1400" kern="1200" dirty="0"/>
        </a:p>
      </dsp:txBody>
      <dsp:txXfrm>
        <a:off x="8912954" y="2261486"/>
        <a:ext cx="1529977" cy="895693"/>
      </dsp:txXfrm>
    </dsp:sp>
    <dsp:sp modelId="{3FF3E634-1966-415E-85D5-38A897C4E7E3}">
      <dsp:nvSpPr>
        <dsp:cNvPr id="0" name=""/>
        <dsp:cNvSpPr/>
      </dsp:nvSpPr>
      <dsp:spPr>
        <a:xfrm rot="10800000">
          <a:off x="8509954" y="2489648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>
              <a:highlight>
                <a:srgbClr val="FFFF00"/>
              </a:highlight>
            </a:rPr>
            <a:t>20</a:t>
          </a:r>
          <a:endParaRPr lang="id-ID" sz="1100" kern="1200" dirty="0">
            <a:highlight>
              <a:srgbClr val="FFFF00"/>
            </a:highlight>
          </a:endParaRPr>
        </a:p>
      </dsp:txBody>
      <dsp:txXfrm rot="10800000">
        <a:off x="8610805" y="2568299"/>
        <a:ext cx="235319" cy="235953"/>
      </dsp:txXfrm>
    </dsp:sp>
    <dsp:sp modelId="{10DF5648-7416-434C-8BC3-0F92F96B97CB}">
      <dsp:nvSpPr>
        <dsp:cNvPr id="0" name=""/>
        <dsp:cNvSpPr/>
      </dsp:nvSpPr>
      <dsp:spPr>
        <a:xfrm>
          <a:off x="6665095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rmohonan</a:t>
          </a:r>
          <a:r>
            <a:rPr lang="en-US" sz="1400" kern="1200" dirty="0"/>
            <a:t> </a:t>
          </a:r>
          <a:r>
            <a:rPr lang="en-US" sz="1400" kern="1200" dirty="0" err="1"/>
            <a:t>Diterima</a:t>
          </a:r>
          <a:r>
            <a:rPr lang="en-US" sz="1400" kern="1200" dirty="0"/>
            <a:t> LSP</a:t>
          </a:r>
        </a:p>
      </dsp:txBody>
      <dsp:txXfrm>
        <a:off x="6692961" y="2261486"/>
        <a:ext cx="1529977" cy="895693"/>
      </dsp:txXfrm>
    </dsp:sp>
    <dsp:sp modelId="{7848B252-526A-4E26-936C-C9CCF666F5DE}">
      <dsp:nvSpPr>
        <dsp:cNvPr id="0" name=""/>
        <dsp:cNvSpPr/>
      </dsp:nvSpPr>
      <dsp:spPr>
        <a:xfrm rot="10800000">
          <a:off x="6252659" y="2511789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10800000">
        <a:off x="6353510" y="2590440"/>
        <a:ext cx="235319" cy="235953"/>
      </dsp:txXfrm>
    </dsp:sp>
    <dsp:sp modelId="{6D3AEE44-43FD-48EE-8CF1-7C4499C3371A}">
      <dsp:nvSpPr>
        <dsp:cNvPr id="0" name=""/>
        <dsp:cNvSpPr/>
      </dsp:nvSpPr>
      <dsp:spPr>
        <a:xfrm>
          <a:off x="4445101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Verifikasi</a:t>
          </a:r>
          <a:r>
            <a:rPr lang="en-US" sz="1400" kern="1200" dirty="0"/>
            <a:t> </a:t>
          </a:r>
          <a:r>
            <a:rPr lang="en-US" sz="1400" kern="1200" dirty="0" err="1"/>
            <a:t>Kelengkapan</a:t>
          </a:r>
          <a:endParaRPr lang="en-US" sz="1400" kern="1200" dirty="0"/>
        </a:p>
      </dsp:txBody>
      <dsp:txXfrm>
        <a:off x="4472967" y="2261486"/>
        <a:ext cx="1529977" cy="895693"/>
      </dsp:txXfrm>
    </dsp:sp>
    <dsp:sp modelId="{D5F72D01-FAD7-4120-AE83-1A0F208ED1F8}">
      <dsp:nvSpPr>
        <dsp:cNvPr id="0" name=""/>
        <dsp:cNvSpPr/>
      </dsp:nvSpPr>
      <dsp:spPr>
        <a:xfrm rot="10800000">
          <a:off x="4042290" y="2520417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>
              <a:highlight>
                <a:srgbClr val="FFFF00"/>
              </a:highlight>
            </a:rPr>
            <a:t>11</a:t>
          </a:r>
          <a:endParaRPr lang="id-ID" sz="1100" kern="1200" dirty="0">
            <a:highlight>
              <a:srgbClr val="FFFF00"/>
            </a:highlight>
          </a:endParaRPr>
        </a:p>
      </dsp:txBody>
      <dsp:txXfrm rot="10800000">
        <a:off x="4143141" y="2599068"/>
        <a:ext cx="235319" cy="235953"/>
      </dsp:txXfrm>
    </dsp:sp>
    <dsp:sp modelId="{BF16CC55-EE22-4FA0-B744-3C75ED0CDFB9}">
      <dsp:nvSpPr>
        <dsp:cNvPr id="0" name=""/>
        <dsp:cNvSpPr/>
      </dsp:nvSpPr>
      <dsp:spPr>
        <a:xfrm>
          <a:off x="2225108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mbayaran</a:t>
          </a:r>
          <a:endParaRPr lang="en-US" sz="1400" kern="1200" dirty="0"/>
        </a:p>
      </dsp:txBody>
      <dsp:txXfrm>
        <a:off x="2252974" y="2261486"/>
        <a:ext cx="1529977" cy="895693"/>
      </dsp:txXfrm>
    </dsp:sp>
    <dsp:sp modelId="{316B0C22-5E1F-47C4-ABDB-F0D776289AB1}">
      <dsp:nvSpPr>
        <dsp:cNvPr id="0" name=""/>
        <dsp:cNvSpPr/>
      </dsp:nvSpPr>
      <dsp:spPr>
        <a:xfrm rot="10800000">
          <a:off x="1749395" y="2512705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>
              <a:highlight>
                <a:srgbClr val="FFFF00"/>
              </a:highlight>
            </a:rPr>
            <a:t>31</a:t>
          </a:r>
          <a:endParaRPr lang="id-ID" sz="1100" kern="1200" dirty="0">
            <a:highlight>
              <a:srgbClr val="FFFF00"/>
            </a:highlight>
          </a:endParaRPr>
        </a:p>
      </dsp:txBody>
      <dsp:txXfrm rot="10800000">
        <a:off x="1850246" y="2591356"/>
        <a:ext cx="235319" cy="235953"/>
      </dsp:txXfrm>
    </dsp:sp>
    <dsp:sp modelId="{7D66EB39-461E-4387-864C-3DC4290864AF}">
      <dsp:nvSpPr>
        <dsp:cNvPr id="0" name=""/>
        <dsp:cNvSpPr/>
      </dsp:nvSpPr>
      <dsp:spPr>
        <a:xfrm>
          <a:off x="5115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Uji </a:t>
          </a:r>
          <a:r>
            <a:rPr lang="en-US" sz="1400" kern="1200" dirty="0" err="1"/>
            <a:t>Kompetensi</a:t>
          </a:r>
          <a:endParaRPr lang="en-US" sz="1400" kern="1200" dirty="0"/>
        </a:p>
      </dsp:txBody>
      <dsp:txXfrm>
        <a:off x="32981" y="2261486"/>
        <a:ext cx="1529977" cy="895693"/>
      </dsp:txXfrm>
    </dsp:sp>
    <dsp:sp modelId="{9733039C-BA0A-4FD7-AF5B-4CA33D23A3BE}">
      <dsp:nvSpPr>
        <dsp:cNvPr id="0" name=""/>
        <dsp:cNvSpPr/>
      </dsp:nvSpPr>
      <dsp:spPr>
        <a:xfrm rot="5400000">
          <a:off x="629884" y="3296046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-5400000">
        <a:off x="679993" y="3324589"/>
        <a:ext cx="235953" cy="235319"/>
      </dsp:txXfrm>
    </dsp:sp>
    <dsp:sp modelId="{1E8F4112-35A4-4295-87F4-B72985AE28CB}">
      <dsp:nvSpPr>
        <dsp:cNvPr id="0" name=""/>
        <dsp:cNvSpPr/>
      </dsp:nvSpPr>
      <dsp:spPr>
        <a:xfrm>
          <a:off x="5115" y="381933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etapan</a:t>
          </a:r>
          <a:r>
            <a:rPr lang="en-US" sz="1400" kern="1200" dirty="0"/>
            <a:t> Hasil Uji </a:t>
          </a:r>
          <a:r>
            <a:rPr lang="en-US" sz="1400" kern="1200" dirty="0" err="1"/>
            <a:t>Kompetensi</a:t>
          </a:r>
          <a:r>
            <a:rPr lang="en-US" sz="1400" kern="1200" dirty="0"/>
            <a:t> oleh </a:t>
          </a:r>
          <a:r>
            <a:rPr lang="en-US" sz="1400" kern="1200" dirty="0" err="1"/>
            <a:t>Komite</a:t>
          </a:r>
          <a:r>
            <a:rPr lang="en-US" sz="1400" kern="1200" dirty="0"/>
            <a:t> Teknis</a:t>
          </a:r>
        </a:p>
      </dsp:txBody>
      <dsp:txXfrm>
        <a:off x="32981" y="3847196"/>
        <a:ext cx="1529977" cy="895693"/>
      </dsp:txXfrm>
    </dsp:sp>
    <dsp:sp modelId="{42BA764D-ECD5-4996-9C44-8A0A5F19889D}">
      <dsp:nvSpPr>
        <dsp:cNvPr id="0" name=""/>
        <dsp:cNvSpPr/>
      </dsp:nvSpPr>
      <dsp:spPr>
        <a:xfrm>
          <a:off x="1659324" y="4088131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1659324" y="4166782"/>
        <a:ext cx="235319" cy="235953"/>
      </dsp:txXfrm>
    </dsp:sp>
    <dsp:sp modelId="{40DA85B8-AB36-40AB-8A67-B0700BBA8244}">
      <dsp:nvSpPr>
        <dsp:cNvPr id="0" name=""/>
        <dsp:cNvSpPr/>
      </dsp:nvSpPr>
      <dsp:spPr>
        <a:xfrm>
          <a:off x="2225108" y="3903930"/>
          <a:ext cx="1585709" cy="78222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catatan</a:t>
          </a:r>
          <a:endParaRPr lang="en-US" sz="1400" kern="1200" dirty="0"/>
        </a:p>
      </dsp:txBody>
      <dsp:txXfrm>
        <a:off x="2248019" y="3926841"/>
        <a:ext cx="1539887" cy="736402"/>
      </dsp:txXfrm>
    </dsp:sp>
    <dsp:sp modelId="{0E8071CD-006C-4360-B296-0E1A84EE250A}">
      <dsp:nvSpPr>
        <dsp:cNvPr id="0" name=""/>
        <dsp:cNvSpPr/>
      </dsp:nvSpPr>
      <dsp:spPr>
        <a:xfrm>
          <a:off x="3909324" y="4097911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3909324" y="4176562"/>
        <a:ext cx="235319" cy="235953"/>
      </dsp:txXfrm>
    </dsp:sp>
    <dsp:sp modelId="{B3269C98-FE39-4934-95BE-9C10E0C6B355}">
      <dsp:nvSpPr>
        <dsp:cNvPr id="0" name=""/>
        <dsp:cNvSpPr/>
      </dsp:nvSpPr>
      <dsp:spPr>
        <a:xfrm>
          <a:off x="4445101" y="381933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erbitan</a:t>
          </a:r>
          <a:r>
            <a:rPr lang="en-US" sz="1400" kern="1200" dirty="0"/>
            <a:t> SKK-K </a:t>
          </a:r>
          <a:r>
            <a:rPr lang="en-US" sz="1400" kern="1200" dirty="0" err="1"/>
            <a:t>elektronik</a:t>
          </a:r>
          <a:endParaRPr lang="en-US" sz="1400" kern="1200" dirty="0"/>
        </a:p>
      </dsp:txBody>
      <dsp:txXfrm>
        <a:off x="4472967" y="3847196"/>
        <a:ext cx="1529977" cy="895693"/>
      </dsp:txXfrm>
    </dsp:sp>
    <dsp:sp modelId="{F7B36BAE-25BD-4995-A0A7-28D989B3241F}">
      <dsp:nvSpPr>
        <dsp:cNvPr id="0" name=""/>
        <dsp:cNvSpPr/>
      </dsp:nvSpPr>
      <dsp:spPr>
        <a:xfrm>
          <a:off x="6107022" y="4097911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>
              <a:highlight>
                <a:srgbClr val="FFFF00"/>
              </a:highlight>
            </a:rPr>
            <a:t>50</a:t>
          </a:r>
          <a:endParaRPr lang="id-ID" sz="1100" kern="1200" dirty="0">
            <a:highlight>
              <a:srgbClr val="FFFF00"/>
            </a:highlight>
          </a:endParaRPr>
        </a:p>
      </dsp:txBody>
      <dsp:txXfrm>
        <a:off x="6107022" y="4176562"/>
        <a:ext cx="235319" cy="235953"/>
      </dsp:txXfrm>
    </dsp:sp>
    <dsp:sp modelId="{8534CBB5-8797-46BC-A736-3AC7DDECF8A2}">
      <dsp:nvSpPr>
        <dsp:cNvPr id="0" name=""/>
        <dsp:cNvSpPr/>
      </dsp:nvSpPr>
      <dsp:spPr>
        <a:xfrm>
          <a:off x="6665095" y="381933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SKK-K </a:t>
          </a:r>
          <a:r>
            <a:rPr lang="en-US" sz="1400" kern="1200" dirty="0" err="1"/>
            <a:t>elektronik</a:t>
          </a:r>
          <a:r>
            <a:rPr lang="en-US" sz="1400" kern="1200" dirty="0"/>
            <a:t> </a:t>
          </a:r>
          <a:r>
            <a:rPr lang="en-US" sz="1400" kern="1200" dirty="0" err="1"/>
            <a:t>diterima</a:t>
          </a:r>
          <a:r>
            <a:rPr lang="en-US" sz="1400" kern="1200" dirty="0"/>
            <a:t> </a:t>
          </a:r>
          <a:r>
            <a:rPr lang="en-US" sz="1400" kern="1200" dirty="0" err="1"/>
            <a:t>melalui</a:t>
          </a:r>
          <a:r>
            <a:rPr lang="en-US" sz="1400" kern="1200" dirty="0"/>
            <a:t> Portal </a:t>
          </a:r>
          <a:r>
            <a:rPr lang="en-US" sz="1400" kern="1200" dirty="0" err="1"/>
            <a:t>Perizinan</a:t>
          </a:r>
          <a:r>
            <a:rPr lang="en-US" sz="1400" kern="1200" dirty="0"/>
            <a:t> PUPR</a:t>
          </a:r>
        </a:p>
      </dsp:txBody>
      <dsp:txXfrm>
        <a:off x="6692961" y="3847196"/>
        <a:ext cx="1529977" cy="895693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A49A10-DA55-43D2-B848-2A752A4B7FB1}">
      <dsp:nvSpPr>
        <dsp:cNvPr id="0" name=""/>
        <dsp:cNvSpPr/>
      </dsp:nvSpPr>
      <dsp:spPr>
        <a:xfrm>
          <a:off x="5115" y="56154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Akses</a:t>
          </a:r>
          <a:r>
            <a:rPr lang="en-US" sz="1400" kern="1200" dirty="0"/>
            <a:t> Portal </a:t>
          </a:r>
          <a:r>
            <a:rPr lang="en-US" sz="1400" kern="1200" dirty="0" err="1"/>
            <a:t>Perizinan</a:t>
          </a:r>
          <a:r>
            <a:rPr lang="en-US" sz="1400" kern="1200" dirty="0"/>
            <a:t> PUPR</a:t>
          </a:r>
          <a:endParaRPr lang="id-ID" sz="1400" kern="1200" dirty="0"/>
        </a:p>
      </dsp:txBody>
      <dsp:txXfrm>
        <a:off x="32981" y="589411"/>
        <a:ext cx="1529977" cy="895693"/>
      </dsp:txXfrm>
    </dsp:sp>
    <dsp:sp modelId="{3877E669-BE62-41BC-9950-13C5D39E30D2}">
      <dsp:nvSpPr>
        <dsp:cNvPr id="0" name=""/>
        <dsp:cNvSpPr/>
      </dsp:nvSpPr>
      <dsp:spPr>
        <a:xfrm rot="8930">
          <a:off x="1731908" y="843497"/>
          <a:ext cx="339886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1731908" y="922016"/>
        <a:ext cx="237920" cy="235953"/>
      </dsp:txXfrm>
    </dsp:sp>
    <dsp:sp modelId="{FB08B26A-8E52-454A-9694-166FDA94A66C}">
      <dsp:nvSpPr>
        <dsp:cNvPr id="0" name=""/>
        <dsp:cNvSpPr/>
      </dsp:nvSpPr>
      <dsp:spPr>
        <a:xfrm>
          <a:off x="2232117" y="56733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Registrasi</a:t>
          </a:r>
          <a:r>
            <a:rPr lang="en-US" sz="1400" kern="1200" dirty="0"/>
            <a:t> Akun SKK-K</a:t>
          </a:r>
          <a:endParaRPr lang="id-ID" sz="1400" kern="1200" dirty="0"/>
        </a:p>
      </dsp:txBody>
      <dsp:txXfrm>
        <a:off x="2259983" y="595196"/>
        <a:ext cx="1529977" cy="895693"/>
      </dsp:txXfrm>
    </dsp:sp>
    <dsp:sp modelId="{39A16790-742C-466A-95A4-0BF22E5FCD7A}">
      <dsp:nvSpPr>
        <dsp:cNvPr id="0" name=""/>
        <dsp:cNvSpPr/>
      </dsp:nvSpPr>
      <dsp:spPr>
        <a:xfrm rot="21591014">
          <a:off x="3864617" y="860138"/>
          <a:ext cx="332456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3864617" y="938919"/>
        <a:ext cx="232719" cy="235953"/>
      </dsp:txXfrm>
    </dsp:sp>
    <dsp:sp modelId="{7D12FF1B-AFF2-41BF-A1B9-96394947895C}">
      <dsp:nvSpPr>
        <dsp:cNvPr id="0" name=""/>
        <dsp:cNvSpPr/>
      </dsp:nvSpPr>
      <dsp:spPr>
        <a:xfrm>
          <a:off x="4445101" y="56154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Login </a:t>
          </a:r>
          <a:r>
            <a:rPr lang="en-US" sz="1400" kern="1200" dirty="0" err="1"/>
            <a:t>dengan</a:t>
          </a:r>
          <a:r>
            <a:rPr lang="en-US" sz="1400" kern="1200" dirty="0"/>
            <a:t> </a:t>
          </a:r>
          <a:r>
            <a:rPr lang="en-US" sz="1400" kern="1200" dirty="0" err="1"/>
            <a:t>akun</a:t>
          </a:r>
          <a:r>
            <a:rPr lang="en-US" sz="1400" kern="1200" dirty="0"/>
            <a:t> </a:t>
          </a:r>
          <a:r>
            <a:rPr lang="en-US" sz="1400" kern="1200" dirty="0" err="1"/>
            <a:t>yg</a:t>
          </a:r>
          <a:r>
            <a:rPr lang="en-US" sz="1400" kern="1200" dirty="0"/>
            <a:t> </a:t>
          </a:r>
          <a:r>
            <a:rPr lang="en-US" sz="1400" kern="1200" dirty="0" err="1"/>
            <a:t>dikirim</a:t>
          </a:r>
          <a:r>
            <a:rPr lang="en-US" sz="1400" kern="1200" dirty="0"/>
            <a:t> </a:t>
          </a:r>
          <a:r>
            <a:rPr lang="en-US" sz="1400" kern="1200" dirty="0" err="1"/>
            <a:t>melalui</a:t>
          </a:r>
          <a:r>
            <a:rPr lang="en-US" sz="1400" kern="1200" dirty="0"/>
            <a:t> Email</a:t>
          </a:r>
          <a:endParaRPr lang="id-ID" sz="1400" kern="1200" dirty="0"/>
        </a:p>
      </dsp:txBody>
      <dsp:txXfrm>
        <a:off x="4472967" y="589411"/>
        <a:ext cx="1529977" cy="895693"/>
      </dsp:txXfrm>
    </dsp:sp>
    <dsp:sp modelId="{B8D77E6C-9E07-4195-BF67-9B25D7196EAA}">
      <dsp:nvSpPr>
        <dsp:cNvPr id="0" name=""/>
        <dsp:cNvSpPr/>
      </dsp:nvSpPr>
      <dsp:spPr>
        <a:xfrm>
          <a:off x="6042094" y="811741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D" sz="1100" kern="1200"/>
        </a:p>
      </dsp:txBody>
      <dsp:txXfrm>
        <a:off x="6042094" y="890392"/>
        <a:ext cx="235319" cy="235953"/>
      </dsp:txXfrm>
    </dsp:sp>
    <dsp:sp modelId="{2B6E1E24-A7FA-4049-86FC-9D12842052E7}">
      <dsp:nvSpPr>
        <dsp:cNvPr id="0" name=""/>
        <dsp:cNvSpPr/>
      </dsp:nvSpPr>
      <dsp:spPr>
        <a:xfrm>
          <a:off x="6665095" y="56154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rmohonan</a:t>
          </a:r>
          <a:r>
            <a:rPr lang="en-US" sz="1400" kern="1200" dirty="0"/>
            <a:t> </a:t>
          </a:r>
          <a:r>
            <a:rPr lang="en-US" sz="1400" kern="1200" dirty="0">
              <a:sym typeface="Wingdings" panose="05000000000000000000" pitchFamily="2" charset="2"/>
            </a:rPr>
            <a:t> Baru  </a:t>
          </a:r>
          <a:r>
            <a:rPr lang="en-US" sz="1400" b="1" i="1" kern="1200" dirty="0" err="1">
              <a:sym typeface="Wingdings" panose="05000000000000000000" pitchFamily="2" charset="2"/>
            </a:rPr>
            <a:t>Freshgraduate</a:t>
          </a:r>
          <a:endParaRPr lang="id-ID" sz="1400" b="1" i="1" kern="1200" dirty="0"/>
        </a:p>
      </dsp:txBody>
      <dsp:txXfrm>
        <a:off x="6692961" y="589411"/>
        <a:ext cx="1529977" cy="895693"/>
      </dsp:txXfrm>
    </dsp:sp>
    <dsp:sp modelId="{1DF05F3B-4E23-47B7-9399-FA0B1A3EC9AF}">
      <dsp:nvSpPr>
        <dsp:cNvPr id="0" name=""/>
        <dsp:cNvSpPr/>
      </dsp:nvSpPr>
      <dsp:spPr>
        <a:xfrm>
          <a:off x="8390346" y="840630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8390346" y="919281"/>
        <a:ext cx="235319" cy="235953"/>
      </dsp:txXfrm>
    </dsp:sp>
    <dsp:sp modelId="{C53C5ED3-16AC-4B3F-9B93-D856278E85E8}">
      <dsp:nvSpPr>
        <dsp:cNvPr id="0" name=""/>
        <dsp:cNvSpPr/>
      </dsp:nvSpPr>
      <dsp:spPr>
        <a:xfrm>
          <a:off x="8885088" y="56154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gisian</a:t>
          </a:r>
          <a:r>
            <a:rPr lang="en-US" sz="1400" kern="1200" dirty="0"/>
            <a:t> Data </a:t>
          </a:r>
          <a:r>
            <a:rPr lang="en-US" sz="1400" kern="1200" dirty="0" err="1"/>
            <a:t>Pemohon</a:t>
          </a:r>
          <a:r>
            <a:rPr lang="en-US" sz="1400" kern="1200" dirty="0"/>
            <a:t> dan </a:t>
          </a:r>
          <a:r>
            <a:rPr lang="en-US" sz="1400" kern="1200" dirty="0" err="1"/>
            <a:t>Persyaratan</a:t>
          </a:r>
          <a:endParaRPr lang="id-ID" sz="1400" kern="1200" dirty="0"/>
        </a:p>
      </dsp:txBody>
      <dsp:txXfrm>
        <a:off x="8912954" y="589411"/>
        <a:ext cx="1529977" cy="895693"/>
      </dsp:txXfrm>
    </dsp:sp>
    <dsp:sp modelId="{B98488BD-C1A4-477A-8CF9-A79D8E5107F2}">
      <dsp:nvSpPr>
        <dsp:cNvPr id="0" name=""/>
        <dsp:cNvSpPr/>
      </dsp:nvSpPr>
      <dsp:spPr>
        <a:xfrm rot="5400000">
          <a:off x="9531918" y="1703925"/>
          <a:ext cx="381944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-5400000">
        <a:off x="9604914" y="1709581"/>
        <a:ext cx="235953" cy="267361"/>
      </dsp:txXfrm>
    </dsp:sp>
    <dsp:sp modelId="{519EAD41-65A7-4AAB-AFFA-DCC2B68A3AFF}">
      <dsp:nvSpPr>
        <dsp:cNvPr id="0" name=""/>
        <dsp:cNvSpPr/>
      </dsp:nvSpPr>
      <dsp:spPr>
        <a:xfrm>
          <a:off x="8885088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Ijazah/SKL, </a:t>
          </a:r>
          <a:r>
            <a:rPr lang="en-US" sz="1400" b="1" kern="1200" dirty="0" err="1"/>
            <a:t>Sertifikat</a:t>
          </a:r>
          <a:r>
            <a:rPr lang="en-US" sz="1400" b="1" kern="1200" dirty="0"/>
            <a:t> SIBIMA</a:t>
          </a:r>
          <a:r>
            <a:rPr lang="en-US" sz="1400" kern="1200" dirty="0"/>
            <a:t>, dan </a:t>
          </a:r>
          <a:r>
            <a:rPr lang="en-US" sz="1400" b="1" kern="1200" dirty="0" err="1"/>
            <a:t>Sertifikat</a:t>
          </a:r>
          <a:r>
            <a:rPr lang="en-US" sz="1400" b="1" kern="1200" dirty="0"/>
            <a:t> PKT (32 JPL)</a:t>
          </a:r>
        </a:p>
      </dsp:txBody>
      <dsp:txXfrm>
        <a:off x="8912954" y="2261486"/>
        <a:ext cx="1529977" cy="895693"/>
      </dsp:txXfrm>
    </dsp:sp>
    <dsp:sp modelId="{3FF3E634-1966-415E-85D5-38A897C4E7E3}">
      <dsp:nvSpPr>
        <dsp:cNvPr id="0" name=""/>
        <dsp:cNvSpPr/>
      </dsp:nvSpPr>
      <dsp:spPr>
        <a:xfrm rot="10800000">
          <a:off x="8509954" y="2489648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10800000">
        <a:off x="8610805" y="2568299"/>
        <a:ext cx="235319" cy="235953"/>
      </dsp:txXfrm>
    </dsp:sp>
    <dsp:sp modelId="{10DF5648-7416-434C-8BC3-0F92F96B97CB}">
      <dsp:nvSpPr>
        <dsp:cNvPr id="0" name=""/>
        <dsp:cNvSpPr/>
      </dsp:nvSpPr>
      <dsp:spPr>
        <a:xfrm>
          <a:off x="6773938" y="2147254"/>
          <a:ext cx="1476866" cy="1124157"/>
        </a:xfrm>
        <a:prstGeom prst="flowChartDocument">
          <a:avLst/>
        </a:prstGeom>
        <a:solidFill>
          <a:srgbClr val="FFFF00"/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err="1"/>
            <a:t>Sertifikat</a:t>
          </a:r>
          <a:r>
            <a:rPr lang="en-US" sz="1400" b="1" kern="1200" dirty="0"/>
            <a:t> PKT </a:t>
          </a:r>
          <a:r>
            <a:rPr lang="en-US" sz="1400" kern="1200" dirty="0" err="1"/>
            <a:t>didapat</a:t>
          </a:r>
          <a:r>
            <a:rPr lang="en-US" sz="1400" kern="1200" dirty="0"/>
            <a:t> </a:t>
          </a:r>
          <a:r>
            <a:rPr lang="en-US" sz="1400" kern="1200" dirty="0" err="1"/>
            <a:t>dengan</a:t>
          </a:r>
          <a:r>
            <a:rPr lang="en-US" sz="1400" kern="1200" dirty="0"/>
            <a:t> </a:t>
          </a:r>
          <a:r>
            <a:rPr lang="en-US" sz="1400" kern="1200" dirty="0" err="1"/>
            <a:t>mengikuti</a:t>
          </a:r>
          <a:r>
            <a:rPr lang="en-US" sz="1400" kern="1200" dirty="0"/>
            <a:t> </a:t>
          </a:r>
          <a:r>
            <a:rPr lang="en-US" sz="1400" kern="1200" dirty="0" err="1"/>
            <a:t>kegiatan</a:t>
          </a:r>
          <a:r>
            <a:rPr lang="en-US" sz="1400" kern="1200" dirty="0"/>
            <a:t> </a:t>
          </a:r>
          <a:r>
            <a:rPr lang="en-US" sz="1400" kern="1200" dirty="0" err="1"/>
            <a:t>pelatihan</a:t>
          </a:r>
          <a:r>
            <a:rPr lang="en-US" sz="1400" kern="1200" dirty="0"/>
            <a:t> </a:t>
          </a:r>
          <a:r>
            <a:rPr lang="en-US" sz="1400" b="1" kern="1200" dirty="0"/>
            <a:t>BJKW</a:t>
          </a:r>
        </a:p>
      </dsp:txBody>
      <dsp:txXfrm>
        <a:off x="6773938" y="2147254"/>
        <a:ext cx="1476866" cy="901511"/>
      </dsp:txXfrm>
    </dsp:sp>
    <dsp:sp modelId="{7848B252-526A-4E26-936C-C9CCF666F5DE}">
      <dsp:nvSpPr>
        <dsp:cNvPr id="0" name=""/>
        <dsp:cNvSpPr/>
      </dsp:nvSpPr>
      <dsp:spPr>
        <a:xfrm rot="10800000">
          <a:off x="6361502" y="2511789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10800000">
        <a:off x="6462353" y="2590440"/>
        <a:ext cx="235319" cy="235953"/>
      </dsp:txXfrm>
    </dsp:sp>
    <dsp:sp modelId="{6D3AEE44-43FD-48EE-8CF1-7C4499C3371A}">
      <dsp:nvSpPr>
        <dsp:cNvPr id="0" name=""/>
        <dsp:cNvSpPr/>
      </dsp:nvSpPr>
      <dsp:spPr>
        <a:xfrm>
          <a:off x="4553944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Verifikasi</a:t>
          </a:r>
          <a:r>
            <a:rPr lang="en-US" sz="1400" kern="1200" dirty="0"/>
            <a:t> </a:t>
          </a:r>
          <a:r>
            <a:rPr lang="en-US" sz="1400" kern="1200" dirty="0" err="1"/>
            <a:t>Kelengkapan</a:t>
          </a:r>
          <a:r>
            <a:rPr lang="en-US" sz="1400" kern="1200" dirty="0"/>
            <a:t> oleh LSP</a:t>
          </a:r>
        </a:p>
      </dsp:txBody>
      <dsp:txXfrm>
        <a:off x="4581810" y="2261486"/>
        <a:ext cx="1529977" cy="895693"/>
      </dsp:txXfrm>
    </dsp:sp>
    <dsp:sp modelId="{D5F72D01-FAD7-4120-AE83-1A0F208ED1F8}">
      <dsp:nvSpPr>
        <dsp:cNvPr id="0" name=""/>
        <dsp:cNvSpPr/>
      </dsp:nvSpPr>
      <dsp:spPr>
        <a:xfrm rot="10800000">
          <a:off x="4151133" y="2520417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10800000">
        <a:off x="4251984" y="2599068"/>
        <a:ext cx="235319" cy="235953"/>
      </dsp:txXfrm>
    </dsp:sp>
    <dsp:sp modelId="{BF16CC55-EE22-4FA0-B744-3C75ED0CDFB9}">
      <dsp:nvSpPr>
        <dsp:cNvPr id="0" name=""/>
        <dsp:cNvSpPr/>
      </dsp:nvSpPr>
      <dsp:spPr>
        <a:xfrm>
          <a:off x="2333951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mbayaran</a:t>
          </a:r>
          <a:endParaRPr lang="en-US" sz="1400" kern="1200" dirty="0"/>
        </a:p>
      </dsp:txBody>
      <dsp:txXfrm>
        <a:off x="2361817" y="2261486"/>
        <a:ext cx="1529977" cy="895693"/>
      </dsp:txXfrm>
    </dsp:sp>
    <dsp:sp modelId="{316B0C22-5E1F-47C4-ABDB-F0D776289AB1}">
      <dsp:nvSpPr>
        <dsp:cNvPr id="0" name=""/>
        <dsp:cNvSpPr/>
      </dsp:nvSpPr>
      <dsp:spPr>
        <a:xfrm rot="10800000">
          <a:off x="1858238" y="2512705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10800000">
        <a:off x="1959089" y="2591356"/>
        <a:ext cx="235319" cy="235953"/>
      </dsp:txXfrm>
    </dsp:sp>
    <dsp:sp modelId="{7D66EB39-461E-4387-864C-3DC4290864AF}">
      <dsp:nvSpPr>
        <dsp:cNvPr id="0" name=""/>
        <dsp:cNvSpPr/>
      </dsp:nvSpPr>
      <dsp:spPr>
        <a:xfrm>
          <a:off x="113958" y="2233620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Uji </a:t>
          </a:r>
          <a:r>
            <a:rPr lang="en-US" sz="1400" kern="1200" dirty="0" err="1"/>
            <a:t>Kompetensi</a:t>
          </a:r>
          <a:endParaRPr lang="en-US" sz="1400" kern="1200" dirty="0"/>
        </a:p>
      </dsp:txBody>
      <dsp:txXfrm>
        <a:off x="141824" y="2261486"/>
        <a:ext cx="1529977" cy="895693"/>
      </dsp:txXfrm>
    </dsp:sp>
    <dsp:sp modelId="{9733039C-BA0A-4FD7-AF5B-4CA33D23A3BE}">
      <dsp:nvSpPr>
        <dsp:cNvPr id="0" name=""/>
        <dsp:cNvSpPr/>
      </dsp:nvSpPr>
      <dsp:spPr>
        <a:xfrm rot="5400000">
          <a:off x="715840" y="3337933"/>
          <a:ext cx="381944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 rot="-5400000">
        <a:off x="788836" y="3343589"/>
        <a:ext cx="235953" cy="267361"/>
      </dsp:txXfrm>
    </dsp:sp>
    <dsp:sp modelId="{1E8F4112-35A4-4295-87F4-B72985AE28CB}">
      <dsp:nvSpPr>
        <dsp:cNvPr id="0" name=""/>
        <dsp:cNvSpPr/>
      </dsp:nvSpPr>
      <dsp:spPr>
        <a:xfrm>
          <a:off x="113958" y="390569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etapan</a:t>
          </a:r>
          <a:r>
            <a:rPr lang="en-US" sz="1400" kern="1200" dirty="0"/>
            <a:t> Hasil Uji </a:t>
          </a:r>
          <a:r>
            <a:rPr lang="en-US" sz="1400" kern="1200" dirty="0" err="1"/>
            <a:t>Kompetensi</a:t>
          </a:r>
          <a:r>
            <a:rPr lang="en-US" sz="1400" kern="1200" dirty="0"/>
            <a:t> oleh </a:t>
          </a:r>
          <a:r>
            <a:rPr lang="en-US" sz="1400" kern="1200" dirty="0" err="1"/>
            <a:t>Komite</a:t>
          </a:r>
          <a:r>
            <a:rPr lang="en-US" sz="1400" kern="1200" dirty="0"/>
            <a:t> Teknis</a:t>
          </a:r>
        </a:p>
      </dsp:txBody>
      <dsp:txXfrm>
        <a:off x="141824" y="3933561"/>
        <a:ext cx="1529977" cy="895693"/>
      </dsp:txXfrm>
    </dsp:sp>
    <dsp:sp modelId="{42BA764D-ECD5-4996-9C44-8A0A5F19889D}">
      <dsp:nvSpPr>
        <dsp:cNvPr id="0" name=""/>
        <dsp:cNvSpPr/>
      </dsp:nvSpPr>
      <dsp:spPr>
        <a:xfrm>
          <a:off x="1768167" y="4174497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1768167" y="4253148"/>
        <a:ext cx="235319" cy="235953"/>
      </dsp:txXfrm>
    </dsp:sp>
    <dsp:sp modelId="{40DA85B8-AB36-40AB-8A67-B0700BBA8244}">
      <dsp:nvSpPr>
        <dsp:cNvPr id="0" name=""/>
        <dsp:cNvSpPr/>
      </dsp:nvSpPr>
      <dsp:spPr>
        <a:xfrm>
          <a:off x="2333951" y="3990296"/>
          <a:ext cx="1585709" cy="78222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catatan</a:t>
          </a:r>
          <a:endParaRPr lang="en-US" sz="1400" kern="1200" dirty="0"/>
        </a:p>
      </dsp:txBody>
      <dsp:txXfrm>
        <a:off x="2356862" y="4013207"/>
        <a:ext cx="1539887" cy="736402"/>
      </dsp:txXfrm>
    </dsp:sp>
    <dsp:sp modelId="{0E8071CD-006C-4360-B296-0E1A84EE250A}">
      <dsp:nvSpPr>
        <dsp:cNvPr id="0" name=""/>
        <dsp:cNvSpPr/>
      </dsp:nvSpPr>
      <dsp:spPr>
        <a:xfrm>
          <a:off x="4018167" y="4184277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4018167" y="4262928"/>
        <a:ext cx="235319" cy="235953"/>
      </dsp:txXfrm>
    </dsp:sp>
    <dsp:sp modelId="{B3269C98-FE39-4934-95BE-9C10E0C6B355}">
      <dsp:nvSpPr>
        <dsp:cNvPr id="0" name=""/>
        <dsp:cNvSpPr/>
      </dsp:nvSpPr>
      <dsp:spPr>
        <a:xfrm>
          <a:off x="4553944" y="390569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erbitan</a:t>
          </a:r>
          <a:r>
            <a:rPr lang="en-US" sz="1400" kern="1200" dirty="0"/>
            <a:t> SKK-K </a:t>
          </a:r>
          <a:r>
            <a:rPr lang="en-US" sz="1400" kern="1200" dirty="0" err="1"/>
            <a:t>elektronik</a:t>
          </a:r>
          <a:endParaRPr lang="en-US" sz="1400" kern="1200" dirty="0"/>
        </a:p>
      </dsp:txBody>
      <dsp:txXfrm>
        <a:off x="4581810" y="3933561"/>
        <a:ext cx="1529977" cy="895693"/>
      </dsp:txXfrm>
    </dsp:sp>
    <dsp:sp modelId="{F7B36BAE-25BD-4995-A0A7-28D989B3241F}">
      <dsp:nvSpPr>
        <dsp:cNvPr id="0" name=""/>
        <dsp:cNvSpPr/>
      </dsp:nvSpPr>
      <dsp:spPr>
        <a:xfrm>
          <a:off x="6215865" y="4184277"/>
          <a:ext cx="336170" cy="393255"/>
        </a:xfrm>
        <a:prstGeom prst="rightArrow">
          <a:avLst>
            <a:gd name="adj1" fmla="val 60000"/>
            <a:gd name="adj2" fmla="val 50000"/>
          </a:avLst>
        </a:prstGeom>
        <a:solidFill>
          <a:srgbClr val="00B0F0"/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100" kern="1200"/>
        </a:p>
      </dsp:txBody>
      <dsp:txXfrm>
        <a:off x="6215865" y="4262928"/>
        <a:ext cx="235319" cy="235953"/>
      </dsp:txXfrm>
    </dsp:sp>
    <dsp:sp modelId="{8534CBB5-8797-46BC-A736-3AC7DDECF8A2}">
      <dsp:nvSpPr>
        <dsp:cNvPr id="0" name=""/>
        <dsp:cNvSpPr/>
      </dsp:nvSpPr>
      <dsp:spPr>
        <a:xfrm>
          <a:off x="6773938" y="3905695"/>
          <a:ext cx="1585709" cy="951425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SKK-K </a:t>
          </a:r>
          <a:r>
            <a:rPr lang="en-US" sz="1400" kern="1200" dirty="0" err="1"/>
            <a:t>elektronik</a:t>
          </a:r>
          <a:r>
            <a:rPr lang="en-US" sz="1400" kern="1200" dirty="0"/>
            <a:t> </a:t>
          </a:r>
          <a:r>
            <a:rPr lang="en-US" sz="1400" kern="1200" dirty="0" err="1"/>
            <a:t>diterima</a:t>
          </a:r>
          <a:r>
            <a:rPr lang="en-US" sz="1400" kern="1200" dirty="0"/>
            <a:t> </a:t>
          </a:r>
          <a:r>
            <a:rPr lang="en-US" sz="1400" kern="1200" dirty="0" err="1"/>
            <a:t>melalui</a:t>
          </a:r>
          <a:r>
            <a:rPr lang="en-US" sz="1400" kern="1200" dirty="0"/>
            <a:t> Portal </a:t>
          </a:r>
          <a:r>
            <a:rPr lang="en-US" sz="1400" kern="1200" dirty="0" err="1"/>
            <a:t>Perizinan</a:t>
          </a:r>
          <a:r>
            <a:rPr lang="en-US" sz="1400" kern="1200" dirty="0"/>
            <a:t> PUPR</a:t>
          </a:r>
        </a:p>
      </dsp:txBody>
      <dsp:txXfrm>
        <a:off x="6801804" y="3933561"/>
        <a:ext cx="1529977" cy="89569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A49A10-DA55-43D2-B848-2A752A4B7FB1}">
      <dsp:nvSpPr>
        <dsp:cNvPr id="0" name=""/>
        <dsp:cNvSpPr/>
      </dsp:nvSpPr>
      <dsp:spPr>
        <a:xfrm>
          <a:off x="0" y="626070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Akses</a:t>
          </a:r>
          <a:r>
            <a:rPr lang="en-US" sz="1200" kern="1200" dirty="0"/>
            <a:t> Portal </a:t>
          </a:r>
          <a:r>
            <a:rPr lang="en-US" sz="1200" kern="1200" dirty="0" err="1"/>
            <a:t>Perizinan</a:t>
          </a:r>
          <a:r>
            <a:rPr lang="en-US" sz="1200" kern="1200" dirty="0"/>
            <a:t> PUPR</a:t>
          </a:r>
          <a:endParaRPr lang="id-ID" sz="1200" kern="1200" dirty="0"/>
        </a:p>
      </dsp:txBody>
      <dsp:txXfrm>
        <a:off x="28675" y="654745"/>
        <a:ext cx="1574396" cy="921697"/>
      </dsp:txXfrm>
    </dsp:sp>
    <dsp:sp modelId="{3877E669-BE62-41BC-9950-13C5D39E30D2}">
      <dsp:nvSpPr>
        <dsp:cNvPr id="0" name=""/>
        <dsp:cNvSpPr/>
      </dsp:nvSpPr>
      <dsp:spPr>
        <a:xfrm rot="21569910">
          <a:off x="1715477" y="904500"/>
          <a:ext cx="201733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>
        <a:off x="1715478" y="985700"/>
        <a:ext cx="141213" cy="242803"/>
      </dsp:txXfrm>
    </dsp:sp>
    <dsp:sp modelId="{FB08B26A-8E52-454A-9694-166FDA94A66C}">
      <dsp:nvSpPr>
        <dsp:cNvPr id="0" name=""/>
        <dsp:cNvSpPr/>
      </dsp:nvSpPr>
      <dsp:spPr>
        <a:xfrm>
          <a:off x="2012361" y="610346"/>
          <a:ext cx="119967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Login Akun Portal</a:t>
          </a:r>
          <a:endParaRPr lang="id-ID" sz="1200" kern="1200" dirty="0"/>
        </a:p>
      </dsp:txBody>
      <dsp:txXfrm>
        <a:off x="2041036" y="639021"/>
        <a:ext cx="1142326" cy="921697"/>
      </dsp:txXfrm>
    </dsp:sp>
    <dsp:sp modelId="{39A16790-742C-466A-95A4-0BF22E5FCD7A}">
      <dsp:nvSpPr>
        <dsp:cNvPr id="0" name=""/>
        <dsp:cNvSpPr/>
      </dsp:nvSpPr>
      <dsp:spPr>
        <a:xfrm rot="21599412">
          <a:off x="3260268" y="914450"/>
          <a:ext cx="342687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>
        <a:off x="3260268" y="995394"/>
        <a:ext cx="239881" cy="242803"/>
      </dsp:txXfrm>
    </dsp:sp>
    <dsp:sp modelId="{7D12FF1B-AFF2-41BF-A1B9-96394947895C}">
      <dsp:nvSpPr>
        <dsp:cNvPr id="0" name=""/>
        <dsp:cNvSpPr/>
      </dsp:nvSpPr>
      <dsp:spPr>
        <a:xfrm>
          <a:off x="3858616" y="609994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Permohonan</a:t>
          </a:r>
          <a:r>
            <a:rPr lang="en-US" sz="1200" kern="1200" dirty="0"/>
            <a:t> </a:t>
          </a:r>
          <a:r>
            <a:rPr lang="en-US" sz="1200" kern="1200" dirty="0">
              <a:sym typeface="Wingdings" panose="05000000000000000000" pitchFamily="2" charset="2"/>
            </a:rPr>
            <a:t> </a:t>
          </a:r>
          <a:r>
            <a:rPr lang="en-US" sz="1200" b="1" kern="1200" dirty="0" err="1">
              <a:sym typeface="Wingdings" panose="05000000000000000000" pitchFamily="2" charset="2"/>
            </a:rPr>
            <a:t>Perpanjangan</a:t>
          </a:r>
          <a:r>
            <a:rPr lang="en-US" sz="1200" b="1" kern="1200" dirty="0">
              <a:sym typeface="Wingdings" panose="05000000000000000000" pitchFamily="2" charset="2"/>
            </a:rPr>
            <a:t> SKK</a:t>
          </a:r>
          <a:endParaRPr lang="id-ID" sz="1200" b="1" kern="1200" dirty="0"/>
        </a:p>
      </dsp:txBody>
      <dsp:txXfrm>
        <a:off x="3887291" y="638669"/>
        <a:ext cx="1574396" cy="921697"/>
      </dsp:txXfrm>
    </dsp:sp>
    <dsp:sp modelId="{B8D77E6C-9E07-4195-BF67-9B25D7196EAA}">
      <dsp:nvSpPr>
        <dsp:cNvPr id="0" name=""/>
        <dsp:cNvSpPr/>
      </dsp:nvSpPr>
      <dsp:spPr>
        <a:xfrm rot="21597683">
          <a:off x="5502551" y="866928"/>
          <a:ext cx="236088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D" sz="900" kern="1200"/>
        </a:p>
      </dsp:txBody>
      <dsp:txXfrm>
        <a:off x="5502551" y="947887"/>
        <a:ext cx="165262" cy="242803"/>
      </dsp:txXfrm>
    </dsp:sp>
    <dsp:sp modelId="{C53C5ED3-16AC-4B3F-9B93-D856278E85E8}">
      <dsp:nvSpPr>
        <dsp:cNvPr id="0" name=""/>
        <dsp:cNvSpPr/>
      </dsp:nvSpPr>
      <dsp:spPr>
        <a:xfrm>
          <a:off x="5935813" y="608594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Pengisian</a:t>
          </a:r>
          <a:r>
            <a:rPr lang="en-US" sz="1200" kern="1200" dirty="0"/>
            <a:t> Data Personal dan </a:t>
          </a:r>
          <a:r>
            <a:rPr lang="en-US" sz="1200" kern="1200" dirty="0" err="1"/>
            <a:t>Persyaratan</a:t>
          </a:r>
          <a:endParaRPr lang="id-ID" sz="1200" kern="1200" dirty="0"/>
        </a:p>
      </dsp:txBody>
      <dsp:txXfrm>
        <a:off x="5964488" y="637269"/>
        <a:ext cx="1574396" cy="921697"/>
      </dsp:txXfrm>
    </dsp:sp>
    <dsp:sp modelId="{B98488BD-C1A4-477A-8CF9-A79D8E5107F2}">
      <dsp:nvSpPr>
        <dsp:cNvPr id="0" name=""/>
        <dsp:cNvSpPr/>
      </dsp:nvSpPr>
      <dsp:spPr>
        <a:xfrm rot="30238">
          <a:off x="7636512" y="843737"/>
          <a:ext cx="498517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>
        <a:off x="7636514" y="924138"/>
        <a:ext cx="377115" cy="242803"/>
      </dsp:txXfrm>
    </dsp:sp>
    <dsp:sp modelId="{2B6E1E24-A7FA-4049-86FC-9D12842052E7}">
      <dsp:nvSpPr>
        <dsp:cNvPr id="0" name=""/>
        <dsp:cNvSpPr/>
      </dsp:nvSpPr>
      <dsp:spPr>
        <a:xfrm>
          <a:off x="8201183" y="629036"/>
          <a:ext cx="1749101" cy="97904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>
              <a:solidFill>
                <a:prstClr val="black"/>
              </a:solidFill>
              <a:latin typeface="Calibri" panose="020F0502020204030204"/>
            </a:rPr>
            <a:t>Menyampaikan</a:t>
          </a:r>
          <a:r>
            <a:rPr lang="en-US" sz="1200" kern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Calibri" panose="020F0502020204030204"/>
            </a:rPr>
            <a:t>bukti</a:t>
          </a:r>
          <a:r>
            <a:rPr lang="en-US" sz="1200" kern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Calibri" panose="020F0502020204030204"/>
            </a:rPr>
            <a:t>pemenuhan</a:t>
          </a:r>
          <a:r>
            <a:rPr lang="en-US" sz="1200" kern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Calibri" panose="020F0502020204030204"/>
            </a:rPr>
            <a:t>angka</a:t>
          </a:r>
          <a:r>
            <a:rPr lang="en-US" sz="1200" kern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kern="1200" dirty="0" err="1">
              <a:solidFill>
                <a:prstClr val="black"/>
              </a:solidFill>
              <a:latin typeface="Calibri" panose="020F0502020204030204"/>
            </a:rPr>
            <a:t>kredit</a:t>
          </a:r>
          <a:r>
            <a:rPr lang="en-US" sz="1200" kern="1200" dirty="0">
              <a:solidFill>
                <a:prstClr val="black"/>
              </a:solidFill>
              <a:latin typeface="Calibri" panose="020F0502020204030204"/>
            </a:rPr>
            <a:t> </a:t>
          </a:r>
          <a:r>
            <a:rPr lang="en-US" sz="1200" b="1" kern="1200" dirty="0">
              <a:solidFill>
                <a:prstClr val="black"/>
              </a:solidFill>
              <a:latin typeface="Calibri" panose="020F0502020204030204"/>
            </a:rPr>
            <a:t>PKB</a:t>
          </a:r>
          <a:endParaRPr lang="id-ID" sz="1200" kern="1200" dirty="0"/>
        </a:p>
      </dsp:txBody>
      <dsp:txXfrm>
        <a:off x="8201183" y="629036"/>
        <a:ext cx="1749101" cy="979047"/>
      </dsp:txXfrm>
    </dsp:sp>
    <dsp:sp modelId="{1DF05F3B-4E23-47B7-9399-FA0B1A3EC9AF}">
      <dsp:nvSpPr>
        <dsp:cNvPr id="0" name=""/>
        <dsp:cNvSpPr/>
      </dsp:nvSpPr>
      <dsp:spPr>
        <a:xfrm rot="5400000">
          <a:off x="9026412" y="1703731"/>
          <a:ext cx="330960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 rot="-5400000">
        <a:off x="9070491" y="1740587"/>
        <a:ext cx="242803" cy="231672"/>
      </dsp:txXfrm>
    </dsp:sp>
    <dsp:sp modelId="{519EAD41-65A7-4AAB-AFFA-DCC2B68A3AFF}">
      <dsp:nvSpPr>
        <dsp:cNvPr id="0" name=""/>
        <dsp:cNvSpPr/>
      </dsp:nvSpPr>
      <dsp:spPr>
        <a:xfrm>
          <a:off x="8587955" y="2219662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Mendapatkan</a:t>
          </a:r>
          <a:r>
            <a:rPr lang="en-US" sz="1200" kern="1200" dirty="0"/>
            <a:t> ID-</a:t>
          </a:r>
          <a:r>
            <a:rPr lang="en-US" sz="1200" kern="1200" dirty="0" err="1"/>
            <a:t>Izin</a:t>
          </a:r>
          <a:endParaRPr lang="en-US" sz="1200" kern="1200" dirty="0"/>
        </a:p>
      </dsp:txBody>
      <dsp:txXfrm>
        <a:off x="8616630" y="2248337"/>
        <a:ext cx="1574396" cy="921697"/>
      </dsp:txXfrm>
    </dsp:sp>
    <dsp:sp modelId="{3FF3E634-1966-415E-85D5-38A897C4E7E3}">
      <dsp:nvSpPr>
        <dsp:cNvPr id="0" name=""/>
        <dsp:cNvSpPr/>
      </dsp:nvSpPr>
      <dsp:spPr>
        <a:xfrm rot="10799752">
          <a:off x="8351380" y="2483197"/>
          <a:ext cx="212003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 rot="10800000">
        <a:off x="8414981" y="2564130"/>
        <a:ext cx="148402" cy="242803"/>
      </dsp:txXfrm>
    </dsp:sp>
    <dsp:sp modelId="{10DF5648-7416-434C-8BC3-0F92F96B97CB}">
      <dsp:nvSpPr>
        <dsp:cNvPr id="0" name=""/>
        <dsp:cNvSpPr/>
      </dsp:nvSpPr>
      <dsp:spPr>
        <a:xfrm>
          <a:off x="6556203" y="2219809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Verifikasi</a:t>
          </a:r>
          <a:r>
            <a:rPr lang="en-US" sz="1200" kern="1200" dirty="0"/>
            <a:t> </a:t>
          </a:r>
          <a:r>
            <a:rPr lang="en-US" sz="1200" kern="1200" dirty="0" err="1"/>
            <a:t>Kelengkapan</a:t>
          </a:r>
          <a:r>
            <a:rPr lang="en-US" sz="1200" kern="1200" dirty="0"/>
            <a:t> oleh LSP</a:t>
          </a:r>
        </a:p>
      </dsp:txBody>
      <dsp:txXfrm>
        <a:off x="6584878" y="2248484"/>
        <a:ext cx="1574396" cy="921697"/>
      </dsp:txXfrm>
    </dsp:sp>
    <dsp:sp modelId="{7848B252-526A-4E26-936C-C9CCF666F5DE}">
      <dsp:nvSpPr>
        <dsp:cNvPr id="0" name=""/>
        <dsp:cNvSpPr/>
      </dsp:nvSpPr>
      <dsp:spPr>
        <a:xfrm rot="10850970">
          <a:off x="6049479" y="2479807"/>
          <a:ext cx="369390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 rot="10800000">
        <a:off x="6160290" y="2561563"/>
        <a:ext cx="258573" cy="242803"/>
      </dsp:txXfrm>
    </dsp:sp>
    <dsp:sp modelId="{6D3AEE44-43FD-48EE-8CF1-7C4499C3371A}">
      <dsp:nvSpPr>
        <dsp:cNvPr id="0" name=""/>
        <dsp:cNvSpPr/>
      </dsp:nvSpPr>
      <dsp:spPr>
        <a:xfrm>
          <a:off x="4389619" y="2186482"/>
          <a:ext cx="1469697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 err="1"/>
            <a:t>Verifikasi</a:t>
          </a:r>
          <a:r>
            <a:rPr lang="en-US" sz="1100" b="1" kern="1200" dirty="0"/>
            <a:t> </a:t>
          </a:r>
          <a:r>
            <a:rPr lang="en-US" sz="1100" b="1" kern="1200" dirty="0" err="1"/>
            <a:t>kecukupan</a:t>
          </a:r>
          <a:r>
            <a:rPr lang="en-US" sz="1100" b="1" kern="1200" dirty="0"/>
            <a:t> SKPK oleh LSP</a:t>
          </a:r>
        </a:p>
      </dsp:txBody>
      <dsp:txXfrm>
        <a:off x="4418294" y="2215157"/>
        <a:ext cx="1412347" cy="921697"/>
      </dsp:txXfrm>
    </dsp:sp>
    <dsp:sp modelId="{D5F72D01-FAD7-4120-AE83-1A0F208ED1F8}">
      <dsp:nvSpPr>
        <dsp:cNvPr id="0" name=""/>
        <dsp:cNvSpPr/>
      </dsp:nvSpPr>
      <dsp:spPr>
        <a:xfrm rot="10767393">
          <a:off x="3919162" y="2387216"/>
          <a:ext cx="316745" cy="38828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 rot="10800000">
        <a:off x="4014183" y="2464422"/>
        <a:ext cx="221722" cy="232969"/>
      </dsp:txXfrm>
    </dsp:sp>
    <dsp:sp modelId="{BF16CC55-EE22-4FA0-B744-3C75ED0CDFB9}">
      <dsp:nvSpPr>
        <dsp:cNvPr id="0" name=""/>
        <dsp:cNvSpPr/>
      </dsp:nvSpPr>
      <dsp:spPr>
        <a:xfrm>
          <a:off x="2236106" y="2206798"/>
          <a:ext cx="1493145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Pembayaran</a:t>
          </a:r>
          <a:r>
            <a:rPr lang="en-US" sz="1200" kern="1200" dirty="0"/>
            <a:t> oleh </a:t>
          </a:r>
          <a:r>
            <a:rPr lang="en-US" sz="1200" kern="1200" dirty="0" err="1"/>
            <a:t>Pemohon</a:t>
          </a:r>
          <a:endParaRPr lang="en-US" sz="1200" kern="1200" dirty="0"/>
        </a:p>
      </dsp:txBody>
      <dsp:txXfrm>
        <a:off x="2264781" y="2235473"/>
        <a:ext cx="1435795" cy="921697"/>
      </dsp:txXfrm>
    </dsp:sp>
    <dsp:sp modelId="{316B0C22-5E1F-47C4-ABDB-F0D776289AB1}">
      <dsp:nvSpPr>
        <dsp:cNvPr id="0" name=""/>
        <dsp:cNvSpPr/>
      </dsp:nvSpPr>
      <dsp:spPr>
        <a:xfrm rot="10779323">
          <a:off x="1785472" y="2500228"/>
          <a:ext cx="318451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 rot="10800000">
        <a:off x="1881006" y="2580876"/>
        <a:ext cx="222916" cy="242803"/>
      </dsp:txXfrm>
    </dsp:sp>
    <dsp:sp modelId="{7D66EB39-461E-4387-864C-3DC4290864AF}">
      <dsp:nvSpPr>
        <dsp:cNvPr id="0" name=""/>
        <dsp:cNvSpPr/>
      </dsp:nvSpPr>
      <dsp:spPr>
        <a:xfrm>
          <a:off x="3518" y="2219809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/>
            <a:t>Uji </a:t>
          </a:r>
          <a:r>
            <a:rPr lang="en-US" sz="1200" b="1" kern="1200" dirty="0" err="1"/>
            <a:t>Kompetensi</a:t>
          </a:r>
          <a:endParaRPr lang="en-US" sz="1200" b="1" kern="1200" dirty="0"/>
        </a:p>
      </dsp:txBody>
      <dsp:txXfrm>
        <a:off x="32193" y="2248484"/>
        <a:ext cx="1574396" cy="921697"/>
      </dsp:txXfrm>
    </dsp:sp>
    <dsp:sp modelId="{9733039C-BA0A-4FD7-AF5B-4CA33D23A3BE}">
      <dsp:nvSpPr>
        <dsp:cNvPr id="0" name=""/>
        <dsp:cNvSpPr/>
      </dsp:nvSpPr>
      <dsp:spPr>
        <a:xfrm rot="5401688">
          <a:off x="646804" y="3311664"/>
          <a:ext cx="344383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 rot="-5400000">
        <a:off x="697620" y="3341809"/>
        <a:ext cx="242803" cy="241068"/>
      </dsp:txXfrm>
    </dsp:sp>
    <dsp:sp modelId="{1E8F4112-35A4-4295-87F4-B72985AE28CB}">
      <dsp:nvSpPr>
        <dsp:cNvPr id="0" name=""/>
        <dsp:cNvSpPr/>
      </dsp:nvSpPr>
      <dsp:spPr>
        <a:xfrm>
          <a:off x="2719" y="3848638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/>
            <a:t>Penetapan</a:t>
          </a:r>
          <a:r>
            <a:rPr lang="en-US" sz="1100" kern="1200" dirty="0"/>
            <a:t> Hasil Uji </a:t>
          </a:r>
          <a:r>
            <a:rPr lang="en-US" sz="1100" kern="1200" dirty="0" err="1"/>
            <a:t>Kompetensi</a:t>
          </a:r>
          <a:r>
            <a:rPr lang="en-US" sz="1100" kern="1200" dirty="0"/>
            <a:t> oleh </a:t>
          </a:r>
          <a:r>
            <a:rPr lang="en-US" sz="1100" kern="1200" dirty="0" err="1"/>
            <a:t>Komite</a:t>
          </a:r>
          <a:r>
            <a:rPr lang="en-US" sz="1100" kern="1200" dirty="0"/>
            <a:t> Teknis</a:t>
          </a:r>
        </a:p>
      </dsp:txBody>
      <dsp:txXfrm>
        <a:off x="31394" y="3877313"/>
        <a:ext cx="1574396" cy="921697"/>
      </dsp:txXfrm>
    </dsp:sp>
    <dsp:sp modelId="{42BA764D-ECD5-4996-9C44-8A0A5F19889D}">
      <dsp:nvSpPr>
        <dsp:cNvPr id="0" name=""/>
        <dsp:cNvSpPr/>
      </dsp:nvSpPr>
      <dsp:spPr>
        <a:xfrm rot="4389">
          <a:off x="1817618" y="4099430"/>
          <a:ext cx="346354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>
        <a:off x="1817618" y="4180299"/>
        <a:ext cx="242448" cy="242803"/>
      </dsp:txXfrm>
    </dsp:sp>
    <dsp:sp modelId="{40DA85B8-AB36-40AB-8A67-B0700BBA8244}">
      <dsp:nvSpPr>
        <dsp:cNvPr id="0" name=""/>
        <dsp:cNvSpPr/>
      </dsp:nvSpPr>
      <dsp:spPr>
        <a:xfrm>
          <a:off x="2287963" y="3938612"/>
          <a:ext cx="1631746" cy="80493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err="1"/>
            <a:t>Pencatatan</a:t>
          </a:r>
          <a:r>
            <a:rPr lang="en-US" sz="1100" kern="1200" dirty="0"/>
            <a:t> : 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No. </a:t>
          </a:r>
          <a:r>
            <a:rPr lang="en-US" sz="1100" kern="1200" dirty="0" err="1"/>
            <a:t>Blangko</a:t>
          </a:r>
          <a:r>
            <a:rPr lang="en-US" sz="1100" kern="1200" dirty="0"/>
            <a:t>, No. </a:t>
          </a:r>
          <a:r>
            <a:rPr lang="en-US" sz="1100" kern="1200" dirty="0" err="1"/>
            <a:t>Sertifikat</a:t>
          </a:r>
          <a:r>
            <a:rPr lang="en-US" sz="1100" kern="1200" dirty="0"/>
            <a:t>, No. Reg BNSP, No. Reg LPJK</a:t>
          </a:r>
        </a:p>
      </dsp:txBody>
      <dsp:txXfrm>
        <a:off x="2311539" y="3962188"/>
        <a:ext cx="1584594" cy="757781"/>
      </dsp:txXfrm>
    </dsp:sp>
    <dsp:sp modelId="{0E8071CD-006C-4360-B296-0E1A84EE250A}">
      <dsp:nvSpPr>
        <dsp:cNvPr id="0" name=""/>
        <dsp:cNvSpPr/>
      </dsp:nvSpPr>
      <dsp:spPr>
        <a:xfrm rot="21584777">
          <a:off x="4013261" y="4164901"/>
          <a:ext cx="640840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>
        <a:off x="4013262" y="4246105"/>
        <a:ext cx="519438" cy="242803"/>
      </dsp:txXfrm>
    </dsp:sp>
    <dsp:sp modelId="{B3269C98-FE39-4934-95BE-9C10E0C6B355}">
      <dsp:nvSpPr>
        <dsp:cNvPr id="0" name=""/>
        <dsp:cNvSpPr/>
      </dsp:nvSpPr>
      <dsp:spPr>
        <a:xfrm>
          <a:off x="4660261" y="3841050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Penerbitan</a:t>
          </a:r>
          <a:r>
            <a:rPr lang="en-US" sz="1200" kern="1200" dirty="0"/>
            <a:t> SKK-K </a:t>
          </a:r>
          <a:r>
            <a:rPr lang="en-US" sz="1200" kern="1200" dirty="0" err="1"/>
            <a:t>elektronik</a:t>
          </a:r>
          <a:endParaRPr lang="en-US" sz="1200" kern="1200" dirty="0"/>
        </a:p>
      </dsp:txBody>
      <dsp:txXfrm>
        <a:off x="4688936" y="3869725"/>
        <a:ext cx="1574396" cy="921697"/>
      </dsp:txXfrm>
    </dsp:sp>
    <dsp:sp modelId="{F7B36BAE-25BD-4995-A0A7-28D989B3241F}">
      <dsp:nvSpPr>
        <dsp:cNvPr id="0" name=""/>
        <dsp:cNvSpPr/>
      </dsp:nvSpPr>
      <dsp:spPr>
        <a:xfrm rot="21556482">
          <a:off x="6294466" y="4122545"/>
          <a:ext cx="382629" cy="404673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900" kern="1200"/>
        </a:p>
      </dsp:txBody>
      <dsp:txXfrm>
        <a:off x="6294471" y="4204207"/>
        <a:ext cx="267840" cy="242803"/>
      </dsp:txXfrm>
    </dsp:sp>
    <dsp:sp modelId="{8534CBB5-8797-46BC-A736-3AC7DDECF8A2}">
      <dsp:nvSpPr>
        <dsp:cNvPr id="0" name=""/>
        <dsp:cNvSpPr/>
      </dsp:nvSpPr>
      <dsp:spPr>
        <a:xfrm>
          <a:off x="6681831" y="3815458"/>
          <a:ext cx="1631746" cy="97904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/>
            <a:t>SKK-K </a:t>
          </a:r>
          <a:r>
            <a:rPr lang="en-US" sz="1100" kern="1200" dirty="0" err="1"/>
            <a:t>elektronik</a:t>
          </a:r>
          <a:r>
            <a:rPr lang="en-US" sz="1100" kern="1200" dirty="0"/>
            <a:t> </a:t>
          </a:r>
          <a:r>
            <a:rPr lang="en-US" sz="1100" kern="1200" dirty="0" err="1"/>
            <a:t>diterima</a:t>
          </a:r>
          <a:r>
            <a:rPr lang="en-US" sz="1100" kern="1200" dirty="0"/>
            <a:t> </a:t>
          </a:r>
          <a:r>
            <a:rPr lang="en-US" sz="1100" kern="1200" dirty="0" err="1"/>
            <a:t>melalui</a:t>
          </a:r>
          <a:r>
            <a:rPr lang="en-US" sz="1100" kern="1200" dirty="0"/>
            <a:t> Portal </a:t>
          </a:r>
          <a:r>
            <a:rPr lang="en-US" sz="1100" kern="1200" dirty="0" err="1"/>
            <a:t>Perizinan</a:t>
          </a:r>
          <a:r>
            <a:rPr lang="en-US" sz="1100" kern="1200" dirty="0"/>
            <a:t> PUPR</a:t>
          </a:r>
        </a:p>
      </dsp:txBody>
      <dsp:txXfrm>
        <a:off x="6710506" y="3844133"/>
        <a:ext cx="1574396" cy="92169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A49A10-DA55-43D2-B848-2A752A4B7FB1}">
      <dsp:nvSpPr>
        <dsp:cNvPr id="0" name=""/>
        <dsp:cNvSpPr/>
      </dsp:nvSpPr>
      <dsp:spPr>
        <a:xfrm>
          <a:off x="65361" y="51376"/>
          <a:ext cx="2081883" cy="124912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Akses</a:t>
          </a:r>
          <a:r>
            <a:rPr lang="en-US" sz="1200" kern="1200" dirty="0"/>
            <a:t> Portal </a:t>
          </a:r>
          <a:r>
            <a:rPr lang="en-US" sz="1200" kern="1200" dirty="0" err="1"/>
            <a:t>Perizinan</a:t>
          </a:r>
          <a:r>
            <a:rPr lang="en-US" sz="1200" kern="1200" dirty="0"/>
            <a:t> PUPR</a:t>
          </a:r>
          <a:endParaRPr lang="id-ID" sz="1200" kern="1200" dirty="0"/>
        </a:p>
      </dsp:txBody>
      <dsp:txXfrm>
        <a:off x="101947" y="87962"/>
        <a:ext cx="2008711" cy="1175957"/>
      </dsp:txXfrm>
    </dsp:sp>
    <dsp:sp modelId="{3877E669-BE62-41BC-9950-13C5D39E30D2}">
      <dsp:nvSpPr>
        <dsp:cNvPr id="0" name=""/>
        <dsp:cNvSpPr/>
      </dsp:nvSpPr>
      <dsp:spPr>
        <a:xfrm rot="21570078">
          <a:off x="2256911" y="406623"/>
          <a:ext cx="264218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2200" kern="1200"/>
        </a:p>
      </dsp:txBody>
      <dsp:txXfrm>
        <a:off x="2256913" y="510229"/>
        <a:ext cx="184953" cy="309785"/>
      </dsp:txXfrm>
    </dsp:sp>
    <dsp:sp modelId="{FB08B26A-8E52-454A-9694-166FDA94A66C}">
      <dsp:nvSpPr>
        <dsp:cNvPr id="0" name=""/>
        <dsp:cNvSpPr/>
      </dsp:nvSpPr>
      <dsp:spPr>
        <a:xfrm>
          <a:off x="2645751" y="31315"/>
          <a:ext cx="1530621" cy="124912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Login Akun Portal</a:t>
          </a:r>
          <a:endParaRPr lang="id-ID" sz="1200" kern="1200" dirty="0"/>
        </a:p>
      </dsp:txBody>
      <dsp:txXfrm>
        <a:off x="2682337" y="67901"/>
        <a:ext cx="1457449" cy="1175957"/>
      </dsp:txXfrm>
    </dsp:sp>
    <dsp:sp modelId="{39A16790-742C-466A-95A4-0BF22E5FCD7A}">
      <dsp:nvSpPr>
        <dsp:cNvPr id="0" name=""/>
        <dsp:cNvSpPr/>
      </dsp:nvSpPr>
      <dsp:spPr>
        <a:xfrm rot="21599412">
          <a:off x="4237909" y="419310"/>
          <a:ext cx="437221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2200" kern="1200"/>
        </a:p>
      </dsp:txBody>
      <dsp:txXfrm>
        <a:off x="4237909" y="522582"/>
        <a:ext cx="306055" cy="309785"/>
      </dsp:txXfrm>
    </dsp:sp>
    <dsp:sp modelId="{7D12FF1B-AFF2-41BF-A1B9-96394947895C}">
      <dsp:nvSpPr>
        <dsp:cNvPr id="0" name=""/>
        <dsp:cNvSpPr/>
      </dsp:nvSpPr>
      <dsp:spPr>
        <a:xfrm>
          <a:off x="5001319" y="30865"/>
          <a:ext cx="2081883" cy="124912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Permohonan</a:t>
          </a:r>
          <a:r>
            <a:rPr lang="en-US" sz="1200" kern="1200" dirty="0"/>
            <a:t> </a:t>
          </a:r>
          <a:r>
            <a:rPr lang="en-US" sz="1200" kern="1200" dirty="0">
              <a:sym typeface="Wingdings" panose="05000000000000000000" pitchFamily="2" charset="2"/>
            </a:rPr>
            <a:t> </a:t>
          </a:r>
          <a:r>
            <a:rPr lang="en-US" sz="1200" b="1" kern="1200" dirty="0" err="1">
              <a:sym typeface="Wingdings" panose="05000000000000000000" pitchFamily="2" charset="2"/>
            </a:rPr>
            <a:t>Perubahan</a:t>
          </a:r>
          <a:r>
            <a:rPr lang="en-US" sz="1200" b="1" kern="1200" dirty="0">
              <a:sym typeface="Wingdings" panose="05000000000000000000" pitchFamily="2" charset="2"/>
            </a:rPr>
            <a:t> Data SKK</a:t>
          </a:r>
          <a:endParaRPr lang="id-ID" sz="1200" b="1" kern="1200" dirty="0"/>
        </a:p>
      </dsp:txBody>
      <dsp:txXfrm>
        <a:off x="5037905" y="67451"/>
        <a:ext cx="2008711" cy="1175957"/>
      </dsp:txXfrm>
    </dsp:sp>
    <dsp:sp modelId="{B8D77E6C-9E07-4195-BF67-9B25D7196EAA}">
      <dsp:nvSpPr>
        <dsp:cNvPr id="0" name=""/>
        <dsp:cNvSpPr/>
      </dsp:nvSpPr>
      <dsp:spPr>
        <a:xfrm rot="21597683">
          <a:off x="7098752" y="358678"/>
          <a:ext cx="301216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ID" sz="2200" kern="1200"/>
        </a:p>
      </dsp:txBody>
      <dsp:txXfrm>
        <a:off x="7098752" y="461969"/>
        <a:ext cx="210851" cy="309785"/>
      </dsp:txXfrm>
    </dsp:sp>
    <dsp:sp modelId="{C53C5ED3-16AC-4B3F-9B93-D856278E85E8}">
      <dsp:nvSpPr>
        <dsp:cNvPr id="0" name=""/>
        <dsp:cNvSpPr/>
      </dsp:nvSpPr>
      <dsp:spPr>
        <a:xfrm>
          <a:off x="7651535" y="29079"/>
          <a:ext cx="2081883" cy="124912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Memilih</a:t>
          </a:r>
          <a:r>
            <a:rPr lang="en-US" sz="1200" kern="1200" dirty="0"/>
            <a:t> Id-</a:t>
          </a:r>
          <a:r>
            <a:rPr lang="en-US" sz="1200" kern="1200" dirty="0" err="1"/>
            <a:t>Izin</a:t>
          </a:r>
          <a:r>
            <a:rPr lang="en-US" sz="1200" kern="1200" dirty="0"/>
            <a:t> / SKK </a:t>
          </a:r>
          <a:r>
            <a:rPr lang="en-US" sz="1200" kern="1200" dirty="0" err="1"/>
            <a:t>Konstruksi</a:t>
          </a:r>
          <a:r>
            <a:rPr lang="en-US" sz="1200" kern="1200" dirty="0"/>
            <a:t> yang </a:t>
          </a:r>
          <a:r>
            <a:rPr lang="en-US" sz="1200" kern="1200" dirty="0" err="1"/>
            <a:t>ingin</a:t>
          </a:r>
          <a:r>
            <a:rPr lang="en-US" sz="1200" kern="1200" dirty="0"/>
            <a:t> </a:t>
          </a:r>
          <a:r>
            <a:rPr lang="en-US" sz="1200" kern="1200" dirty="0" err="1"/>
            <a:t>diubah</a:t>
          </a:r>
          <a:r>
            <a:rPr lang="en-US" sz="1200" kern="1200" dirty="0"/>
            <a:t> </a:t>
          </a:r>
          <a:r>
            <a:rPr lang="en-US" sz="1200" kern="1200" dirty="0" err="1"/>
            <a:t>datanya</a:t>
          </a:r>
          <a:endParaRPr lang="id-ID" sz="1200" kern="1200" dirty="0"/>
        </a:p>
      </dsp:txBody>
      <dsp:txXfrm>
        <a:off x="7688121" y="65665"/>
        <a:ext cx="2008711" cy="1175957"/>
      </dsp:txXfrm>
    </dsp:sp>
    <dsp:sp modelId="{B98488BD-C1A4-477A-8CF9-A79D8E5107F2}">
      <dsp:nvSpPr>
        <dsp:cNvPr id="0" name=""/>
        <dsp:cNvSpPr/>
      </dsp:nvSpPr>
      <dsp:spPr>
        <a:xfrm rot="5420050">
          <a:off x="8460316" y="1438842"/>
          <a:ext cx="510800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2500" kern="1200"/>
        </a:p>
      </dsp:txBody>
      <dsp:txXfrm rot="-5400000">
        <a:off x="8561270" y="1441597"/>
        <a:ext cx="309785" cy="357560"/>
      </dsp:txXfrm>
    </dsp:sp>
    <dsp:sp modelId="{2B6E1E24-A7FA-4049-86FC-9D12842052E7}">
      <dsp:nvSpPr>
        <dsp:cNvPr id="0" name=""/>
        <dsp:cNvSpPr/>
      </dsp:nvSpPr>
      <dsp:spPr>
        <a:xfrm>
          <a:off x="7564970" y="2137044"/>
          <a:ext cx="2231612" cy="124912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Pengisian</a:t>
          </a:r>
          <a:r>
            <a:rPr lang="en-US" sz="1200" kern="1200" dirty="0"/>
            <a:t> Data </a:t>
          </a:r>
          <a:r>
            <a:rPr lang="en-US" sz="1200" kern="1200" dirty="0" err="1"/>
            <a:t>Perbaikan</a:t>
          </a:r>
          <a:r>
            <a:rPr lang="en-US" sz="1200" kern="1200" dirty="0"/>
            <a:t> dan Upload </a:t>
          </a:r>
          <a:r>
            <a:rPr lang="en-US" sz="1200" kern="1200" dirty="0" err="1"/>
            <a:t>Swafoto</a:t>
          </a:r>
          <a:r>
            <a:rPr lang="en-US" sz="1200" kern="1200" dirty="0"/>
            <a:t> </a:t>
          </a:r>
          <a:r>
            <a:rPr lang="en-US" sz="1200" kern="1200" dirty="0" err="1"/>
            <a:t>Memegang</a:t>
          </a:r>
          <a:r>
            <a:rPr lang="en-US" sz="1200" kern="1200" dirty="0"/>
            <a:t> </a:t>
          </a:r>
          <a:r>
            <a:rPr lang="en-US" sz="1200" kern="1200" dirty="0" err="1"/>
            <a:t>Identitas</a:t>
          </a:r>
          <a:r>
            <a:rPr lang="en-US" sz="1200" kern="1200" dirty="0"/>
            <a:t> </a:t>
          </a:r>
          <a:r>
            <a:rPr lang="en-US" sz="1200" kern="1200" dirty="0" err="1"/>
            <a:t>Diri</a:t>
          </a:r>
          <a:r>
            <a:rPr lang="en-US" sz="1200" kern="1200" dirty="0"/>
            <a:t> dan Bukti </a:t>
          </a:r>
          <a:r>
            <a:rPr lang="en-US" sz="1200" kern="1200" dirty="0" err="1"/>
            <a:t>Dukung</a:t>
          </a:r>
          <a:endParaRPr lang="id-ID" sz="1200" kern="1200" dirty="0"/>
        </a:p>
      </dsp:txBody>
      <dsp:txXfrm>
        <a:off x="7564970" y="2137044"/>
        <a:ext cx="2231612" cy="1249129"/>
      </dsp:txXfrm>
    </dsp:sp>
    <dsp:sp modelId="{1DF05F3B-4E23-47B7-9399-FA0B1A3EC9AF}">
      <dsp:nvSpPr>
        <dsp:cNvPr id="0" name=""/>
        <dsp:cNvSpPr/>
      </dsp:nvSpPr>
      <dsp:spPr>
        <a:xfrm rot="10861860">
          <a:off x="6326702" y="2435398"/>
          <a:ext cx="797124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2200" kern="1200"/>
        </a:p>
      </dsp:txBody>
      <dsp:txXfrm rot="10800000">
        <a:off x="6481581" y="2540053"/>
        <a:ext cx="642232" cy="309785"/>
      </dsp:txXfrm>
    </dsp:sp>
    <dsp:sp modelId="{519EAD41-65A7-4AAB-AFFA-DCC2B68A3AFF}">
      <dsp:nvSpPr>
        <dsp:cNvPr id="0" name=""/>
        <dsp:cNvSpPr/>
      </dsp:nvSpPr>
      <dsp:spPr>
        <a:xfrm>
          <a:off x="3980155" y="1998566"/>
          <a:ext cx="2081883" cy="124912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/>
            <a:t>Submit </a:t>
          </a:r>
          <a:r>
            <a:rPr lang="en-US" sz="1200" kern="1200" dirty="0" err="1"/>
            <a:t>Permohonan</a:t>
          </a:r>
          <a:r>
            <a:rPr lang="en-US" sz="1200" kern="1200" dirty="0"/>
            <a:t> </a:t>
          </a:r>
          <a:r>
            <a:rPr lang="en-US" sz="1200" kern="1200" dirty="0" err="1"/>
            <a:t>Perubahan</a:t>
          </a:r>
          <a:r>
            <a:rPr lang="en-US" sz="1200" kern="1200" dirty="0"/>
            <a:t> Data</a:t>
          </a:r>
        </a:p>
      </dsp:txBody>
      <dsp:txXfrm>
        <a:off x="4016741" y="2035152"/>
        <a:ext cx="2008711" cy="1175957"/>
      </dsp:txXfrm>
    </dsp:sp>
    <dsp:sp modelId="{3FF3E634-1966-415E-85D5-38A897C4E7E3}">
      <dsp:nvSpPr>
        <dsp:cNvPr id="0" name=""/>
        <dsp:cNvSpPr/>
      </dsp:nvSpPr>
      <dsp:spPr>
        <a:xfrm rot="10800000">
          <a:off x="3132691" y="2387727"/>
          <a:ext cx="788637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2200" kern="1200"/>
        </a:p>
      </dsp:txBody>
      <dsp:txXfrm rot="10800000">
        <a:off x="3287583" y="2490988"/>
        <a:ext cx="633745" cy="309785"/>
      </dsp:txXfrm>
    </dsp:sp>
    <dsp:sp modelId="{10DF5648-7416-434C-8BC3-0F92F96B97CB}">
      <dsp:nvSpPr>
        <dsp:cNvPr id="0" name=""/>
        <dsp:cNvSpPr/>
      </dsp:nvSpPr>
      <dsp:spPr>
        <a:xfrm>
          <a:off x="1008246" y="2068017"/>
          <a:ext cx="2081883" cy="124912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/>
            <a:t>Verifikasi</a:t>
          </a:r>
          <a:r>
            <a:rPr lang="en-US" sz="1200" kern="1200" dirty="0"/>
            <a:t> dan </a:t>
          </a:r>
          <a:r>
            <a:rPr lang="en-US" sz="1200" kern="1200" dirty="0" err="1"/>
            <a:t>Validasi</a:t>
          </a:r>
          <a:r>
            <a:rPr lang="en-US" sz="1200" kern="1200" dirty="0"/>
            <a:t> Data oleh LSP</a:t>
          </a:r>
        </a:p>
      </dsp:txBody>
      <dsp:txXfrm>
        <a:off x="1044832" y="2104603"/>
        <a:ext cx="2008711" cy="1175957"/>
      </dsp:txXfrm>
    </dsp:sp>
    <dsp:sp modelId="{7848B252-526A-4E26-936C-C9CCF666F5DE}">
      <dsp:nvSpPr>
        <dsp:cNvPr id="0" name=""/>
        <dsp:cNvSpPr/>
      </dsp:nvSpPr>
      <dsp:spPr>
        <a:xfrm rot="5411731">
          <a:off x="1888748" y="3361119"/>
          <a:ext cx="344213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1700" kern="1200"/>
        </a:p>
      </dsp:txBody>
      <dsp:txXfrm rot="-5400000">
        <a:off x="1906138" y="3447166"/>
        <a:ext cx="309785" cy="240949"/>
      </dsp:txXfrm>
    </dsp:sp>
    <dsp:sp modelId="{40DA85B8-AB36-40AB-8A67-B0700BBA8244}">
      <dsp:nvSpPr>
        <dsp:cNvPr id="0" name=""/>
        <dsp:cNvSpPr/>
      </dsp:nvSpPr>
      <dsp:spPr>
        <a:xfrm>
          <a:off x="1002146" y="3966603"/>
          <a:ext cx="2081883" cy="102698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catatan</a:t>
          </a:r>
          <a:r>
            <a:rPr lang="en-US" sz="1400" kern="1200" dirty="0"/>
            <a:t> </a:t>
          </a:r>
          <a:r>
            <a:rPr lang="en-US" sz="1400" kern="1200" dirty="0" err="1"/>
            <a:t>Perubahan</a:t>
          </a:r>
          <a:r>
            <a:rPr lang="en-US" sz="1400" kern="1200" dirty="0"/>
            <a:t> Data </a:t>
          </a:r>
          <a:r>
            <a:rPr lang="en-US" sz="1400" kern="1200" dirty="0" err="1"/>
            <a:t>ke</a:t>
          </a:r>
          <a:r>
            <a:rPr lang="en-US" sz="1400" kern="1200" dirty="0"/>
            <a:t> SIKI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(</a:t>
          </a:r>
          <a:r>
            <a:rPr lang="en-US" sz="1400" kern="1200" dirty="0" err="1"/>
            <a:t>Nomor</a:t>
          </a:r>
          <a:r>
            <a:rPr lang="en-US" sz="1400" kern="1200" dirty="0"/>
            <a:t> </a:t>
          </a:r>
          <a:r>
            <a:rPr lang="en-US" sz="1400" kern="1200" dirty="0" err="1"/>
            <a:t>Registrasi</a:t>
          </a:r>
          <a:r>
            <a:rPr lang="en-US" sz="1400" kern="1200" dirty="0"/>
            <a:t>/</a:t>
          </a:r>
          <a:r>
            <a:rPr lang="en-US" sz="1400" kern="1200" dirty="0" err="1"/>
            <a:t>Nomor</a:t>
          </a:r>
          <a:r>
            <a:rPr lang="en-US" sz="1400" kern="1200" dirty="0"/>
            <a:t> </a:t>
          </a:r>
          <a:r>
            <a:rPr lang="en-US" sz="1400" kern="1200" dirty="0" err="1"/>
            <a:t>Blanko</a:t>
          </a:r>
          <a:r>
            <a:rPr lang="en-US" sz="1400" kern="1200" dirty="0"/>
            <a:t> </a:t>
          </a:r>
          <a:r>
            <a:rPr lang="en-US" sz="1400" kern="1200" dirty="0" err="1"/>
            <a:t>Tidak</a:t>
          </a:r>
          <a:r>
            <a:rPr lang="en-US" sz="1400" kern="1200" dirty="0"/>
            <a:t> </a:t>
          </a:r>
          <a:r>
            <a:rPr lang="en-US" sz="1400" kern="1200" dirty="0" err="1"/>
            <a:t>Berubah</a:t>
          </a:r>
          <a:r>
            <a:rPr lang="en-US" sz="1400" kern="1200" dirty="0"/>
            <a:t>)</a:t>
          </a:r>
        </a:p>
      </dsp:txBody>
      <dsp:txXfrm>
        <a:off x="1032225" y="3996682"/>
        <a:ext cx="2021725" cy="966826"/>
      </dsp:txXfrm>
    </dsp:sp>
    <dsp:sp modelId="{0E8071CD-006C-4360-B296-0E1A84EE250A}">
      <dsp:nvSpPr>
        <dsp:cNvPr id="0" name=""/>
        <dsp:cNvSpPr/>
      </dsp:nvSpPr>
      <dsp:spPr>
        <a:xfrm rot="57002">
          <a:off x="3230891" y="4286640"/>
          <a:ext cx="738127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2200" kern="1200"/>
        </a:p>
      </dsp:txBody>
      <dsp:txXfrm>
        <a:off x="3230902" y="4388617"/>
        <a:ext cx="583235" cy="309785"/>
      </dsp:txXfrm>
    </dsp:sp>
    <dsp:sp modelId="{B3269C98-FE39-4934-95BE-9C10E0C6B355}">
      <dsp:nvSpPr>
        <dsp:cNvPr id="0" name=""/>
        <dsp:cNvSpPr/>
      </dsp:nvSpPr>
      <dsp:spPr>
        <a:xfrm>
          <a:off x="4006949" y="3905358"/>
          <a:ext cx="2081883" cy="124912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err="1"/>
            <a:t>Penerbitan</a:t>
          </a:r>
          <a:r>
            <a:rPr lang="en-US" sz="1400" kern="1200" dirty="0"/>
            <a:t> SKK-K </a:t>
          </a:r>
          <a:r>
            <a:rPr lang="en-US" sz="1400" kern="1200" dirty="0" err="1"/>
            <a:t>elektronik</a:t>
          </a:r>
          <a:r>
            <a:rPr lang="en-US" sz="1400" kern="1200" dirty="0"/>
            <a:t> </a:t>
          </a:r>
          <a:r>
            <a:rPr lang="en-US" sz="1400" kern="1200" dirty="0" err="1"/>
            <a:t>Perubahan</a:t>
          </a:r>
          <a:endParaRPr lang="en-US" sz="1400" kern="1200" dirty="0"/>
        </a:p>
      </dsp:txBody>
      <dsp:txXfrm>
        <a:off x="4043535" y="3941944"/>
        <a:ext cx="2008711" cy="1175957"/>
      </dsp:txXfrm>
    </dsp:sp>
    <dsp:sp modelId="{F7B36BAE-25BD-4995-A0A7-28D989B3241F}">
      <dsp:nvSpPr>
        <dsp:cNvPr id="0" name=""/>
        <dsp:cNvSpPr/>
      </dsp:nvSpPr>
      <dsp:spPr>
        <a:xfrm rot="30562">
          <a:off x="6414231" y="4296815"/>
          <a:ext cx="922356" cy="516307"/>
        </a:xfrm>
        <a:prstGeom prst="rightArrow">
          <a:avLst>
            <a:gd name="adj1" fmla="val 60000"/>
            <a:gd name="adj2" fmla="val 50000"/>
          </a:avLst>
        </a:prstGeom>
        <a:solidFill>
          <a:schemeClr val="bg2">
            <a:lumMod val="10000"/>
          </a:schemeClr>
        </a:solidFill>
        <a:ln>
          <a:noFill/>
        </a:ln>
        <a:effectLst/>
        <a:scene3d>
          <a:camera prst="orthographicFront"/>
          <a:lightRig rig="chilly" dir="t"/>
        </a:scene3d>
        <a:sp3d z="-70000" extrusionH="1700" prstMaterial="translucentPowder">
          <a:bevelT w="25400" h="6350" prst="softRound"/>
          <a:bevelB w="0" h="0" prst="convex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d-ID" sz="2200" kern="1200"/>
        </a:p>
      </dsp:txBody>
      <dsp:txXfrm>
        <a:off x="6414234" y="4399388"/>
        <a:ext cx="767464" cy="309785"/>
      </dsp:txXfrm>
    </dsp:sp>
    <dsp:sp modelId="{8534CBB5-8797-46BC-A736-3AC7DDECF8A2}">
      <dsp:nvSpPr>
        <dsp:cNvPr id="0" name=""/>
        <dsp:cNvSpPr/>
      </dsp:nvSpPr>
      <dsp:spPr>
        <a:xfrm>
          <a:off x="7671230" y="4017024"/>
          <a:ext cx="2081883" cy="10909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/>
            <a:t>SKK-K </a:t>
          </a:r>
          <a:r>
            <a:rPr lang="en-US" sz="1400" kern="1200" dirty="0" err="1"/>
            <a:t>elektronik</a:t>
          </a:r>
          <a:r>
            <a:rPr lang="en-US" sz="1400" kern="1200" dirty="0"/>
            <a:t> </a:t>
          </a:r>
          <a:r>
            <a:rPr lang="en-US" sz="1400" kern="1200" dirty="0" err="1"/>
            <a:t>diterima</a:t>
          </a:r>
          <a:r>
            <a:rPr lang="en-US" sz="1400" kern="1200" dirty="0"/>
            <a:t> </a:t>
          </a:r>
          <a:r>
            <a:rPr lang="en-US" sz="1400" kern="1200" dirty="0" err="1"/>
            <a:t>melalui</a:t>
          </a:r>
          <a:r>
            <a:rPr lang="en-US" sz="1400" kern="1200" dirty="0"/>
            <a:t> Portal </a:t>
          </a:r>
          <a:r>
            <a:rPr lang="en-US" sz="1400" kern="1200" dirty="0" err="1"/>
            <a:t>Perizinan</a:t>
          </a:r>
          <a:r>
            <a:rPr lang="en-US" sz="1400" kern="1200" dirty="0"/>
            <a:t> PUPR</a:t>
          </a:r>
        </a:p>
      </dsp:txBody>
      <dsp:txXfrm>
        <a:off x="7703183" y="4048977"/>
        <a:ext cx="2017977" cy="102704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FD613-5C10-4B40-A1DF-BE6594CD1B26}">
      <dsp:nvSpPr>
        <dsp:cNvPr id="0" name=""/>
        <dsp:cNvSpPr/>
      </dsp:nvSpPr>
      <dsp:spPr>
        <a:xfrm>
          <a:off x="2187342" y="785906"/>
          <a:ext cx="1547561" cy="26858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4292"/>
              </a:lnTo>
              <a:lnTo>
                <a:pt x="1547561" y="134292"/>
              </a:lnTo>
              <a:lnTo>
                <a:pt x="1547561" y="26858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EEE08F-2722-41C7-90F2-756AC8E56BE3}">
      <dsp:nvSpPr>
        <dsp:cNvPr id="0" name=""/>
        <dsp:cNvSpPr/>
      </dsp:nvSpPr>
      <dsp:spPr>
        <a:xfrm>
          <a:off x="2141622" y="785906"/>
          <a:ext cx="91440" cy="2685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858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BE305C-99D4-4B61-81A8-CB04A40E9E6C}">
      <dsp:nvSpPr>
        <dsp:cNvPr id="0" name=""/>
        <dsp:cNvSpPr/>
      </dsp:nvSpPr>
      <dsp:spPr>
        <a:xfrm>
          <a:off x="639781" y="785906"/>
          <a:ext cx="1547561" cy="268585"/>
        </a:xfrm>
        <a:custGeom>
          <a:avLst/>
          <a:gdLst/>
          <a:ahLst/>
          <a:cxnLst/>
          <a:rect l="0" t="0" r="0" b="0"/>
          <a:pathLst>
            <a:path>
              <a:moveTo>
                <a:pt x="1547561" y="0"/>
              </a:moveTo>
              <a:lnTo>
                <a:pt x="1547561" y="134292"/>
              </a:lnTo>
              <a:lnTo>
                <a:pt x="0" y="134292"/>
              </a:lnTo>
              <a:lnTo>
                <a:pt x="0" y="268585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89C51B-F96D-4AF6-BBDF-6851990B52D5}">
      <dsp:nvSpPr>
        <dsp:cNvPr id="0" name=""/>
        <dsp:cNvSpPr/>
      </dsp:nvSpPr>
      <dsp:spPr>
        <a:xfrm>
          <a:off x="1867598" y="146418"/>
          <a:ext cx="639488" cy="639488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12FCBB-8766-4D75-86C5-4334884194F0}">
      <dsp:nvSpPr>
        <dsp:cNvPr id="0" name=""/>
        <dsp:cNvSpPr/>
      </dsp:nvSpPr>
      <dsp:spPr>
        <a:xfrm>
          <a:off x="1867598" y="146418"/>
          <a:ext cx="639488" cy="639488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EED953-0012-4A45-970A-0FF7C36E9CEF}">
      <dsp:nvSpPr>
        <dsp:cNvPr id="0" name=""/>
        <dsp:cNvSpPr/>
      </dsp:nvSpPr>
      <dsp:spPr>
        <a:xfrm>
          <a:off x="1547854" y="261526"/>
          <a:ext cx="1278976" cy="40927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Century Gothic" panose="020B0502020202020204" pitchFamily="34" charset="0"/>
            </a:rPr>
            <a:t>DPP </a:t>
          </a:r>
          <a:r>
            <a:rPr lang="en-US" sz="1300" kern="1200" dirty="0" err="1">
              <a:latin typeface="Century Gothic" panose="020B0502020202020204" pitchFamily="34" charset="0"/>
            </a:rPr>
            <a:t>Asosiasi</a:t>
          </a:r>
          <a:r>
            <a:rPr lang="en-US" sz="1300" kern="1200" dirty="0">
              <a:latin typeface="Century Gothic" panose="020B0502020202020204" pitchFamily="34" charset="0"/>
            </a:rPr>
            <a:t> A</a:t>
          </a:r>
          <a:endParaRPr lang="en-ID" sz="1300" kern="1200" dirty="0">
            <a:latin typeface="Century Gothic" panose="020B0502020202020204" pitchFamily="34" charset="0"/>
          </a:endParaRPr>
        </a:p>
      </dsp:txBody>
      <dsp:txXfrm>
        <a:off x="1547854" y="261526"/>
        <a:ext cx="1278976" cy="409272"/>
      </dsp:txXfrm>
    </dsp:sp>
    <dsp:sp modelId="{0ABD1A63-8CB0-405A-9BDB-CCB703C08F1F}">
      <dsp:nvSpPr>
        <dsp:cNvPr id="0" name=""/>
        <dsp:cNvSpPr/>
      </dsp:nvSpPr>
      <dsp:spPr>
        <a:xfrm>
          <a:off x="320037" y="1054492"/>
          <a:ext cx="639488" cy="639488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F3F82A-3EDB-4596-B6C2-AC77F0F9904B}">
      <dsp:nvSpPr>
        <dsp:cNvPr id="0" name=""/>
        <dsp:cNvSpPr/>
      </dsp:nvSpPr>
      <dsp:spPr>
        <a:xfrm>
          <a:off x="320037" y="1054492"/>
          <a:ext cx="639488" cy="639488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FD4B05-893D-4014-8383-9822B509E88D}">
      <dsp:nvSpPr>
        <dsp:cNvPr id="0" name=""/>
        <dsp:cNvSpPr/>
      </dsp:nvSpPr>
      <dsp:spPr>
        <a:xfrm>
          <a:off x="293" y="1169599"/>
          <a:ext cx="1278976" cy="40927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Century Gothic" panose="020B0502020202020204" pitchFamily="34" charset="0"/>
            </a:rPr>
            <a:t>DPD </a:t>
          </a:r>
          <a:r>
            <a:rPr lang="en-US" sz="1300" kern="1200" dirty="0" err="1">
              <a:latin typeface="Century Gothic" panose="020B0502020202020204" pitchFamily="34" charset="0"/>
            </a:rPr>
            <a:t>Asosiasi</a:t>
          </a:r>
          <a:r>
            <a:rPr lang="en-US" sz="1300" kern="1200" dirty="0">
              <a:latin typeface="Century Gothic" panose="020B0502020202020204" pitchFamily="34" charset="0"/>
            </a:rPr>
            <a:t> A DKI Jakarta</a:t>
          </a:r>
          <a:endParaRPr lang="en-ID" sz="1300" kern="1200" dirty="0">
            <a:latin typeface="Century Gothic" panose="020B0502020202020204" pitchFamily="34" charset="0"/>
          </a:endParaRPr>
        </a:p>
      </dsp:txBody>
      <dsp:txXfrm>
        <a:off x="293" y="1169599"/>
        <a:ext cx="1278976" cy="409272"/>
      </dsp:txXfrm>
    </dsp:sp>
    <dsp:sp modelId="{87A33B6B-9CAF-4B4C-AC31-C772112AE5E7}">
      <dsp:nvSpPr>
        <dsp:cNvPr id="0" name=""/>
        <dsp:cNvSpPr/>
      </dsp:nvSpPr>
      <dsp:spPr>
        <a:xfrm>
          <a:off x="1867598" y="1054492"/>
          <a:ext cx="639488" cy="639488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08A56C-2874-4CFD-BCB6-054B8BC30111}">
      <dsp:nvSpPr>
        <dsp:cNvPr id="0" name=""/>
        <dsp:cNvSpPr/>
      </dsp:nvSpPr>
      <dsp:spPr>
        <a:xfrm>
          <a:off x="1867598" y="1054492"/>
          <a:ext cx="639488" cy="639488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2BF7F-34D9-4D19-B724-9820D55DB323}">
      <dsp:nvSpPr>
        <dsp:cNvPr id="0" name=""/>
        <dsp:cNvSpPr/>
      </dsp:nvSpPr>
      <dsp:spPr>
        <a:xfrm>
          <a:off x="1547854" y="1169599"/>
          <a:ext cx="1278976" cy="40927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Century Gothic" panose="020B0502020202020204" pitchFamily="34" charset="0"/>
            </a:rPr>
            <a:t>DPD </a:t>
          </a:r>
          <a:r>
            <a:rPr lang="en-US" sz="1300" kern="1200" dirty="0" err="1">
              <a:latin typeface="Century Gothic" panose="020B0502020202020204" pitchFamily="34" charset="0"/>
            </a:rPr>
            <a:t>Asosiasi</a:t>
          </a:r>
          <a:r>
            <a:rPr lang="en-US" sz="1300" kern="1200" dirty="0">
              <a:latin typeface="Century Gothic" panose="020B0502020202020204" pitchFamily="34" charset="0"/>
            </a:rPr>
            <a:t> A </a:t>
          </a:r>
          <a:r>
            <a:rPr lang="en-US" sz="1300" kern="1200" dirty="0" err="1">
              <a:latin typeface="Century Gothic" panose="020B0502020202020204" pitchFamily="34" charset="0"/>
            </a:rPr>
            <a:t>Jawa</a:t>
          </a:r>
          <a:r>
            <a:rPr lang="en-US" sz="1300" kern="1200" dirty="0">
              <a:latin typeface="Century Gothic" panose="020B0502020202020204" pitchFamily="34" charset="0"/>
            </a:rPr>
            <a:t> Barat</a:t>
          </a:r>
          <a:endParaRPr lang="en-ID" sz="1300" kern="1200" dirty="0">
            <a:latin typeface="Century Gothic" panose="020B0502020202020204" pitchFamily="34" charset="0"/>
          </a:endParaRPr>
        </a:p>
      </dsp:txBody>
      <dsp:txXfrm>
        <a:off x="1547854" y="1169599"/>
        <a:ext cx="1278976" cy="409272"/>
      </dsp:txXfrm>
    </dsp:sp>
    <dsp:sp modelId="{585E2BB3-91D9-4902-86C1-B0F53461D64D}">
      <dsp:nvSpPr>
        <dsp:cNvPr id="0" name=""/>
        <dsp:cNvSpPr/>
      </dsp:nvSpPr>
      <dsp:spPr>
        <a:xfrm>
          <a:off x="3415160" y="1054492"/>
          <a:ext cx="639488" cy="639488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BE803C-956D-4977-9967-A2F5F157F5FB}">
      <dsp:nvSpPr>
        <dsp:cNvPr id="0" name=""/>
        <dsp:cNvSpPr/>
      </dsp:nvSpPr>
      <dsp:spPr>
        <a:xfrm>
          <a:off x="3415160" y="1054492"/>
          <a:ext cx="639488" cy="639488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46906D-BBE8-4ACE-B2FC-24D73F0CAF96}">
      <dsp:nvSpPr>
        <dsp:cNvPr id="0" name=""/>
        <dsp:cNvSpPr/>
      </dsp:nvSpPr>
      <dsp:spPr>
        <a:xfrm>
          <a:off x="3095416" y="1169599"/>
          <a:ext cx="1278976" cy="40927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kern="1200" dirty="0">
              <a:latin typeface="Century Gothic" panose="020B0502020202020204" pitchFamily="34" charset="0"/>
            </a:rPr>
            <a:t>DPD </a:t>
          </a:r>
          <a:r>
            <a:rPr lang="en-US" sz="1300" kern="1200" dirty="0" err="1">
              <a:latin typeface="Century Gothic" panose="020B0502020202020204" pitchFamily="34" charset="0"/>
            </a:rPr>
            <a:t>Asosiasi</a:t>
          </a:r>
          <a:r>
            <a:rPr lang="en-US" sz="1300" kern="1200" dirty="0">
              <a:latin typeface="Century Gothic" panose="020B0502020202020204" pitchFamily="34" charset="0"/>
            </a:rPr>
            <a:t> A .....</a:t>
          </a:r>
          <a:endParaRPr lang="en-ID" sz="1300" kern="1200" dirty="0">
            <a:latin typeface="Century Gothic" panose="020B0502020202020204" pitchFamily="34" charset="0"/>
          </a:endParaRPr>
        </a:p>
      </dsp:txBody>
      <dsp:txXfrm>
        <a:off x="3095416" y="1169599"/>
        <a:ext cx="1278976" cy="40927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FD613-5C10-4B40-A1DF-BE6594CD1B26}">
      <dsp:nvSpPr>
        <dsp:cNvPr id="0" name=""/>
        <dsp:cNvSpPr/>
      </dsp:nvSpPr>
      <dsp:spPr>
        <a:xfrm>
          <a:off x="2405052" y="961758"/>
          <a:ext cx="1701592" cy="29531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658"/>
              </a:lnTo>
              <a:lnTo>
                <a:pt x="1701592" y="147658"/>
              </a:lnTo>
              <a:lnTo>
                <a:pt x="1701592" y="29531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EEE08F-2722-41C7-90F2-756AC8E56BE3}">
      <dsp:nvSpPr>
        <dsp:cNvPr id="0" name=""/>
        <dsp:cNvSpPr/>
      </dsp:nvSpPr>
      <dsp:spPr>
        <a:xfrm>
          <a:off x="2359333" y="961758"/>
          <a:ext cx="91440" cy="29531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531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BE305C-99D4-4B61-81A8-CB04A40E9E6C}">
      <dsp:nvSpPr>
        <dsp:cNvPr id="0" name=""/>
        <dsp:cNvSpPr/>
      </dsp:nvSpPr>
      <dsp:spPr>
        <a:xfrm>
          <a:off x="703460" y="961758"/>
          <a:ext cx="1701592" cy="295317"/>
        </a:xfrm>
        <a:custGeom>
          <a:avLst/>
          <a:gdLst/>
          <a:ahLst/>
          <a:cxnLst/>
          <a:rect l="0" t="0" r="0" b="0"/>
          <a:pathLst>
            <a:path>
              <a:moveTo>
                <a:pt x="1701592" y="0"/>
              </a:moveTo>
              <a:lnTo>
                <a:pt x="1701592" y="147658"/>
              </a:lnTo>
              <a:lnTo>
                <a:pt x="0" y="147658"/>
              </a:lnTo>
              <a:lnTo>
                <a:pt x="0" y="295317"/>
              </a:lnTo>
            </a:path>
          </a:pathLst>
        </a:cu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89C51B-F96D-4AF6-BBDF-6851990B52D5}">
      <dsp:nvSpPr>
        <dsp:cNvPr id="0" name=""/>
        <dsp:cNvSpPr/>
      </dsp:nvSpPr>
      <dsp:spPr>
        <a:xfrm>
          <a:off x="2053484" y="258621"/>
          <a:ext cx="703137" cy="703137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12FCBB-8766-4D75-86C5-4334884194F0}">
      <dsp:nvSpPr>
        <dsp:cNvPr id="0" name=""/>
        <dsp:cNvSpPr/>
      </dsp:nvSpPr>
      <dsp:spPr>
        <a:xfrm>
          <a:off x="2053484" y="258621"/>
          <a:ext cx="703137" cy="703137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EED953-0012-4A45-970A-0FF7C36E9CEF}">
      <dsp:nvSpPr>
        <dsp:cNvPr id="0" name=""/>
        <dsp:cNvSpPr/>
      </dsp:nvSpPr>
      <dsp:spPr>
        <a:xfrm>
          <a:off x="1701915" y="385185"/>
          <a:ext cx="1406274" cy="45000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err="1">
              <a:latin typeface="Century Gothic" panose="020B0502020202020204" pitchFamily="34" charset="0"/>
            </a:rPr>
            <a:t>Fakultas</a:t>
          </a:r>
          <a:r>
            <a:rPr lang="en-US" sz="1200" kern="1200" dirty="0">
              <a:latin typeface="Century Gothic" panose="020B0502020202020204" pitchFamily="34" charset="0"/>
            </a:rPr>
            <a:t> Teknik Universitas B</a:t>
          </a:r>
          <a:endParaRPr lang="en-ID" sz="1200" kern="1200" dirty="0">
            <a:latin typeface="Century Gothic" panose="020B0502020202020204" pitchFamily="34" charset="0"/>
          </a:endParaRPr>
        </a:p>
      </dsp:txBody>
      <dsp:txXfrm>
        <a:off x="1701915" y="385185"/>
        <a:ext cx="1406274" cy="450007"/>
      </dsp:txXfrm>
    </dsp:sp>
    <dsp:sp modelId="{0ABD1A63-8CB0-405A-9BDB-CCB703C08F1F}">
      <dsp:nvSpPr>
        <dsp:cNvPr id="0" name=""/>
        <dsp:cNvSpPr/>
      </dsp:nvSpPr>
      <dsp:spPr>
        <a:xfrm>
          <a:off x="351891" y="1257076"/>
          <a:ext cx="703137" cy="703137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AF3F82A-3EDB-4596-B6C2-AC77F0F9904B}">
      <dsp:nvSpPr>
        <dsp:cNvPr id="0" name=""/>
        <dsp:cNvSpPr/>
      </dsp:nvSpPr>
      <dsp:spPr>
        <a:xfrm>
          <a:off x="351891" y="1257076"/>
          <a:ext cx="703137" cy="703137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FD4B05-893D-4014-8383-9822B509E88D}">
      <dsp:nvSpPr>
        <dsp:cNvPr id="0" name=""/>
        <dsp:cNvSpPr/>
      </dsp:nvSpPr>
      <dsp:spPr>
        <a:xfrm>
          <a:off x="322" y="1383641"/>
          <a:ext cx="1406274" cy="45000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Century Gothic" panose="020B0502020202020204" pitchFamily="34" charset="0"/>
            </a:rPr>
            <a:t>Prodi Teknik </a:t>
          </a:r>
          <a:r>
            <a:rPr lang="en-US" sz="1200" kern="1200" dirty="0" err="1">
              <a:latin typeface="Century Gothic" panose="020B0502020202020204" pitchFamily="34" charset="0"/>
            </a:rPr>
            <a:t>Sipil</a:t>
          </a:r>
          <a:r>
            <a:rPr lang="en-US" sz="1200" kern="1200" dirty="0">
              <a:latin typeface="Century Gothic" panose="020B0502020202020204" pitchFamily="34" charset="0"/>
            </a:rPr>
            <a:t> Univ B</a:t>
          </a:r>
          <a:endParaRPr lang="en-ID" sz="1200" kern="1200" dirty="0">
            <a:latin typeface="Century Gothic" panose="020B0502020202020204" pitchFamily="34" charset="0"/>
          </a:endParaRPr>
        </a:p>
      </dsp:txBody>
      <dsp:txXfrm>
        <a:off x="322" y="1383641"/>
        <a:ext cx="1406274" cy="450007"/>
      </dsp:txXfrm>
    </dsp:sp>
    <dsp:sp modelId="{87A33B6B-9CAF-4B4C-AC31-C772112AE5E7}">
      <dsp:nvSpPr>
        <dsp:cNvPr id="0" name=""/>
        <dsp:cNvSpPr/>
      </dsp:nvSpPr>
      <dsp:spPr>
        <a:xfrm>
          <a:off x="2053484" y="1257076"/>
          <a:ext cx="703137" cy="703137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08A56C-2874-4CFD-BCB6-054B8BC30111}">
      <dsp:nvSpPr>
        <dsp:cNvPr id="0" name=""/>
        <dsp:cNvSpPr/>
      </dsp:nvSpPr>
      <dsp:spPr>
        <a:xfrm>
          <a:off x="2053484" y="1257076"/>
          <a:ext cx="703137" cy="703137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72BF7F-34D9-4D19-B724-9820D55DB323}">
      <dsp:nvSpPr>
        <dsp:cNvPr id="0" name=""/>
        <dsp:cNvSpPr/>
      </dsp:nvSpPr>
      <dsp:spPr>
        <a:xfrm>
          <a:off x="1701915" y="1383641"/>
          <a:ext cx="1406274" cy="45000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Century Gothic" panose="020B0502020202020204" pitchFamily="34" charset="0"/>
            </a:rPr>
            <a:t>Prodi Teknik </a:t>
          </a:r>
          <a:r>
            <a:rPr lang="en-US" sz="1200" kern="1200" dirty="0" err="1">
              <a:latin typeface="Century Gothic" panose="020B0502020202020204" pitchFamily="34" charset="0"/>
            </a:rPr>
            <a:t>Arsitektur</a:t>
          </a:r>
          <a:r>
            <a:rPr lang="en-US" sz="1200" kern="1200" dirty="0">
              <a:latin typeface="Century Gothic" panose="020B0502020202020204" pitchFamily="34" charset="0"/>
            </a:rPr>
            <a:t> Univ B</a:t>
          </a:r>
          <a:endParaRPr lang="en-ID" sz="1200" kern="1200" dirty="0">
            <a:latin typeface="Century Gothic" panose="020B0502020202020204" pitchFamily="34" charset="0"/>
          </a:endParaRPr>
        </a:p>
      </dsp:txBody>
      <dsp:txXfrm>
        <a:off x="1701915" y="1383641"/>
        <a:ext cx="1406274" cy="450007"/>
      </dsp:txXfrm>
    </dsp:sp>
    <dsp:sp modelId="{585E2BB3-91D9-4902-86C1-B0F53461D64D}">
      <dsp:nvSpPr>
        <dsp:cNvPr id="0" name=""/>
        <dsp:cNvSpPr/>
      </dsp:nvSpPr>
      <dsp:spPr>
        <a:xfrm>
          <a:off x="3755076" y="1257076"/>
          <a:ext cx="703137" cy="703137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BE803C-956D-4977-9967-A2F5F157F5FB}">
      <dsp:nvSpPr>
        <dsp:cNvPr id="0" name=""/>
        <dsp:cNvSpPr/>
      </dsp:nvSpPr>
      <dsp:spPr>
        <a:xfrm>
          <a:off x="3755076" y="1257076"/>
          <a:ext cx="703137" cy="703137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46906D-BBE8-4ACE-B2FC-24D73F0CAF96}">
      <dsp:nvSpPr>
        <dsp:cNvPr id="0" name=""/>
        <dsp:cNvSpPr/>
      </dsp:nvSpPr>
      <dsp:spPr>
        <a:xfrm>
          <a:off x="3403508" y="1383641"/>
          <a:ext cx="1406274" cy="45000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Century Gothic" panose="020B0502020202020204" pitchFamily="34" charset="0"/>
            </a:rPr>
            <a:t>Prodi .......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>
              <a:latin typeface="Century Gothic" panose="020B0502020202020204" pitchFamily="34" charset="0"/>
            </a:rPr>
            <a:t>Univ B</a:t>
          </a:r>
          <a:endParaRPr lang="en-ID" sz="1200" kern="1200" dirty="0">
            <a:latin typeface="Century Gothic" panose="020B0502020202020204" pitchFamily="34" charset="0"/>
          </a:endParaRPr>
        </a:p>
      </dsp:txBody>
      <dsp:txXfrm>
        <a:off x="3403508" y="1383641"/>
        <a:ext cx="1406274" cy="450007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mpungan Hea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3" name="Tampungan Tanggal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DA8355-B5F7-49CA-A6DC-26E4F1FE3AEF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4" name="Tampungan Gambar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d-ID"/>
          </a:p>
        </p:txBody>
      </p:sp>
      <p:sp>
        <p:nvSpPr>
          <p:cNvPr id="5" name="Tampungan Catatan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6" name="Tampungan Ka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d-ID"/>
          </a:p>
        </p:txBody>
      </p:sp>
      <p:sp>
        <p:nvSpPr>
          <p:cNvPr id="7" name="Tampungan Nomor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8B7FE4-B59E-4AC4-9368-1D90F1A4D02B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58046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unsplash.com/s/photos/singapore?utm_source=unsplash&amp;utm_medium=referral&amp;utm_content=creditCopyText" TargetMode="External"/><Relationship Id="rId13" Type="http://schemas.openxmlformats.org/officeDocument/2006/relationships/hyperlink" Target="https://unsplash.com/@bundo?utm_source=unsplash&amp;utm_medium=referral&amp;utm_content=creditCopyText" TargetMode="External"/><Relationship Id="rId3" Type="http://schemas.openxmlformats.org/officeDocument/2006/relationships/hyperlink" Target="https://unsplash.com/@salty_sandals?utm_source=unsplash&amp;utm_medium=referral&amp;utm_content=creditCopyText" TargetMode="External"/><Relationship Id="rId7" Type="http://schemas.openxmlformats.org/officeDocument/2006/relationships/hyperlink" Target="https://unsplash.com/@j1000words?utm_source=unsplash&amp;utm_medium=referral&amp;utm_content=creditCopyText" TargetMode="External"/><Relationship Id="rId12" Type="http://schemas.openxmlformats.org/officeDocument/2006/relationships/hyperlink" Target="https://unsplash.com/s/photos/beijing?utm_source=unsplash&amp;utm_medium=referral&amp;utm_content=creditCopyText" TargetMode="External"/><Relationship Id="rId2" Type="http://schemas.openxmlformats.org/officeDocument/2006/relationships/slide" Target="../slides/slide25.xml"/><Relationship Id="rId16" Type="http://schemas.openxmlformats.org/officeDocument/2006/relationships/hyperlink" Target="https://unsplash.com/s/photos/japan?utm_source=unsplash&amp;utm_medium=referral&amp;utm_content=creditCopyText" TargetMode="Externa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unsplash.com/s/photos/borobudur?utm_source=unsplash&amp;utm_medium=referral&amp;utm_content=creditCopyText" TargetMode="External"/><Relationship Id="rId11" Type="http://schemas.openxmlformats.org/officeDocument/2006/relationships/hyperlink" Target="https://unsplash.com/@juniperphoton?utm_source=unsplash&amp;utm_medium=referral&amp;utm_content=creditCopyText" TargetMode="External"/><Relationship Id="rId5" Type="http://schemas.openxmlformats.org/officeDocument/2006/relationships/hyperlink" Target="https://unsplash.com/@bonnarda?utm_source=unsplash&amp;utm_medium=referral&amp;utm_content=creditCopyText" TargetMode="External"/><Relationship Id="rId15" Type="http://schemas.openxmlformats.org/officeDocument/2006/relationships/hyperlink" Target="https://unsplash.com/@boontohhgraphy?utm_source=unsplash&amp;utm_medium=referral&amp;utm_content=creditCopyText" TargetMode="External"/><Relationship Id="rId10" Type="http://schemas.openxmlformats.org/officeDocument/2006/relationships/hyperlink" Target="https://unsplash.com/s/photos/taj-mahal?utm_source=unsplash&amp;utm_medium=referral&amp;utm_content=creditCopyText" TargetMode="External"/><Relationship Id="rId4" Type="http://schemas.openxmlformats.org/officeDocument/2006/relationships/hyperlink" Target="https://unsplash.com/s/photos/asia?utm_source=unsplash&amp;utm_medium=referral&amp;utm_content=creditCopyText" TargetMode="External"/><Relationship Id="rId9" Type="http://schemas.openxmlformats.org/officeDocument/2006/relationships/hyperlink" Target="https://unsplash.com/@sylwiabartyzel?utm_source=unsplash&amp;utm_medium=referral&amp;utm_content=creditCopyText" TargetMode="External"/><Relationship Id="rId14" Type="http://schemas.openxmlformats.org/officeDocument/2006/relationships/hyperlink" Target="https://unsplash.com/s/photos/seoul?utm_source=unsplash&amp;utm_medium=referral&amp;utm_content=creditCopyText" TargetMode="Externa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madhu_shesharam?utm_source=unsplash&amp;utm_medium=referral&amp;utm_content=creditCopyText" TargetMode="External"/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travel?utm_source=unsplash&amp;utm_medium=referral&amp;utm_content=creditCopyText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a9fa940987_1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03263"/>
            <a:ext cx="6261100" cy="35210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" name="Google Shape;227;ga9fa940987_1_24:notes"/>
          <p:cNvSpPr txBox="1">
            <a:spLocks noGrp="1"/>
          </p:cNvSpPr>
          <p:nvPr>
            <p:ph type="body" idx="1"/>
          </p:nvPr>
        </p:nvSpPr>
        <p:spPr>
          <a:xfrm>
            <a:off x="710248" y="4459527"/>
            <a:ext cx="5681980" cy="4224814"/>
          </a:xfrm>
          <a:prstGeom prst="rect">
            <a:avLst/>
          </a:prstGeom>
        </p:spPr>
        <p:txBody>
          <a:bodyPr spcFirstLastPara="1" wrap="square" lIns="94205" tIns="94205" rIns="94205" bIns="9420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792468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07308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14602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Jason Cooper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>
                <a:hlinkClick r:id="rId5"/>
              </a:rPr>
              <a:t>Alain </a:t>
            </a:r>
            <a:r>
              <a:rPr lang="en-US" dirty="0" err="1">
                <a:hlinkClick r:id="rId5"/>
              </a:rPr>
              <a:t>Bonnardeaux</a:t>
            </a:r>
            <a:r>
              <a:rPr lang="en-US" dirty="0"/>
              <a:t> on </a:t>
            </a:r>
            <a:r>
              <a:rPr lang="en-US" dirty="0" err="1">
                <a:hlinkClick r:id="rId6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>
                <a:hlinkClick r:id="rId7"/>
              </a:rPr>
              <a:t>Jay Ang</a:t>
            </a:r>
            <a:r>
              <a:rPr lang="en-US" dirty="0"/>
              <a:t> on </a:t>
            </a:r>
            <a:r>
              <a:rPr lang="en-US" dirty="0" err="1">
                <a:hlinkClick r:id="rId8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 err="1">
                <a:hlinkClick r:id="rId9"/>
              </a:rPr>
              <a:t>Sylwia</a:t>
            </a:r>
            <a:r>
              <a:rPr lang="en-US" dirty="0">
                <a:hlinkClick r:id="rId9"/>
              </a:rPr>
              <a:t> </a:t>
            </a:r>
            <a:r>
              <a:rPr lang="en-US" dirty="0" err="1">
                <a:hlinkClick r:id="rId9"/>
              </a:rPr>
              <a:t>Bartyzel</a:t>
            </a:r>
            <a:r>
              <a:rPr lang="en-US" dirty="0"/>
              <a:t> on </a:t>
            </a:r>
            <a:r>
              <a:rPr lang="en-US" dirty="0" err="1">
                <a:hlinkClick r:id="rId10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 err="1">
                <a:hlinkClick r:id="rId11"/>
              </a:rPr>
              <a:t>JuniperPhoton</a:t>
            </a:r>
            <a:r>
              <a:rPr lang="en-US" dirty="0"/>
              <a:t> on </a:t>
            </a:r>
            <a:r>
              <a:rPr lang="en-US" dirty="0" err="1">
                <a:hlinkClick r:id="rId12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 err="1">
                <a:hlinkClick r:id="rId13"/>
              </a:rPr>
              <a:t>Bundo</a:t>
            </a:r>
            <a:r>
              <a:rPr lang="en-US" dirty="0">
                <a:hlinkClick r:id="rId13"/>
              </a:rPr>
              <a:t> Kim</a:t>
            </a:r>
            <a:r>
              <a:rPr lang="en-US" dirty="0"/>
              <a:t> on </a:t>
            </a:r>
            <a:r>
              <a:rPr lang="en-US" dirty="0" err="1">
                <a:hlinkClick r:id="rId14"/>
              </a:rPr>
              <a:t>Unsplash</a:t>
            </a:r>
            <a:r>
              <a:rPr lang="en-US" dirty="0"/>
              <a:t> </a:t>
            </a:r>
          </a:p>
          <a:p>
            <a:r>
              <a:rPr lang="en-US" dirty="0"/>
              <a:t>Photo by </a:t>
            </a:r>
            <a:r>
              <a:rPr lang="en-US" dirty="0" err="1">
                <a:hlinkClick r:id="rId15"/>
              </a:rPr>
              <a:t>Sorasak</a:t>
            </a:r>
            <a:r>
              <a:rPr lang="en-US" dirty="0"/>
              <a:t> on </a:t>
            </a:r>
            <a:r>
              <a:rPr lang="en-US" dirty="0" err="1">
                <a:hlinkClick r:id="rId16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01214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112325-E3CB-4109-AFF9-9CF0988AE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59295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05098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2464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9442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250864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4065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6100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a9fa940987_1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03263"/>
            <a:ext cx="6261100" cy="35210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" name="Google Shape;227;ga9fa940987_1_24:notes"/>
          <p:cNvSpPr txBox="1">
            <a:spLocks noGrp="1"/>
          </p:cNvSpPr>
          <p:nvPr>
            <p:ph type="body" idx="1"/>
          </p:nvPr>
        </p:nvSpPr>
        <p:spPr>
          <a:xfrm>
            <a:off x="710248" y="4459527"/>
            <a:ext cx="5681980" cy="4224814"/>
          </a:xfrm>
          <a:prstGeom prst="rect">
            <a:avLst/>
          </a:prstGeom>
        </p:spPr>
        <p:txBody>
          <a:bodyPr spcFirstLastPara="1" wrap="square" lIns="94205" tIns="94205" rIns="94205" bIns="9420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669737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4932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7230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F672D5-475D-42A0-A31A-C9AB176F60BE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305688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8ACA1A7-BBBE-4EEC-A773-B93D88219069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7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7402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ACA1A7-BBBE-4EEC-A773-B93D88219069}" type="slidenum">
              <a:rPr lang="en-ID" smtClean="0"/>
              <a:t>3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6300531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website'&gt;Website vector created by stories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299A76-1D45-489B-B381-45DC2D2554E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07678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B221A22-6757-4DFC-AC52-B0B349051EA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458061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27D15-CF02-4BFE-A33D-E9B513CB894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824416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"https://www.freepik.com/free-vector/blue-abstract-technology-background_4666670.htm#query=background%20future&amp;position=10&amp;from_view=search&amp;track=sph"&gt;Image by </a:t>
            </a:r>
            <a:r>
              <a:rPr lang="en-US" dirty="0" err="1"/>
              <a:t>pikisuperstar</a:t>
            </a:r>
            <a:r>
              <a:rPr lang="en-US" dirty="0"/>
              <a:t>&lt;/a&gt; on </a:t>
            </a:r>
            <a:r>
              <a:rPr lang="en-US" dirty="0" err="1"/>
              <a:t>Freepik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8EF79C-73B4-409B-8DE6-FE7AEF7F432D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596224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05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7C7CE6-5F55-4418-B02E-3CC1D623EE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767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a9fa940987_1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03263"/>
            <a:ext cx="6261100" cy="35210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" name="Google Shape;227;ga9fa940987_1_24:notes"/>
          <p:cNvSpPr txBox="1">
            <a:spLocks noGrp="1"/>
          </p:cNvSpPr>
          <p:nvPr>
            <p:ph type="body" idx="1"/>
          </p:nvPr>
        </p:nvSpPr>
        <p:spPr>
          <a:xfrm>
            <a:off x="710248" y="4459527"/>
            <a:ext cx="5681980" cy="4224814"/>
          </a:xfrm>
          <a:prstGeom prst="rect">
            <a:avLst/>
          </a:prstGeom>
        </p:spPr>
        <p:txBody>
          <a:bodyPr spcFirstLastPara="1" wrap="square" lIns="94205" tIns="94205" rIns="94205" bIns="9420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9424205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112325-E3CB-4109-AFF9-9CF0988AE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386852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ACA1A7-BBBE-4EEC-A773-B93D88219069}" type="slidenum">
              <a:rPr lang="en-ID" smtClean="0"/>
              <a:t>46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1945340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CE837E-594B-4F0F-92F5-F20D4296AC5C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151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a9fa940987_1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03263"/>
            <a:ext cx="6261100" cy="35210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" name="Google Shape;227;ga9fa940987_1_24:notes"/>
          <p:cNvSpPr txBox="1">
            <a:spLocks noGrp="1"/>
          </p:cNvSpPr>
          <p:nvPr>
            <p:ph type="body" idx="1"/>
          </p:nvPr>
        </p:nvSpPr>
        <p:spPr>
          <a:xfrm>
            <a:off x="710248" y="4459527"/>
            <a:ext cx="5681980" cy="4224814"/>
          </a:xfrm>
          <a:prstGeom prst="rect">
            <a:avLst/>
          </a:prstGeom>
        </p:spPr>
        <p:txBody>
          <a:bodyPr spcFirstLastPara="1" wrap="square" lIns="94205" tIns="94205" rIns="94205" bIns="9420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269644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a9fa940987_1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03263"/>
            <a:ext cx="6261100" cy="35210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" name="Google Shape;227;ga9fa940987_1_24:notes"/>
          <p:cNvSpPr txBox="1">
            <a:spLocks noGrp="1"/>
          </p:cNvSpPr>
          <p:nvPr>
            <p:ph type="body" idx="1"/>
          </p:nvPr>
        </p:nvSpPr>
        <p:spPr>
          <a:xfrm>
            <a:off x="710248" y="4459527"/>
            <a:ext cx="5681980" cy="4224814"/>
          </a:xfrm>
          <a:prstGeom prst="rect">
            <a:avLst/>
          </a:prstGeom>
        </p:spPr>
        <p:txBody>
          <a:bodyPr spcFirstLastPara="1" wrap="square" lIns="94205" tIns="94205" rIns="94205" bIns="9420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974195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ga9fa940987_1_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03263"/>
            <a:ext cx="6261100" cy="35210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7" name="Google Shape;227;ga9fa940987_1_24:notes"/>
          <p:cNvSpPr txBox="1">
            <a:spLocks noGrp="1"/>
          </p:cNvSpPr>
          <p:nvPr>
            <p:ph type="body" idx="1"/>
          </p:nvPr>
        </p:nvSpPr>
        <p:spPr>
          <a:xfrm>
            <a:off x="710248" y="4459527"/>
            <a:ext cx="5681980" cy="4224814"/>
          </a:xfrm>
          <a:prstGeom prst="rect">
            <a:avLst/>
          </a:prstGeom>
        </p:spPr>
        <p:txBody>
          <a:bodyPr spcFirstLastPara="1" wrap="square" lIns="94205" tIns="94205" rIns="94205" bIns="9420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301300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 by </a:t>
            </a:r>
            <a:r>
              <a:rPr lang="en-US" dirty="0">
                <a:hlinkClick r:id="rId3"/>
              </a:rPr>
              <a:t>Madhu </a:t>
            </a:r>
            <a:r>
              <a:rPr lang="en-US" dirty="0" err="1">
                <a:hlinkClick r:id="rId3"/>
              </a:rPr>
              <a:t>Shesharam</a:t>
            </a:r>
            <a:r>
              <a:rPr lang="en-US" dirty="0"/>
              <a:t> on </a:t>
            </a:r>
            <a:r>
              <a:rPr lang="en-US" dirty="0" err="1">
                <a:hlinkClick r:id="rId4"/>
              </a:rPr>
              <a:t>Unsplash</a:t>
            </a:r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201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07694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112325-E3CB-4109-AFF9-9CF0988AEDA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5756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7DE7CE5-E634-88B2-BFA5-10C8843D44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0D4674E-1D9E-99C0-3374-2B248D0299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312E359-CAF8-2FF6-98B9-2A14A5C97F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5C73DBE-2C8E-8A39-0D11-478CA5738E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C8B99EC-4750-7A84-AA34-682615F72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614154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CB7EB5B-B735-8E12-1BC4-18DE7E878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F9819182-F626-FF37-B2B8-EE8A917E29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6B173C6-A01F-BBBC-EA62-12DDD32E8D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CB4CF73-B0F5-786E-8A6F-E66BC7FFC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D382C17-34C6-B0D4-1398-B0274A4683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4891375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7576CAA1-428F-39B3-A497-C0B7CB5DED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EBC84DB-AC75-2F24-36E8-1283BFC9D2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18306AD-0195-B560-099A-958AAD21C7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A2719B0-E851-FD8D-4D68-0F6CA45DA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6FEAE9C-30A7-E749-6DCA-501ED62C9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182685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04D6433-ECE9-F2EF-1C34-7E6C144DD9E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AC3CF76-EDBC-308D-2AEF-5F696F37E6D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E3E62CC-35AA-3A86-E495-9BEF435BAF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CB2412D-DE2B-94A2-3574-35B616B44C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8B927F6-6F31-C3D3-5F1B-9AB18297C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867748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C578BB7-B570-9D26-504A-A8DB74AF6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1D19B07-1997-A99B-F5D8-6B574CBB58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CFA5B16-A518-C3B7-4DCD-F22DB4B0DF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750F59F0-2A2B-D0DD-6E29-08B9F53AF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2DFB2D7-AA18-251D-C28A-1EF45EADD5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33274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8CC647-7904-D565-3842-C58DF80B2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E9FABF0-8C73-0798-CD40-6E983703B6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AC8D3B2-7258-871B-25C2-DFC7DA90D9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8134C11-5B76-D04F-CD1E-2C430361AD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E26361C-AEDB-693D-A20B-9472F8C3F3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977162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0C7E249-693E-42CC-F8FD-E2CB5DF338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BFAFE44-770D-5DD6-4E70-5B960BC417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A05D160-018E-8438-BFE8-21131F9E03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944777CF-3A4F-EA22-0991-E96B777B29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AF5EF58C-6369-FF8B-1EE2-5403883E1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AE12FD4-569E-8AFC-3903-5DA0F8E4E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728554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4D3E92D-8CA5-1163-B7F3-505AD3BB8E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6D25B3C-28CE-F1A3-843D-25E319EFF6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9087471B-99FB-2FDA-AEE1-0E36EAFB6B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6F5F1026-A061-D925-8391-06DAB42668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777DDC97-4517-6870-CA84-40D8949D2C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89C336B6-EBC7-3A67-6D54-5870C81055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A7044D7-BB05-5ADF-75B2-A1978212E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0306BC04-CBF9-2A19-3778-6C5082F12E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78225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D974E50-B288-23D2-1E0C-7219B892D3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EE4AC063-51B0-E3AC-AB47-C2EDF2C294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0C5687F-CDF5-99C9-8874-BCDA355A56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B344E9F-60EC-ED9F-4A0B-6ED05C8C37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582595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35A2C2C-02DD-4814-1EFD-06A1716F3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1BA6C9F3-CB4B-5B18-1CAA-CC2A0C831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59703893-FA7E-AC06-81E5-79B1B9ACF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5875230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92E8870-9E75-C8D9-CCE2-2C097D526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A2486C9-53E4-89B5-18A8-A9A429F478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CD8AC88-FC7A-140F-9660-F1B41CFC190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69CEFFBF-4252-656B-C3AB-688145DB0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D7724E3-2085-3768-B532-303CBFB8E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C1D26FD-A0D5-30F4-AABC-491D7D747D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700261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9E4F6C6-B540-C803-D08C-B346DA039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D9778CB-6517-AA00-D2F1-D265870F24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BB64EAF-4723-8545-9318-BCB45CC5C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E4151CA-417B-EF49-059D-B7F323AEE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A27F464-50B7-75BF-6466-B19DE3FF6F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98321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79D27A1-DBCB-7A26-02E4-A75C8EF796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FCA2CDB7-979D-45C1-DF45-149CA94C8B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B748C49-13D0-FC44-B5F5-92B46C66CE7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4AEF963-AEE9-EF8D-8F8D-6C57998989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4031CE1C-3605-62A4-3146-F995F3E80D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49CC829-DD94-506B-2344-A3118D87D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791825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0723A1C-214E-3C00-46B4-FA5A02212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73EF6DC-3917-17D2-3AFD-25A3C4B4680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739C6C1-8289-EBA7-6FF4-F8BB582B90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4F0B61E-1AE9-E6EA-A5E5-E4483F1B6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D0B8DDF-6A43-689D-EE31-E5849D540B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147202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8911520C-6578-0F8D-837C-55509DAF83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ACAED08-CCF9-6981-929C-83F97FF5E2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22FE4F0-B7DC-072B-0848-2A694035D2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51DE74F-F634-32A2-04CE-D66BA09E7E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ABFBF4E-F06C-F2A9-49A3-BCF124B6CF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324518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AD72442-BC6F-83CA-F29F-48B6EF337A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D2BBE6E-82E4-D5BC-9FED-F661320D3A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058CEF6-6B84-E273-0F8C-602339561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BB8D84F-7122-1C01-698E-344619AF46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8E649FD-D685-BBB8-5B6C-2E17544D4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9487430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C4DCE85-C187-FA87-8964-9B1618BAD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B2322EA-8644-7054-0DD0-18B7F77D316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E9655C89-51DB-0B67-20F3-D5CF6AB47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636CCF0-A7CB-B466-5022-517945684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D7CB6315-353E-F1D4-D053-C9B32803A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DF53CE3-0C95-7F4F-91A8-D094167F4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360249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6E021D9-7D71-26AC-1F97-5DB8B3C9F4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24934E2-52E1-160D-A508-9468655DD9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4D265D1-11D8-1413-5800-01A4736B33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6144CCC-D0A9-24CC-A886-90129DB562F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2C2E0E8E-0A1E-32DA-F8E5-29059D4CDC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A4AF8DAE-9435-5CBF-DCC8-200D8FEE1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10657CD-71D7-7248-9024-D97D2574E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8C85B19-3691-462D-5AAA-50758A7BBA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802605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4F47F2B-E223-D0F0-9DCC-28F0A217F8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512C0289-7FA8-4130-75B7-F13309A4F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B222EEE-E0FD-3DF9-F6B5-B58935567A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6FCC57AC-38E5-E545-EC91-BAE3B1D1B1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937539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7E55D46A-6A75-8401-7DA3-E81EC60641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657237D2-3A72-01FB-0091-E657302955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C8C6454-3658-A214-3AB7-AEABAA60D5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535376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E885069-4CC2-5539-5C17-FC20B055B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9B41B76-F53D-09AF-C9B2-9C140B3766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C8DDB07-3E1A-FA95-6A99-7C6B2EDC41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F0DB989-1459-F03C-4190-343E225BF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8270425-7952-C3CC-B699-FE7061401B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3634BDC-8739-4AA6-B494-4ED0958CE9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0733419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E05CEAB-ACCC-C259-A2BE-2A61FABAB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7BBCB1E-B60E-DC60-0EA1-F4AE59B4C1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FD129D3-6FDA-33DB-3F79-02DCEC40F9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81F6FE5B-7C8B-6535-D9BE-569D88CC20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166154BB-9241-7D53-163A-05D0AC076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DC7F667-6A1B-1921-BAD7-11E1AFD185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565044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FCA6E36-74D4-F150-EE5A-8339C383F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AE0ADB3-0DF7-A099-4121-EC03D47890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E1CFAD0-9282-BC98-D4C9-058DBBD5FE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2F40CD-24BD-4688-A37B-BDB8F66B59AA}" type="datetimeFigureOut">
              <a:rPr lang="en-ID" smtClean="0"/>
              <a:t>19/04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D938964-58AE-6D10-86D1-81CFE9F691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F902514-015A-BD69-0B3A-B1D552E61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B71904-96EE-49F7-8311-090A4ACF33D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79211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0DF32C65-A914-1E1B-0793-956F70573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BE392A2E-2745-18A8-55EF-598500CEC2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E5158AA-F5E3-9D2D-6D29-67EA860202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D62E59-772F-441C-92E4-E4267E68C80C}" type="datetimeFigureOut">
              <a:rPr lang="id-ID" smtClean="0"/>
              <a:t>19/04/2024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65505FE-76A7-CB22-2D14-606FD923B3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8D85A95-B725-1276-0B5B-0786AC7DF2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0D6F70-057F-41CE-9793-47A3F328CE60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58366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3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32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39.svg"/><Relationship Id="rId4" Type="http://schemas.openxmlformats.org/officeDocument/2006/relationships/diagramLayout" Target="../diagrams/layout1.xml"/><Relationship Id="rId9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4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3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32.png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39.svg"/><Relationship Id="rId4" Type="http://schemas.openxmlformats.org/officeDocument/2006/relationships/diagramLayout" Target="../diagrams/layout2.xml"/><Relationship Id="rId9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33.jpeg"/><Relationship Id="rId2" Type="http://schemas.openxmlformats.org/officeDocument/2006/relationships/image" Target="../media/image1.png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32.pn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37.png"/><Relationship Id="rId10" Type="http://schemas.openxmlformats.org/officeDocument/2006/relationships/image" Target="../media/image39.svg"/><Relationship Id="rId4" Type="http://schemas.openxmlformats.org/officeDocument/2006/relationships/diagramLayout" Target="../diagrams/layout3.xml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10" Type="http://schemas.openxmlformats.org/officeDocument/2006/relationships/image" Target="../media/image39.svg"/><Relationship Id="rId4" Type="http://schemas.openxmlformats.org/officeDocument/2006/relationships/diagramLayout" Target="../diagrams/layout4.xml"/><Relationship Id="rId9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5.png"/><Relationship Id="rId4" Type="http://schemas.openxmlformats.org/officeDocument/2006/relationships/image" Target="../media/image54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13" Type="http://schemas.openxmlformats.org/officeDocument/2006/relationships/diagramColors" Target="../diagrams/colors6.xml"/><Relationship Id="rId3" Type="http://schemas.openxmlformats.org/officeDocument/2006/relationships/image" Target="../media/image52.png"/><Relationship Id="rId7" Type="http://schemas.openxmlformats.org/officeDocument/2006/relationships/diagramQuickStyle" Target="../diagrams/quickStyle5.xml"/><Relationship Id="rId12" Type="http://schemas.openxmlformats.org/officeDocument/2006/relationships/diagramQuickStyle" Target="../diagrams/quickStyle6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diagramLayout" Target="../diagrams/layout5.xml"/><Relationship Id="rId11" Type="http://schemas.openxmlformats.org/officeDocument/2006/relationships/diagramLayout" Target="../diagrams/layout6.xml"/><Relationship Id="rId5" Type="http://schemas.openxmlformats.org/officeDocument/2006/relationships/diagramData" Target="../diagrams/data5.xml"/><Relationship Id="rId10" Type="http://schemas.openxmlformats.org/officeDocument/2006/relationships/diagramData" Target="../diagrams/data6.xml"/><Relationship Id="rId4" Type="http://schemas.openxmlformats.org/officeDocument/2006/relationships/image" Target="../media/image54.jpeg"/><Relationship Id="rId9" Type="http://schemas.microsoft.com/office/2007/relationships/diagramDrawing" Target="../diagrams/drawing5.xml"/><Relationship Id="rId14" Type="http://schemas.microsoft.com/office/2007/relationships/diagramDrawing" Target="../diagrams/drawing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2.png"/><Relationship Id="rId4" Type="http://schemas.openxmlformats.org/officeDocument/2006/relationships/image" Target="../media/image57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4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3.svg"/><Relationship Id="rId3" Type="http://schemas.openxmlformats.org/officeDocument/2006/relationships/image" Target="../media/image3.svg"/><Relationship Id="rId7" Type="http://schemas.openxmlformats.org/officeDocument/2006/relationships/image" Target="../media/image7.svg"/><Relationship Id="rId12" Type="http://schemas.openxmlformats.org/officeDocument/2006/relationships/image" Target="../media/image7.png"/><Relationship Id="rId2" Type="http://schemas.openxmlformats.org/officeDocument/2006/relationships/image" Target="../media/image2.png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5" Type="http://schemas.openxmlformats.org/officeDocument/2006/relationships/image" Target="../media/image15.svg"/><Relationship Id="rId10" Type="http://schemas.openxmlformats.org/officeDocument/2006/relationships/image" Target="../media/image6.png"/><Relationship Id="rId4" Type="http://schemas.openxmlformats.org/officeDocument/2006/relationships/image" Target="../media/image3.png"/><Relationship Id="rId9" Type="http://schemas.openxmlformats.org/officeDocument/2006/relationships/image" Target="../media/image9.svg"/><Relationship Id="rId1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microsoft.com/office/2007/relationships/hdphoto" Target="../media/hdphoto1.wdp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7" Type="http://schemas.openxmlformats.org/officeDocument/2006/relationships/chart" Target="../charts/chart11.xml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0.jpeg"/><Relationship Id="rId4" Type="http://schemas.openxmlformats.org/officeDocument/2006/relationships/image" Target="../media/image44.png"/></Relationships>
</file>

<file path=ppt/slides/_rels/slide3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81.jpe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84.png"/><Relationship Id="rId5" Type="http://schemas.openxmlformats.org/officeDocument/2006/relationships/image" Target="../media/image83.jpeg"/><Relationship Id="rId4" Type="http://schemas.openxmlformats.org/officeDocument/2006/relationships/image" Target="../media/image82.png"/></Relationships>
</file>

<file path=ppt/slides/_rels/slide3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1.png"/><Relationship Id="rId3" Type="http://schemas.openxmlformats.org/officeDocument/2006/relationships/tags" Target="../tags/tag3.xml"/><Relationship Id="rId7" Type="http://schemas.openxmlformats.org/officeDocument/2006/relationships/image" Target="../media/image86.emf"/><Relationship Id="rId12" Type="http://schemas.openxmlformats.org/officeDocument/2006/relationships/image" Target="../media/image90.png"/><Relationship Id="rId17" Type="http://schemas.openxmlformats.org/officeDocument/2006/relationships/image" Target="../media/image1.png"/><Relationship Id="rId2" Type="http://schemas.openxmlformats.org/officeDocument/2006/relationships/tags" Target="../tags/tag2.xml"/><Relationship Id="rId16" Type="http://schemas.microsoft.com/office/2007/relationships/hdphoto" Target="../media/hdphoto6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microsoft.com/office/2007/relationships/hdphoto" Target="../media/hdphoto5.wdp"/><Relationship Id="rId5" Type="http://schemas.openxmlformats.org/officeDocument/2006/relationships/notesSlide" Target="../notesSlides/notesSlide26.xml"/><Relationship Id="rId15" Type="http://schemas.openxmlformats.org/officeDocument/2006/relationships/image" Target="../media/image93.png"/><Relationship Id="rId10" Type="http://schemas.openxmlformats.org/officeDocument/2006/relationships/image" Target="../media/image89.png"/><Relationship Id="rId4" Type="http://schemas.openxmlformats.org/officeDocument/2006/relationships/slideLayout" Target="../slideLayouts/slideLayout13.xml"/><Relationship Id="rId9" Type="http://schemas.microsoft.com/office/2007/relationships/hdphoto" Target="../media/hdphoto4.wdp"/><Relationship Id="rId14" Type="http://schemas.openxmlformats.org/officeDocument/2006/relationships/image" Target="../media/image9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6" Type="http://schemas.microsoft.com/office/2007/relationships/hdphoto" Target="../media/hdphoto8.wdp"/><Relationship Id="rId5" Type="http://schemas.openxmlformats.org/officeDocument/2006/relationships/image" Target="../media/image95.png"/><Relationship Id="rId4" Type="http://schemas.microsoft.com/office/2007/relationships/hdphoto" Target="../media/hdphoto7.wdp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79.jpeg"/><Relationship Id="rId7" Type="http://schemas.openxmlformats.org/officeDocument/2006/relationships/image" Target="../media/image98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97.png"/><Relationship Id="rId5" Type="http://schemas.openxmlformats.org/officeDocument/2006/relationships/image" Target="../media/image1.png"/><Relationship Id="rId4" Type="http://schemas.openxmlformats.org/officeDocument/2006/relationships/image" Target="../media/image96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2.jp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image" Target="../media/image102.gif"/><Relationship Id="rId7" Type="http://schemas.microsoft.com/office/2007/relationships/hdphoto" Target="../media/hdphoto9.wdp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Relationship Id="rId9" Type="http://schemas.openxmlformats.org/officeDocument/2006/relationships/image" Target="../media/image10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7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jpg"/><Relationship Id="rId13" Type="http://schemas.microsoft.com/office/2007/relationships/diagramDrawing" Target="../diagrams/drawing7.xml"/><Relationship Id="rId18" Type="http://schemas.openxmlformats.org/officeDocument/2006/relationships/image" Target="../media/image114.png"/><Relationship Id="rId3" Type="http://schemas.openxmlformats.org/officeDocument/2006/relationships/tags" Target="../tags/tag5.xml"/><Relationship Id="rId21" Type="http://schemas.openxmlformats.org/officeDocument/2006/relationships/image" Target="../media/image117.png"/><Relationship Id="rId7" Type="http://schemas.openxmlformats.org/officeDocument/2006/relationships/image" Target="../media/image109.emf"/><Relationship Id="rId12" Type="http://schemas.openxmlformats.org/officeDocument/2006/relationships/diagramColors" Target="../diagrams/colors7.xml"/><Relationship Id="rId17" Type="http://schemas.openxmlformats.org/officeDocument/2006/relationships/image" Target="../media/image113.png"/><Relationship Id="rId2" Type="http://schemas.openxmlformats.org/officeDocument/2006/relationships/tags" Target="../tags/tag4.xml"/><Relationship Id="rId16" Type="http://schemas.openxmlformats.org/officeDocument/2006/relationships/image" Target="../media/image112.png"/><Relationship Id="rId20" Type="http://schemas.openxmlformats.org/officeDocument/2006/relationships/image" Target="../media/image116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diagramQuickStyle" Target="../diagrams/quickStyle7.xml"/><Relationship Id="rId5" Type="http://schemas.openxmlformats.org/officeDocument/2006/relationships/notesSlide" Target="../notesSlides/notesSlide31.xml"/><Relationship Id="rId15" Type="http://schemas.microsoft.com/office/2007/relationships/hdphoto" Target="../media/hdphoto10.wdp"/><Relationship Id="rId10" Type="http://schemas.openxmlformats.org/officeDocument/2006/relationships/diagramLayout" Target="../diagrams/layout7.xml"/><Relationship Id="rId19" Type="http://schemas.openxmlformats.org/officeDocument/2006/relationships/image" Target="../media/image115.png"/><Relationship Id="rId4" Type="http://schemas.openxmlformats.org/officeDocument/2006/relationships/slideLayout" Target="../slideLayouts/slideLayout17.xml"/><Relationship Id="rId9" Type="http://schemas.openxmlformats.org/officeDocument/2006/relationships/diagramData" Target="../diagrams/data7.xml"/><Relationship Id="rId14" Type="http://schemas.openxmlformats.org/officeDocument/2006/relationships/image" Target="../media/image111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jpg"/><Relationship Id="rId13" Type="http://schemas.microsoft.com/office/2007/relationships/hdphoto" Target="../media/hdphoto11.wdp"/><Relationship Id="rId18" Type="http://schemas.openxmlformats.org/officeDocument/2006/relationships/image" Target="../media/image104.png"/><Relationship Id="rId3" Type="http://schemas.openxmlformats.org/officeDocument/2006/relationships/tags" Target="../tags/tag7.xml"/><Relationship Id="rId7" Type="http://schemas.openxmlformats.org/officeDocument/2006/relationships/image" Target="../media/image109.emf"/><Relationship Id="rId12" Type="http://schemas.openxmlformats.org/officeDocument/2006/relationships/image" Target="../media/image121.png"/><Relationship Id="rId17" Type="http://schemas.openxmlformats.org/officeDocument/2006/relationships/image" Target="../media/image124.png"/><Relationship Id="rId2" Type="http://schemas.openxmlformats.org/officeDocument/2006/relationships/tags" Target="../tags/tag6.xml"/><Relationship Id="rId16" Type="http://schemas.openxmlformats.org/officeDocument/2006/relationships/image" Target="../media/image103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20.png"/><Relationship Id="rId5" Type="http://schemas.openxmlformats.org/officeDocument/2006/relationships/notesSlide" Target="../notesSlides/notesSlide32.xml"/><Relationship Id="rId15" Type="http://schemas.openxmlformats.org/officeDocument/2006/relationships/image" Target="../media/image123.png"/><Relationship Id="rId10" Type="http://schemas.openxmlformats.org/officeDocument/2006/relationships/image" Target="../media/image119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png"/><Relationship Id="rId14" Type="http://schemas.openxmlformats.org/officeDocument/2006/relationships/image" Target="../media/image122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26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8.xml"/><Relationship Id="rId11" Type="http://schemas.openxmlformats.org/officeDocument/2006/relationships/image" Target="../media/image1.png"/><Relationship Id="rId5" Type="http://schemas.openxmlformats.org/officeDocument/2006/relationships/diagramQuickStyle" Target="../diagrams/quickStyle8.xml"/><Relationship Id="rId10" Type="http://schemas.openxmlformats.org/officeDocument/2006/relationships/image" Target="../media/image130.png"/><Relationship Id="rId4" Type="http://schemas.openxmlformats.org/officeDocument/2006/relationships/diagramLayout" Target="../diagrams/layout8.xml"/><Relationship Id="rId9" Type="http://schemas.openxmlformats.org/officeDocument/2006/relationships/image" Target="../media/image12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image" Target="../media/image11.png"/><Relationship Id="rId7" Type="http://schemas.openxmlformats.org/officeDocument/2006/relationships/chart" Target="../charts/chart2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.xml"/><Relationship Id="rId5" Type="http://schemas.openxmlformats.org/officeDocument/2006/relationships/image" Target="../media/image13.tiff"/><Relationship Id="rId4" Type="http://schemas.openxmlformats.org/officeDocument/2006/relationships/image" Target="../media/image12.png"/><Relationship Id="rId9" Type="http://schemas.openxmlformats.org/officeDocument/2006/relationships/chart" Target="../charts/chart4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pn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9.xml"/><Relationship Id="rId11" Type="http://schemas.openxmlformats.org/officeDocument/2006/relationships/image" Target="../media/image1.png"/><Relationship Id="rId5" Type="http://schemas.openxmlformats.org/officeDocument/2006/relationships/diagramQuickStyle" Target="../diagrams/quickStyle9.xml"/><Relationship Id="rId10" Type="http://schemas.openxmlformats.org/officeDocument/2006/relationships/image" Target="../media/image130.png"/><Relationship Id="rId4" Type="http://schemas.openxmlformats.org/officeDocument/2006/relationships/diagramLayout" Target="../diagrams/layout9.xml"/><Relationship Id="rId9" Type="http://schemas.openxmlformats.org/officeDocument/2006/relationships/image" Target="../media/image129.png"/></Relationships>
</file>

<file path=ppt/slides/_rels/slide5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0.xml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8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image" Target="../media/image11.png"/><Relationship Id="rId7" Type="http://schemas.openxmlformats.org/officeDocument/2006/relationships/chart" Target="../charts/chart6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5.xml"/><Relationship Id="rId11" Type="http://schemas.openxmlformats.org/officeDocument/2006/relationships/chart" Target="../charts/chart10.xml"/><Relationship Id="rId5" Type="http://schemas.openxmlformats.org/officeDocument/2006/relationships/image" Target="../media/image13.tiff"/><Relationship Id="rId10" Type="http://schemas.openxmlformats.org/officeDocument/2006/relationships/chart" Target="../charts/chart9.xml"/><Relationship Id="rId4" Type="http://schemas.openxmlformats.org/officeDocument/2006/relationships/image" Target="../media/image12.png"/><Relationship Id="rId9" Type="http://schemas.openxmlformats.org/officeDocument/2006/relationships/chart" Target="../charts/char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611;p22">
            <a:extLst>
              <a:ext uri="{FF2B5EF4-FFF2-40B4-BE49-F238E27FC236}">
                <a16:creationId xmlns:a16="http://schemas.microsoft.com/office/drawing/2014/main" xmlns="" id="{39E37EE2-C3FE-0346-8621-68C4259F4550}"/>
              </a:ext>
            </a:extLst>
          </p:cNvPr>
          <p:cNvSpPr txBox="1">
            <a:spLocks/>
          </p:cNvSpPr>
          <p:nvPr/>
        </p:nvSpPr>
        <p:spPr>
          <a:xfrm>
            <a:off x="84873" y="-441896"/>
            <a:ext cx="10784873" cy="1071272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SAR HUKUM PEMBENTUKAN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PJK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CD5244C7-6229-8049-B130-FCB5FCAB3584}"/>
              </a:ext>
            </a:extLst>
          </p:cNvPr>
          <p:cNvSpPr txBox="1">
            <a:spLocks/>
          </p:cNvSpPr>
          <p:nvPr/>
        </p:nvSpPr>
        <p:spPr>
          <a:xfrm>
            <a:off x="272374" y="1293235"/>
            <a:ext cx="10972800" cy="5321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-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o. 2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17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Jas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onstruksi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(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17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1, 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mbah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6018)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sebagaimana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lah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diubah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deng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1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Cipta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erja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(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45,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mbah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6573)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merintah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2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laksana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-Und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17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Jas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onstruksi</a:t>
            </a:r>
            <a:r>
              <a:rPr lang="en-US" sz="18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,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sebagaimana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lah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diubah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deng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merintah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4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1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bah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atas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merintah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2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laksana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-Und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17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Jas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onstruksi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Menteri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kerja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mum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mah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Rakyat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9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mbentuk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Lembag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ngembang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Jas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onstruksi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(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Berita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328)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Menteri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kerja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mum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mah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Rakyat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3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Organisasi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Tat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erja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Kementerian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kerja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mum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mah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Rakyat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eputusan Menteri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kerja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mum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mah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Rakyat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792/KPTS/M/2020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ngurus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Lembag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ngembangan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Jasa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onstruksi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8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iode</a:t>
            </a:r>
            <a:r>
              <a:rPr kumimoji="0" lang="en-US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1-2024.</a:t>
            </a:r>
          </a:p>
        </p:txBody>
      </p:sp>
      <p:sp>
        <p:nvSpPr>
          <p:cNvPr id="13" name="Round Same Side Corner Rectangle 1">
            <a:extLst>
              <a:ext uri="{FF2B5EF4-FFF2-40B4-BE49-F238E27FC236}">
                <a16:creationId xmlns:a16="http://schemas.microsoft.com/office/drawing/2014/main" xmlns="" id="{E25C8D31-BD46-40A6-9A29-1DB5DD35C035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 descr="lgo sigap.png">
            <a:extLst>
              <a:ext uri="{FF2B5EF4-FFF2-40B4-BE49-F238E27FC236}">
                <a16:creationId xmlns:a16="http://schemas.microsoft.com/office/drawing/2014/main" xmlns="" id="{7FF223A2-9223-4FB7-A52B-ECC2D6704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9584" y="2685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8156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F189F2A-6065-4DAA-D78F-C86FCC934087}"/>
              </a:ext>
            </a:extLst>
          </p:cNvPr>
          <p:cNvSpPr txBox="1"/>
          <p:nvPr/>
        </p:nvSpPr>
        <p:spPr>
          <a:xfrm>
            <a:off x="3487263" y="3218516"/>
            <a:ext cx="5323840" cy="5118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150000"/>
              </a:lnSpc>
              <a:spcAft>
                <a:spcPts val="800"/>
              </a:spcAft>
            </a:pPr>
            <a:r>
              <a:rPr lang="id-ID" sz="2000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nis Permohonan SKK Konstruksi meliputi:</a:t>
            </a:r>
            <a:r>
              <a:rPr lang="en-US" sz="2000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id-ID" sz="2000" dirty="0">
              <a:solidFill>
                <a:schemeClr val="bg1"/>
              </a:solidFill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8126CEB-E74F-6C47-5C3A-B77B4B2FF8AA}"/>
              </a:ext>
            </a:extLst>
          </p:cNvPr>
          <p:cNvSpPr txBox="1"/>
          <p:nvPr/>
        </p:nvSpPr>
        <p:spPr>
          <a:xfrm>
            <a:off x="2529840" y="1762401"/>
            <a:ext cx="6096000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spcAft>
                <a:spcPts val="800"/>
              </a:spcAft>
            </a:pPr>
            <a:r>
              <a:rPr lang="id-ID" sz="1800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mohonan SKK Konstruksi disampaikan kepada </a:t>
            </a:r>
            <a:r>
              <a:rPr lang="id-ID" sz="2400" b="1" dirty="0">
                <a:solidFill>
                  <a:srgbClr val="FFDE59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LSP</a:t>
            </a:r>
            <a:r>
              <a:rPr lang="id-ID" sz="1800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bidang konstruksi</a:t>
            </a:r>
            <a:r>
              <a:rPr lang="en-GB" sz="1800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yang </a:t>
            </a:r>
            <a:r>
              <a:rPr lang="en-GB" sz="2000" b="1" dirty="0" err="1">
                <a:solidFill>
                  <a:srgbClr val="FFDE59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rlisensi</a:t>
            </a:r>
            <a:r>
              <a:rPr lang="en-GB" sz="2000" b="1" dirty="0">
                <a:solidFill>
                  <a:srgbClr val="FFDE59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an </a:t>
            </a:r>
            <a:r>
              <a:rPr lang="en-GB" sz="2000" b="1" dirty="0" err="1">
                <a:solidFill>
                  <a:srgbClr val="FFDE59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rcatat</a:t>
            </a:r>
            <a:r>
              <a:rPr lang="en-GB" sz="2000" b="1" dirty="0">
                <a:solidFill>
                  <a:srgbClr val="FFDE59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 LPJK.</a:t>
            </a:r>
            <a:endParaRPr lang="id-ID" sz="2000" b="1" dirty="0">
              <a:solidFill>
                <a:srgbClr val="FFDE59"/>
              </a:solidFill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EB1DCCAE-495E-E139-1777-32EF17FBFA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126" y="1031144"/>
            <a:ext cx="2384034" cy="238403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ACB6688-4626-F06A-9C2F-95BDDE6EEF91}"/>
              </a:ext>
            </a:extLst>
          </p:cNvPr>
          <p:cNvSpPr txBox="1"/>
          <p:nvPr/>
        </p:nvSpPr>
        <p:spPr>
          <a:xfrm>
            <a:off x="2256598" y="228012"/>
            <a:ext cx="4004243" cy="954107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marL="0" lvl="1"/>
            <a:r>
              <a:rPr lang="en-US" sz="2400" b="1" dirty="0">
                <a:solidFill>
                  <a:schemeClr val="bg1"/>
                </a:solidFill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ETENTUAN UMUM</a:t>
            </a:r>
          </a:p>
          <a:p>
            <a:pPr marL="0" lvl="1"/>
            <a:r>
              <a:rPr lang="en-US" sz="3200" b="1" dirty="0">
                <a:solidFill>
                  <a:schemeClr val="bg1"/>
                </a:solidFill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RMOHONAN SKK</a:t>
            </a:r>
            <a:endParaRPr lang="id-ID" sz="3200" b="1" dirty="0">
              <a:solidFill>
                <a:schemeClr val="bg1"/>
              </a:solidFill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B81B5BD9-AAB8-4A85-9A39-9630E408C457}"/>
              </a:ext>
            </a:extLst>
          </p:cNvPr>
          <p:cNvGrpSpPr/>
          <p:nvPr/>
        </p:nvGrpSpPr>
        <p:grpSpPr>
          <a:xfrm>
            <a:off x="3538063" y="3826590"/>
            <a:ext cx="7155163" cy="2471633"/>
            <a:chOff x="3538063" y="3653870"/>
            <a:chExt cx="7155163" cy="2471633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95233EBE-8DE3-D229-0290-9353FAE7BF84}"/>
                </a:ext>
              </a:extLst>
            </p:cNvPr>
            <p:cNvGrpSpPr/>
            <p:nvPr/>
          </p:nvGrpSpPr>
          <p:grpSpPr>
            <a:xfrm>
              <a:off x="3540520" y="3653870"/>
              <a:ext cx="3043158" cy="707633"/>
              <a:chOff x="2163945" y="365005"/>
              <a:chExt cx="2794136" cy="1207098"/>
            </a:xfrm>
          </p:grpSpPr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xmlns="" id="{C179852D-6BBC-BE01-8360-5E2B87F622F6}"/>
                  </a:ext>
                </a:extLst>
              </p:cNvPr>
              <p:cNvSpPr/>
              <p:nvPr/>
            </p:nvSpPr>
            <p:spPr>
              <a:xfrm>
                <a:off x="2163945" y="365005"/>
                <a:ext cx="2794136" cy="983974"/>
              </a:xfrm>
              <a:prstGeom prst="roundRect">
                <a:avLst/>
              </a:prstGeom>
              <a:solidFill>
                <a:srgbClr val="FFDE5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xmlns="" id="{6A3DA5CD-2A1C-AA0F-6D34-FFF14D62B14E}"/>
                  </a:ext>
                </a:extLst>
              </p:cNvPr>
              <p:cNvSpPr txBox="1"/>
              <p:nvPr/>
            </p:nvSpPr>
            <p:spPr>
              <a:xfrm>
                <a:off x="2362098" y="589705"/>
                <a:ext cx="2397829" cy="98239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dirty="0">
                    <a:solidFill>
                      <a:srgbClr val="233758"/>
                    </a:solidFill>
                    <a:effectLst/>
                    <a:latin typeface="Arial Black" panose="020B0A040201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ERMOHONAN BARU</a:t>
                </a:r>
                <a:endParaRPr lang="id-ID" sz="1600" dirty="0">
                  <a:solidFill>
                    <a:srgbClr val="233758"/>
                  </a:solidFill>
                  <a:effectLst/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xmlns="" id="{CE5F02C9-E4EB-853F-4CEE-DC0BE35A4DC0}"/>
                </a:ext>
              </a:extLst>
            </p:cNvPr>
            <p:cNvGrpSpPr/>
            <p:nvPr/>
          </p:nvGrpSpPr>
          <p:grpSpPr>
            <a:xfrm>
              <a:off x="3538063" y="4356141"/>
              <a:ext cx="3043158" cy="944016"/>
              <a:chOff x="2163945" y="365005"/>
              <a:chExt cx="2794136" cy="1150384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xmlns="" id="{A49FF8E6-EF25-8F01-305D-0EDD39BE14A1}"/>
                  </a:ext>
                </a:extLst>
              </p:cNvPr>
              <p:cNvSpPr/>
              <p:nvPr/>
            </p:nvSpPr>
            <p:spPr>
              <a:xfrm>
                <a:off x="2163945" y="365005"/>
                <a:ext cx="2794136" cy="983974"/>
              </a:xfrm>
              <a:prstGeom prst="roundRect">
                <a:avLst/>
              </a:prstGeom>
              <a:solidFill>
                <a:srgbClr val="FFDE5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xmlns="" id="{C87303B0-6C9A-63AF-90C6-78239A0E52E2}"/>
                  </a:ext>
                </a:extLst>
              </p:cNvPr>
              <p:cNvSpPr txBox="1"/>
              <p:nvPr/>
            </p:nvSpPr>
            <p:spPr>
              <a:xfrm>
                <a:off x="2362097" y="517866"/>
                <a:ext cx="2397829" cy="99752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dirty="0">
                    <a:solidFill>
                      <a:srgbClr val="233758"/>
                    </a:solidFill>
                    <a:effectLst/>
                    <a:latin typeface="Arial Black" panose="020B0A040201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ERMOHONAN PERPANJANGAN</a:t>
                </a:r>
                <a:endParaRPr lang="id-ID" sz="1600" dirty="0">
                  <a:solidFill>
                    <a:srgbClr val="233758"/>
                  </a:solidFill>
                  <a:effectLst/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xmlns="" id="{69DE3F4A-52BB-A10D-0A18-812BE2A50C8A}"/>
                </a:ext>
              </a:extLst>
            </p:cNvPr>
            <p:cNvGrpSpPr/>
            <p:nvPr/>
          </p:nvGrpSpPr>
          <p:grpSpPr>
            <a:xfrm>
              <a:off x="3538063" y="5318045"/>
              <a:ext cx="3043158" cy="807458"/>
              <a:chOff x="2163945" y="365005"/>
              <a:chExt cx="2794136" cy="983974"/>
            </a:xfrm>
          </p:grpSpPr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xmlns="" id="{D1E311D5-247F-EE12-13CD-0900397E9C60}"/>
                  </a:ext>
                </a:extLst>
              </p:cNvPr>
              <p:cNvSpPr/>
              <p:nvPr/>
            </p:nvSpPr>
            <p:spPr>
              <a:xfrm>
                <a:off x="2163945" y="365005"/>
                <a:ext cx="2794136" cy="983974"/>
              </a:xfrm>
              <a:prstGeom prst="roundRect">
                <a:avLst/>
              </a:prstGeom>
              <a:solidFill>
                <a:srgbClr val="FFDE59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/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xmlns="" id="{BA49BA33-8659-BF85-D452-1F7557D6F5B5}"/>
                  </a:ext>
                </a:extLst>
              </p:cNvPr>
              <p:cNvSpPr txBox="1"/>
              <p:nvPr/>
            </p:nvSpPr>
            <p:spPr>
              <a:xfrm>
                <a:off x="2362097" y="517866"/>
                <a:ext cx="2397829" cy="7126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600" dirty="0">
                    <a:solidFill>
                      <a:srgbClr val="233758"/>
                    </a:solidFill>
                    <a:effectLst/>
                    <a:latin typeface="Arial Black" panose="020B0A0402010202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ERMOHONAN PERUBAHAN DATA</a:t>
                </a:r>
                <a:endParaRPr lang="id-ID" sz="1600" dirty="0">
                  <a:solidFill>
                    <a:srgbClr val="233758"/>
                  </a:solidFill>
                  <a:effectLst/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8" name="L-Shape 27">
              <a:extLst>
                <a:ext uri="{FF2B5EF4-FFF2-40B4-BE49-F238E27FC236}">
                  <a16:creationId xmlns:a16="http://schemas.microsoft.com/office/drawing/2014/main" xmlns="" id="{C9B83FB0-CBFE-D4DC-6180-BE692F016897}"/>
                </a:ext>
              </a:extLst>
            </p:cNvPr>
            <p:cNvSpPr/>
            <p:nvPr/>
          </p:nvSpPr>
          <p:spPr>
            <a:xfrm rot="13657073">
              <a:off x="6664439" y="4387936"/>
              <a:ext cx="695698" cy="737192"/>
            </a:xfrm>
            <a:prstGeom prst="corner">
              <a:avLst/>
            </a:prstGeom>
            <a:solidFill>
              <a:schemeClr val="bg1"/>
            </a:solidFill>
            <a:ln w="28575">
              <a:solidFill>
                <a:srgbClr val="FFDE59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xmlns="" id="{C0022A63-0A33-1FB6-0C37-C36FA69BB75A}"/>
                </a:ext>
              </a:extLst>
            </p:cNvPr>
            <p:cNvGrpSpPr/>
            <p:nvPr/>
          </p:nvGrpSpPr>
          <p:grpSpPr>
            <a:xfrm>
              <a:off x="7599678" y="3718972"/>
              <a:ext cx="3093548" cy="2085973"/>
              <a:chOff x="7731760" y="3911805"/>
              <a:chExt cx="3093548" cy="2085973"/>
            </a:xfrm>
          </p:grpSpPr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xmlns="" id="{610DF584-B378-260B-38AD-436A0E564896}"/>
                  </a:ext>
                </a:extLst>
              </p:cNvPr>
              <p:cNvSpPr/>
              <p:nvPr/>
            </p:nvSpPr>
            <p:spPr>
              <a:xfrm>
                <a:off x="7731760" y="3911805"/>
                <a:ext cx="3093548" cy="2085973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d-ID" dirty="0"/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xmlns="" id="{0D807681-B470-5483-6917-E1E78EA93CB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121650" y="4541523"/>
                <a:ext cx="941070" cy="931659"/>
              </a:xfrm>
              <a:prstGeom prst="rect">
                <a:avLst/>
              </a:prstGeom>
            </p:spPr>
          </p:pic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xmlns="" id="{37D6A4A5-06FE-2A33-5C7C-95999678A6C6}"/>
                  </a:ext>
                </a:extLst>
              </p:cNvPr>
              <p:cNvSpPr txBox="1"/>
              <p:nvPr/>
            </p:nvSpPr>
            <p:spPr>
              <a:xfrm>
                <a:off x="9156030" y="4674164"/>
                <a:ext cx="1462565" cy="646331"/>
              </a:xfrm>
              <a:prstGeom prst="rect">
                <a:avLst/>
              </a:prstGeom>
              <a:solidFill>
                <a:srgbClr val="C00000"/>
              </a:solidFill>
            </p:spPr>
            <p:txBody>
              <a:bodyPr wrap="square">
                <a:spAutoFit/>
              </a:bodyPr>
              <a:lstStyle/>
              <a:p>
                <a:pPr marL="0" lvl="1" algn="ctr">
                  <a:spcAft>
                    <a:spcPts val="800"/>
                  </a:spcAft>
                </a:pPr>
                <a:r>
                  <a:rPr lang="en-US" b="1" dirty="0">
                    <a:solidFill>
                      <a:schemeClr val="bg1"/>
                    </a:solidFill>
                    <a:latin typeface="DM Sans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ORTAL PERIZINAN</a:t>
                </a:r>
                <a:endParaRPr lang="id-ID" b="1" dirty="0">
                  <a:solidFill>
                    <a:schemeClr val="bg1"/>
                  </a:solidFill>
                  <a:effectLst/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xmlns="" id="{B612850C-F11C-C1D5-4C29-60628C992261}"/>
                  </a:ext>
                </a:extLst>
              </p:cNvPr>
              <p:cNvSpPr txBox="1"/>
              <p:nvPr/>
            </p:nvSpPr>
            <p:spPr>
              <a:xfrm>
                <a:off x="8049174" y="4020826"/>
                <a:ext cx="2458720" cy="38600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lvl="1">
                  <a:lnSpc>
                    <a:spcPct val="150000"/>
                  </a:lnSpc>
                  <a:spcAft>
                    <a:spcPts val="800"/>
                  </a:spcAft>
                </a:pPr>
                <a:r>
                  <a:rPr lang="en-US" sz="1400" b="1" dirty="0">
                    <a:solidFill>
                      <a:srgbClr val="233758"/>
                    </a:solidFill>
                    <a:latin typeface="DM Sans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ERMOHONAN MELALUI</a:t>
                </a:r>
                <a:endParaRPr lang="id-ID" sz="1400" b="1" dirty="0">
                  <a:solidFill>
                    <a:srgbClr val="233758"/>
                  </a:solidFill>
                  <a:effectLst/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xmlns="" id="{B6C63C9E-A0E0-C138-E879-014E5EF05C88}"/>
                  </a:ext>
                </a:extLst>
              </p:cNvPr>
              <p:cNvSpPr txBox="1"/>
              <p:nvPr/>
            </p:nvSpPr>
            <p:spPr>
              <a:xfrm>
                <a:off x="8042555" y="5481341"/>
                <a:ext cx="2696565" cy="3440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lvl="1">
                  <a:lnSpc>
                    <a:spcPct val="150000"/>
                  </a:lnSpc>
                  <a:spcAft>
                    <a:spcPts val="800"/>
                  </a:spcAft>
                </a:pPr>
                <a:r>
                  <a:rPr lang="en-US" sz="1200" b="1" dirty="0">
                    <a:solidFill>
                      <a:srgbClr val="233758"/>
                    </a:solidFill>
                    <a:latin typeface="DM Sans" pitchFamily="2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https://perizinan.pu.go.id/portal/</a:t>
                </a:r>
                <a:endParaRPr lang="id-ID" sz="1200" b="1" dirty="0">
                  <a:solidFill>
                    <a:srgbClr val="233758"/>
                  </a:solidFill>
                  <a:effectLst/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7A385045-614B-7A2A-3AC6-4E3C9BA2BE11}"/>
              </a:ext>
            </a:extLst>
          </p:cNvPr>
          <p:cNvGrpSpPr/>
          <p:nvPr/>
        </p:nvGrpSpPr>
        <p:grpSpPr>
          <a:xfrm>
            <a:off x="8742018" y="1899819"/>
            <a:ext cx="1033473" cy="646684"/>
            <a:chOff x="6624194" y="685800"/>
            <a:chExt cx="1481401" cy="983974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xmlns="" id="{4909762D-AEB8-066E-785E-298905B78AC9}"/>
                </a:ext>
              </a:extLst>
            </p:cNvPr>
            <p:cNvSpPr/>
            <p:nvPr/>
          </p:nvSpPr>
          <p:spPr>
            <a:xfrm>
              <a:off x="6907696" y="685800"/>
              <a:ext cx="914400" cy="983974"/>
            </a:xfrm>
            <a:prstGeom prst="roundRect">
              <a:avLst/>
            </a:prstGeom>
            <a:solidFill>
              <a:srgbClr val="FFDE5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78650B01-0363-4F8E-4B49-91A51DE71EF2}"/>
                </a:ext>
              </a:extLst>
            </p:cNvPr>
            <p:cNvSpPr txBox="1"/>
            <p:nvPr/>
          </p:nvSpPr>
          <p:spPr>
            <a:xfrm rot="21080829">
              <a:off x="6624194" y="800411"/>
              <a:ext cx="1481401" cy="646330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 dirty="0">
                  <a:solidFill>
                    <a:srgbClr val="233758"/>
                  </a:solidFill>
                  <a:effectLst/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</a:t>
              </a:r>
              <a:endParaRPr lang="id-ID" sz="3600" dirty="0">
                <a:solidFill>
                  <a:srgbClr val="233758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BE12EDF0-47FC-9B7E-DEF3-F8CF0FB341CD}"/>
              </a:ext>
            </a:extLst>
          </p:cNvPr>
          <p:cNvGrpSpPr/>
          <p:nvPr/>
        </p:nvGrpSpPr>
        <p:grpSpPr>
          <a:xfrm>
            <a:off x="2309645" y="4683120"/>
            <a:ext cx="1033473" cy="659846"/>
            <a:chOff x="6624193" y="665773"/>
            <a:chExt cx="1481401" cy="1004001"/>
          </a:xfrm>
        </p:grpSpPr>
        <p:sp>
          <p:nvSpPr>
            <p:cNvPr id="41" name="Rectangle: Rounded Corners 40">
              <a:extLst>
                <a:ext uri="{FF2B5EF4-FFF2-40B4-BE49-F238E27FC236}">
                  <a16:creationId xmlns:a16="http://schemas.microsoft.com/office/drawing/2014/main" xmlns="" id="{838816C0-39A8-7BF7-917F-6140B899E8F8}"/>
                </a:ext>
              </a:extLst>
            </p:cNvPr>
            <p:cNvSpPr/>
            <p:nvPr/>
          </p:nvSpPr>
          <p:spPr>
            <a:xfrm>
              <a:off x="6907696" y="685800"/>
              <a:ext cx="914400" cy="983974"/>
            </a:xfrm>
            <a:prstGeom prst="roundRect">
              <a:avLst/>
            </a:prstGeom>
            <a:solidFill>
              <a:srgbClr val="FFDE5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xmlns="" id="{13E4F222-730F-6F27-16D1-03251687F1F5}"/>
                </a:ext>
              </a:extLst>
            </p:cNvPr>
            <p:cNvSpPr txBox="1"/>
            <p:nvPr/>
          </p:nvSpPr>
          <p:spPr>
            <a:xfrm rot="21080829">
              <a:off x="6624193" y="665773"/>
              <a:ext cx="1481401" cy="983437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 dirty="0">
                  <a:solidFill>
                    <a:srgbClr val="233758"/>
                  </a:solidFill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b</a:t>
              </a:r>
              <a:endParaRPr lang="id-ID" sz="3600" dirty="0">
                <a:solidFill>
                  <a:srgbClr val="233758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23093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3F7F4234-28D2-3BCB-C232-DDC2C0C10350}"/>
              </a:ext>
            </a:extLst>
          </p:cNvPr>
          <p:cNvGrpSpPr/>
          <p:nvPr/>
        </p:nvGrpSpPr>
        <p:grpSpPr>
          <a:xfrm>
            <a:off x="3526843" y="999686"/>
            <a:ext cx="1033473" cy="682136"/>
            <a:chOff x="6624194" y="631857"/>
            <a:chExt cx="1481401" cy="1037917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xmlns="" id="{EACF2A42-6DA2-FDA2-227E-CFCA007EFEC5}"/>
                </a:ext>
              </a:extLst>
            </p:cNvPr>
            <p:cNvSpPr/>
            <p:nvPr/>
          </p:nvSpPr>
          <p:spPr>
            <a:xfrm>
              <a:off x="6907696" y="685800"/>
              <a:ext cx="914400" cy="983974"/>
            </a:xfrm>
            <a:prstGeom prst="roundRect">
              <a:avLst/>
            </a:prstGeom>
            <a:solidFill>
              <a:srgbClr val="FFDE5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xmlns="" id="{FFAE30E0-9DAA-E560-FA0E-2A468491DF68}"/>
                </a:ext>
              </a:extLst>
            </p:cNvPr>
            <p:cNvSpPr txBox="1"/>
            <p:nvPr/>
          </p:nvSpPr>
          <p:spPr>
            <a:xfrm rot="21080829">
              <a:off x="6624194" y="631857"/>
              <a:ext cx="1481401" cy="983437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 dirty="0">
                  <a:solidFill>
                    <a:srgbClr val="233758"/>
                  </a:solidFill>
                  <a:effectLst/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c</a:t>
              </a:r>
              <a:endParaRPr lang="id-ID" sz="3600" dirty="0">
                <a:solidFill>
                  <a:srgbClr val="233758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FC28D004-E5AA-E2A9-F1B7-1BE078B16E84}"/>
              </a:ext>
            </a:extLst>
          </p:cNvPr>
          <p:cNvSpPr txBox="1"/>
          <p:nvPr/>
        </p:nvSpPr>
        <p:spPr>
          <a:xfrm>
            <a:off x="4416127" y="968267"/>
            <a:ext cx="6806010" cy="7091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>
              <a:lnSpc>
                <a:spcPct val="150000"/>
              </a:lnSpc>
              <a:spcAft>
                <a:spcPts val="800"/>
              </a:spcAft>
            </a:pP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moho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id-ID" sz="1400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yang telah memiliki SKK Konstruksi </a:t>
            </a:r>
            <a:r>
              <a:rPr lang="id-ID" sz="1400" b="1" dirty="0">
                <a:solidFill>
                  <a:srgbClr val="FFE579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ada kualifikasi jabatan ahli </a:t>
            </a:r>
            <a:r>
              <a:rPr lang="id-ID" sz="1400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idak dapat mengajukan permohonan baru pada jabatan kerja yang sama.</a:t>
            </a:r>
            <a:endParaRPr lang="id-ID" sz="1400" dirty="0">
              <a:solidFill>
                <a:schemeClr val="bg1"/>
              </a:solidFill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0ABFF817-E85F-FB15-882F-4CA7BA5A6F04}"/>
              </a:ext>
            </a:extLst>
          </p:cNvPr>
          <p:cNvGrpSpPr/>
          <p:nvPr/>
        </p:nvGrpSpPr>
        <p:grpSpPr>
          <a:xfrm>
            <a:off x="3126967" y="2031060"/>
            <a:ext cx="1033473" cy="659846"/>
            <a:chOff x="6624194" y="665773"/>
            <a:chExt cx="1481401" cy="1004001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xmlns="" id="{2283DA57-C527-F4F7-1394-C1A8C2E823AE}"/>
                </a:ext>
              </a:extLst>
            </p:cNvPr>
            <p:cNvSpPr/>
            <p:nvPr/>
          </p:nvSpPr>
          <p:spPr>
            <a:xfrm>
              <a:off x="6907696" y="685800"/>
              <a:ext cx="914400" cy="983974"/>
            </a:xfrm>
            <a:prstGeom prst="roundRect">
              <a:avLst/>
            </a:prstGeom>
            <a:solidFill>
              <a:srgbClr val="FFDE5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8E5A2E0C-2861-6BFA-E9EB-F61208035F94}"/>
                </a:ext>
              </a:extLst>
            </p:cNvPr>
            <p:cNvSpPr txBox="1"/>
            <p:nvPr/>
          </p:nvSpPr>
          <p:spPr>
            <a:xfrm rot="21080829">
              <a:off x="6624194" y="665773"/>
              <a:ext cx="1481401" cy="983437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 dirty="0">
                  <a:solidFill>
                    <a:srgbClr val="233758"/>
                  </a:solidFill>
                  <a:effectLst/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</a:t>
              </a:r>
              <a:endParaRPr lang="id-ID" sz="3600" dirty="0">
                <a:solidFill>
                  <a:srgbClr val="233758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7A2C5510-9DB3-023E-016F-E5AC8F447FE2}"/>
              </a:ext>
            </a:extLst>
          </p:cNvPr>
          <p:cNvSpPr txBox="1"/>
          <p:nvPr/>
        </p:nvSpPr>
        <p:spPr>
          <a:xfrm>
            <a:off x="4086317" y="1999641"/>
            <a:ext cx="6541850" cy="7091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>
              <a:lnSpc>
                <a:spcPct val="150000"/>
              </a:lnSpc>
              <a:spcAft>
                <a:spcPts val="800"/>
              </a:spcAft>
            </a:pP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moho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KK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nstruksi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njang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1 (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tu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mpai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4 (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mpat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apat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bantu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oleh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ihak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rkait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tuk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input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mohana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KK di Portal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izina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UP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36904093-90B2-4BCB-E388-7CF1D6C8F843}"/>
              </a:ext>
            </a:extLst>
          </p:cNvPr>
          <p:cNvSpPr txBox="1"/>
          <p:nvPr/>
        </p:nvSpPr>
        <p:spPr>
          <a:xfrm>
            <a:off x="4548207" y="2968889"/>
            <a:ext cx="6541850" cy="10323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>
              <a:lnSpc>
                <a:spcPct val="150000"/>
              </a:lnSpc>
              <a:spcAft>
                <a:spcPts val="800"/>
              </a:spcAft>
            </a:pP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tandar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layana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minimal LSP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tuk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lakuka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nerbita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KK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nstruksi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alah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ambat-lambatnya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14 (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mpat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las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ri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lender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jak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moho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lakuka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nfirmasi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mbayara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1BC6A1BC-8187-C46F-2987-1F5BA1EEAD16}"/>
              </a:ext>
            </a:extLst>
          </p:cNvPr>
          <p:cNvSpPr txBox="1"/>
          <p:nvPr/>
        </p:nvSpPr>
        <p:spPr>
          <a:xfrm>
            <a:off x="4086317" y="4300946"/>
            <a:ext cx="6541850" cy="7091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>
              <a:lnSpc>
                <a:spcPct val="150000"/>
              </a:lnSpc>
              <a:spcAft>
                <a:spcPts val="800"/>
              </a:spcAft>
            </a:pP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sa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rlaku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KK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nstruksi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alah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5 (lima) 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hun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rhitung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jak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dicatat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di LPJK;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0146013F-04AD-6DD3-530A-33CE254B83D0}"/>
              </a:ext>
            </a:extLst>
          </p:cNvPr>
          <p:cNvSpPr txBox="1"/>
          <p:nvPr/>
        </p:nvSpPr>
        <p:spPr>
          <a:xfrm>
            <a:off x="4645792" y="5309838"/>
            <a:ext cx="7420273" cy="7091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>
              <a:lnSpc>
                <a:spcPct val="150000"/>
              </a:lnSpc>
              <a:spcAft>
                <a:spcPts val="800"/>
              </a:spcAft>
            </a:pP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Masa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rlaku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KK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nstruksi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untuk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mohonan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SKK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nstruksi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jenjang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7 (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ujuh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fresh graduate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dalah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(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atu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en-US" sz="1400" b="1" dirty="0" err="1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ahun</a:t>
            </a:r>
            <a:r>
              <a:rPr lang="en-US" sz="1400" b="1" dirty="0">
                <a:solidFill>
                  <a:srgbClr val="FFDE59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400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3818AD64-7109-0825-4804-161217C626CB}"/>
              </a:ext>
            </a:extLst>
          </p:cNvPr>
          <p:cNvGrpSpPr/>
          <p:nvPr/>
        </p:nvGrpSpPr>
        <p:grpSpPr>
          <a:xfrm>
            <a:off x="3569581" y="3155133"/>
            <a:ext cx="1033473" cy="659846"/>
            <a:chOff x="6624194" y="665773"/>
            <a:chExt cx="1481401" cy="1004001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xmlns="" id="{11F4A1CA-4DC5-72B6-C12A-190CFC539445}"/>
                </a:ext>
              </a:extLst>
            </p:cNvPr>
            <p:cNvSpPr/>
            <p:nvPr/>
          </p:nvSpPr>
          <p:spPr>
            <a:xfrm>
              <a:off x="6907696" y="685800"/>
              <a:ext cx="914400" cy="983974"/>
            </a:xfrm>
            <a:prstGeom prst="roundRect">
              <a:avLst/>
            </a:prstGeom>
            <a:solidFill>
              <a:srgbClr val="FFDE5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xmlns="" id="{0E651554-65E3-4C4E-E9BB-10D7A4208746}"/>
                </a:ext>
              </a:extLst>
            </p:cNvPr>
            <p:cNvSpPr txBox="1"/>
            <p:nvPr/>
          </p:nvSpPr>
          <p:spPr>
            <a:xfrm rot="21080829">
              <a:off x="6624194" y="665773"/>
              <a:ext cx="1481401" cy="983437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 dirty="0">
                  <a:solidFill>
                    <a:srgbClr val="233758"/>
                  </a:solidFill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</a:t>
              </a:r>
              <a:endParaRPr lang="id-ID" sz="3600" dirty="0">
                <a:solidFill>
                  <a:srgbClr val="233758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10C8C4A4-2B4D-293C-1283-86E414C89BB3}"/>
              </a:ext>
            </a:extLst>
          </p:cNvPr>
          <p:cNvGrpSpPr/>
          <p:nvPr/>
        </p:nvGrpSpPr>
        <p:grpSpPr>
          <a:xfrm>
            <a:off x="3169705" y="4320378"/>
            <a:ext cx="1033473" cy="659846"/>
            <a:chOff x="6624194" y="665773"/>
            <a:chExt cx="1481401" cy="1004001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xmlns="" id="{A45CA4F0-7DEE-88C2-1EC8-21B1BE6FC3AE}"/>
                </a:ext>
              </a:extLst>
            </p:cNvPr>
            <p:cNvSpPr/>
            <p:nvPr/>
          </p:nvSpPr>
          <p:spPr>
            <a:xfrm>
              <a:off x="6907696" y="685800"/>
              <a:ext cx="914400" cy="983974"/>
            </a:xfrm>
            <a:prstGeom prst="roundRect">
              <a:avLst/>
            </a:prstGeom>
            <a:solidFill>
              <a:srgbClr val="FFDE5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xmlns="" id="{73CD8F85-CBD4-8CD4-6BDE-9F408A5B9C67}"/>
                </a:ext>
              </a:extLst>
            </p:cNvPr>
            <p:cNvSpPr txBox="1"/>
            <p:nvPr/>
          </p:nvSpPr>
          <p:spPr>
            <a:xfrm rot="21080829">
              <a:off x="6624194" y="665773"/>
              <a:ext cx="1481401" cy="983437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 dirty="0">
                  <a:solidFill>
                    <a:srgbClr val="233758"/>
                  </a:solidFill>
                  <a:effectLst/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</a:t>
              </a:r>
              <a:endParaRPr lang="id-ID" sz="3600" dirty="0">
                <a:solidFill>
                  <a:srgbClr val="233758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7801FF9B-5B37-5ACD-C4A5-473A3408A654}"/>
              </a:ext>
            </a:extLst>
          </p:cNvPr>
          <p:cNvGrpSpPr/>
          <p:nvPr/>
        </p:nvGrpSpPr>
        <p:grpSpPr>
          <a:xfrm>
            <a:off x="3729179" y="5359160"/>
            <a:ext cx="1033473" cy="659846"/>
            <a:chOff x="6624194" y="665773"/>
            <a:chExt cx="1481401" cy="1004001"/>
          </a:xfrm>
        </p:grpSpPr>
        <p:sp>
          <p:nvSpPr>
            <p:cNvPr id="43" name="Rectangle: Rounded Corners 42">
              <a:extLst>
                <a:ext uri="{FF2B5EF4-FFF2-40B4-BE49-F238E27FC236}">
                  <a16:creationId xmlns:a16="http://schemas.microsoft.com/office/drawing/2014/main" xmlns="" id="{80D078D4-17A3-3633-3996-215AEB8973AE}"/>
                </a:ext>
              </a:extLst>
            </p:cNvPr>
            <p:cNvSpPr/>
            <p:nvPr/>
          </p:nvSpPr>
          <p:spPr>
            <a:xfrm>
              <a:off x="6907696" y="685800"/>
              <a:ext cx="914400" cy="983974"/>
            </a:xfrm>
            <a:prstGeom prst="roundRect">
              <a:avLst/>
            </a:prstGeom>
            <a:solidFill>
              <a:srgbClr val="FFDE59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8DCF6A53-FEE9-E46E-C386-57F13BCAEC8D}"/>
                </a:ext>
              </a:extLst>
            </p:cNvPr>
            <p:cNvSpPr txBox="1"/>
            <p:nvPr/>
          </p:nvSpPr>
          <p:spPr>
            <a:xfrm rot="21080829">
              <a:off x="6624194" y="665773"/>
              <a:ext cx="1481401" cy="983437"/>
            </a:xfrm>
            <a:prstGeom prst="rect">
              <a:avLst/>
            </a:prstGeom>
            <a:noFill/>
          </p:spPr>
          <p:txBody>
            <a:bodyPr vert="horz"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b="1" dirty="0">
                  <a:solidFill>
                    <a:srgbClr val="233758"/>
                  </a:solidFill>
                  <a:latin typeface="Arial Black" panose="020B0A040201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g</a:t>
              </a:r>
              <a:endParaRPr lang="id-ID" sz="3600" dirty="0">
                <a:solidFill>
                  <a:srgbClr val="233758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49F70874-FCE2-3971-6226-36D5B54F405A}"/>
              </a:ext>
            </a:extLst>
          </p:cNvPr>
          <p:cNvSpPr txBox="1"/>
          <p:nvPr/>
        </p:nvSpPr>
        <p:spPr>
          <a:xfrm>
            <a:off x="83979" y="1815616"/>
            <a:ext cx="3076917" cy="954107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lvl="1">
              <a:spcAft>
                <a:spcPts val="800"/>
              </a:spcAft>
            </a:pPr>
            <a:r>
              <a:rPr lang="en-US" sz="2800" b="1" dirty="0">
                <a:solidFill>
                  <a:schemeClr val="bg1"/>
                </a:solidFill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ETENTUAN UMUM</a:t>
            </a:r>
            <a:endParaRPr lang="id-ID" sz="2800" b="1" dirty="0">
              <a:solidFill>
                <a:schemeClr val="bg1"/>
              </a:solidFill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89341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7C38F5CE-7AEA-227E-2F5B-A2FF2BFFC34F}"/>
              </a:ext>
            </a:extLst>
          </p:cNvPr>
          <p:cNvSpPr/>
          <p:nvPr/>
        </p:nvSpPr>
        <p:spPr>
          <a:xfrm>
            <a:off x="271555" y="2282442"/>
            <a:ext cx="3630929" cy="3098800"/>
          </a:xfrm>
          <a:prstGeom prst="roundRect">
            <a:avLst/>
          </a:prstGeom>
          <a:solidFill>
            <a:srgbClr val="FFF9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1BD71D9-324F-1654-5EB8-82622AE1CF1E}"/>
              </a:ext>
            </a:extLst>
          </p:cNvPr>
          <p:cNvSpPr txBox="1"/>
          <p:nvPr/>
        </p:nvSpPr>
        <p:spPr>
          <a:xfrm>
            <a:off x="3081022" y="586622"/>
            <a:ext cx="5568458" cy="1200329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marL="0" lvl="1"/>
            <a:r>
              <a:rPr lang="id-ID" sz="3600" b="1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etentuan </a:t>
            </a:r>
            <a:r>
              <a:rPr lang="en-US" sz="3600" b="1" dirty="0">
                <a:solidFill>
                  <a:schemeClr val="bg1"/>
                </a:solidFill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id-ID" sz="3600" b="1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epemilikan </a:t>
            </a:r>
            <a:endParaRPr lang="en-US" sz="3600" b="1" dirty="0">
              <a:solidFill>
                <a:schemeClr val="bg1"/>
              </a:solidFill>
              <a:effectLst/>
              <a:latin typeface="DM Sans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1"/>
            <a:r>
              <a:rPr lang="id-ID" sz="3600" b="1" dirty="0">
                <a:solidFill>
                  <a:schemeClr val="bg1"/>
                </a:solidFill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SKK Konstruksi</a:t>
            </a:r>
            <a:endParaRPr lang="id-ID" sz="3600" b="1" dirty="0">
              <a:solidFill>
                <a:schemeClr val="bg1"/>
              </a:solidFill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22FF74B5-3300-FC5B-A870-70B89DA604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8844" y="4536745"/>
            <a:ext cx="662133" cy="66213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AA46F41E-BAA8-3BCA-6B2D-1E4047FAFEF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7226" y="4536745"/>
            <a:ext cx="662132" cy="66213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7286C055-9103-7EF3-4783-9736C9DC8E4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0929" y="3850904"/>
            <a:ext cx="662132" cy="66213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7FABB3F7-5477-EBB9-2576-9942B13CBC7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166" y="3860839"/>
            <a:ext cx="662132" cy="662132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B831F372-81E7-C54C-68DB-F63CA31B0467}"/>
              </a:ext>
            </a:extLst>
          </p:cNvPr>
          <p:cNvSpPr txBox="1"/>
          <p:nvPr/>
        </p:nvSpPr>
        <p:spPr>
          <a:xfrm>
            <a:off x="912904" y="2362302"/>
            <a:ext cx="2348229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/>
            <a:r>
              <a:rPr lang="en-US" sz="2600" b="1" dirty="0"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ERATOR</a:t>
            </a:r>
            <a:endParaRPr lang="id-ID" sz="2600" b="1" dirty="0"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F80A322-3EAD-F8E2-BAC6-2F9024E86ECE}"/>
              </a:ext>
            </a:extLst>
          </p:cNvPr>
          <p:cNvSpPr txBox="1"/>
          <p:nvPr/>
        </p:nvSpPr>
        <p:spPr>
          <a:xfrm>
            <a:off x="456089" y="3021040"/>
            <a:ext cx="324739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/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li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anyak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5 (lima) SKK pada pali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anyak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3 (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iga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lasifikasi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ya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erbeda</a:t>
            </a:r>
            <a:endParaRPr lang="id-ID" sz="1400" b="1" dirty="0"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xmlns="" id="{6E2067BA-ECF2-F56D-E17B-0EEA2694FB7A}"/>
              </a:ext>
            </a:extLst>
          </p:cNvPr>
          <p:cNvSpPr/>
          <p:nvPr/>
        </p:nvSpPr>
        <p:spPr>
          <a:xfrm>
            <a:off x="4245485" y="2282442"/>
            <a:ext cx="3630929" cy="3098800"/>
          </a:xfrm>
          <a:prstGeom prst="roundRect">
            <a:avLst/>
          </a:prstGeom>
          <a:solidFill>
            <a:srgbClr val="FFF9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B0E8BAD7-A05E-4E24-53FD-EECCC056E7B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3759" y="4581921"/>
            <a:ext cx="662133" cy="662133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D39F778F-6ED9-5046-9E9C-63A9253259F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844" y="3896080"/>
            <a:ext cx="662132" cy="66213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8081C025-90CD-313E-D7DA-3926D1E0073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2081" y="3906015"/>
            <a:ext cx="662132" cy="662132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xmlns="" id="{248A1BB8-75A8-1A46-69A6-AFC7C884CA7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4213" y="3899704"/>
            <a:ext cx="662133" cy="662133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B2392E9F-784D-BC41-2091-21FC168C7664}"/>
              </a:ext>
            </a:extLst>
          </p:cNvPr>
          <p:cNvSpPr txBox="1"/>
          <p:nvPr/>
        </p:nvSpPr>
        <p:spPr>
          <a:xfrm>
            <a:off x="4657183" y="2425769"/>
            <a:ext cx="299081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/>
            <a:r>
              <a:rPr lang="en-US" sz="2600" b="1" dirty="0"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KNISI/ANALIS</a:t>
            </a:r>
            <a:endParaRPr lang="id-ID" sz="2600" b="1" dirty="0"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82ABF82C-8828-4E67-DCB8-926BF88550A8}"/>
              </a:ext>
            </a:extLst>
          </p:cNvPr>
          <p:cNvSpPr txBox="1"/>
          <p:nvPr/>
        </p:nvSpPr>
        <p:spPr>
          <a:xfrm>
            <a:off x="4437254" y="3021040"/>
            <a:ext cx="324739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/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li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anyak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5 (lima) SKK pada pali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anyak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2 (dua)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lasifikasi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ya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erbeda</a:t>
            </a:r>
            <a:endParaRPr lang="id-ID" sz="1400" b="1" dirty="0"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xmlns="" id="{08C2E48B-242F-0A63-1031-F2541C0315B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3605" y="4592211"/>
            <a:ext cx="662133" cy="662133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4D081778-0769-B2FB-696D-7E26FC62694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600" y="3847065"/>
            <a:ext cx="662132" cy="662132"/>
          </a:xfrm>
          <a:prstGeom prst="rect">
            <a:avLst/>
          </a:prstGeom>
        </p:spPr>
      </p:pic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xmlns="" id="{F0CB6DE1-9B8F-CA3B-3C39-C32061F67D62}"/>
              </a:ext>
            </a:extLst>
          </p:cNvPr>
          <p:cNvSpPr/>
          <p:nvPr/>
        </p:nvSpPr>
        <p:spPr>
          <a:xfrm>
            <a:off x="8288112" y="2270691"/>
            <a:ext cx="3630929" cy="3098800"/>
          </a:xfrm>
          <a:prstGeom prst="roundRect">
            <a:avLst/>
          </a:prstGeom>
          <a:solidFill>
            <a:srgbClr val="FFF9D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xmlns="" id="{0607EF0E-1977-DA47-522F-BAAA7A6E8634}"/>
              </a:ext>
            </a:extLst>
          </p:cNvPr>
          <p:cNvSpPr/>
          <p:nvPr/>
        </p:nvSpPr>
        <p:spPr>
          <a:xfrm>
            <a:off x="9204149" y="4537790"/>
            <a:ext cx="1229402" cy="643346"/>
          </a:xfrm>
          <a:prstGeom prst="roundRect">
            <a:avLst/>
          </a:prstGeom>
          <a:noFill/>
          <a:ln w="28575"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xmlns="" id="{F017AA7F-4E01-5B9A-1967-3DE235FBFB7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7072" y="4549186"/>
            <a:ext cx="662133" cy="66213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xmlns="" id="{D7011537-E8F7-C584-B244-3042FA314A5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4439" y="3861885"/>
            <a:ext cx="662132" cy="662132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xmlns="" id="{1F89B31A-80CB-5EC3-5E50-1761AF22349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0676" y="3871820"/>
            <a:ext cx="662132" cy="66213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xmlns="" id="{32BD7856-9A17-19CB-89BC-B6EC6B34E8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2808" y="3865509"/>
            <a:ext cx="662133" cy="662133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2AB32DE2-9C57-3804-BE47-DEAF6897A7CE}"/>
              </a:ext>
            </a:extLst>
          </p:cNvPr>
          <p:cNvSpPr txBox="1"/>
          <p:nvPr/>
        </p:nvSpPr>
        <p:spPr>
          <a:xfrm>
            <a:off x="8699810" y="2325816"/>
            <a:ext cx="299081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/>
            <a:r>
              <a:rPr lang="en-US" sz="2600" b="1" dirty="0">
                <a:effectLst/>
                <a:latin typeface="DM Sans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AHLI</a:t>
            </a:r>
            <a:endParaRPr lang="id-ID" sz="2600" b="1" dirty="0"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050FC8CF-B1DF-F703-F4F0-026FB0434111}"/>
              </a:ext>
            </a:extLst>
          </p:cNvPr>
          <p:cNvSpPr txBox="1"/>
          <p:nvPr/>
        </p:nvSpPr>
        <p:spPr>
          <a:xfrm>
            <a:off x="8507916" y="2861123"/>
            <a:ext cx="3247390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/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ali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anyak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5 (lima) SKK pada pali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anyak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2 (dua)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lasifikasi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yang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erbeda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yang salah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atunya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najemen</a:t>
            </a:r>
            <a:r>
              <a:rPr lang="en-US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laksanaan</a:t>
            </a:r>
            <a:endParaRPr lang="id-ID" sz="1400" b="1" dirty="0"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xmlns="" id="{F58CF32F-C455-D381-1FB0-753EF9551E2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6918" y="4559476"/>
            <a:ext cx="662133" cy="662133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59C0868D-56F5-BD4C-A360-3B656E553E08}"/>
              </a:ext>
            </a:extLst>
          </p:cNvPr>
          <p:cNvSpPr txBox="1"/>
          <p:nvPr/>
        </p:nvSpPr>
        <p:spPr>
          <a:xfrm>
            <a:off x="10448405" y="4611852"/>
            <a:ext cx="16904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/>
            <a:r>
              <a:rPr lang="en-US" sz="1200" dirty="0" err="1">
                <a:solidFill>
                  <a:srgbClr val="002060"/>
                </a:solidFill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najemen</a:t>
            </a:r>
            <a:r>
              <a:rPr lang="en-US" sz="1200" dirty="0">
                <a:solidFill>
                  <a:srgbClr val="002060"/>
                </a:solidFill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rgbClr val="002060"/>
                </a:solidFill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elaksanaan</a:t>
            </a:r>
            <a:endParaRPr lang="id-ID" sz="1200" dirty="0">
              <a:solidFill>
                <a:srgbClr val="002060"/>
              </a:solidFill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25974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4DFD57CF-C316-5882-1B5B-454B9A574519}"/>
              </a:ext>
            </a:extLst>
          </p:cNvPr>
          <p:cNvSpPr/>
          <p:nvPr/>
        </p:nvSpPr>
        <p:spPr>
          <a:xfrm>
            <a:off x="0" y="815805"/>
            <a:ext cx="11724423" cy="1958009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E856459-608B-5D5A-510A-202D3D2D8D1F}"/>
              </a:ext>
            </a:extLst>
          </p:cNvPr>
          <p:cNvSpPr/>
          <p:nvPr/>
        </p:nvSpPr>
        <p:spPr>
          <a:xfrm>
            <a:off x="-1" y="2775914"/>
            <a:ext cx="11724423" cy="2038626"/>
          </a:xfrm>
          <a:prstGeom prst="rect">
            <a:avLst/>
          </a:prstGeom>
          <a:solidFill>
            <a:schemeClr val="accent1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BAE2C418-7F88-DEF4-DE35-9383D92CADA4}"/>
              </a:ext>
            </a:extLst>
          </p:cNvPr>
          <p:cNvSpPr/>
          <p:nvPr/>
        </p:nvSpPr>
        <p:spPr>
          <a:xfrm>
            <a:off x="-1" y="4811139"/>
            <a:ext cx="11724423" cy="1448873"/>
          </a:xfrm>
          <a:prstGeom prst="rect">
            <a:avLst/>
          </a:prstGeom>
          <a:solidFill>
            <a:srgbClr val="92D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xmlns="" id="{637329DE-009E-E710-0A3A-B8E4D71E5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5C986132-1521-C9C0-816A-57C4AA1994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5600984"/>
              </p:ext>
            </p:extLst>
          </p:nvPr>
        </p:nvGraphicFramePr>
        <p:xfrm>
          <a:off x="858043" y="1108949"/>
          <a:ext cx="1047591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2F94144-52E7-1F37-810C-B993714D68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4700" y="1213324"/>
            <a:ext cx="895350" cy="3385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3EB43D0-B69F-6EAE-1A20-D2632D64F0BD}"/>
              </a:ext>
            </a:extLst>
          </p:cNvPr>
          <p:cNvSpPr txBox="1"/>
          <p:nvPr/>
        </p:nvSpPr>
        <p:spPr>
          <a:xfrm>
            <a:off x="593396" y="1502164"/>
            <a:ext cx="253947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perizinan.pu.go.id/portal/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phic 8" descr="Construction worker male with solid fill">
            <a:extLst>
              <a:ext uri="{FF2B5EF4-FFF2-40B4-BE49-F238E27FC236}">
                <a16:creationId xmlns:a16="http://schemas.microsoft.com/office/drawing/2014/main" xmlns="" id="{60073001-510E-5626-3966-4D5D1A06A9B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77109" y="1834837"/>
            <a:ext cx="664932" cy="66493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101301B-54D5-E433-2F11-A011636E7B33}"/>
              </a:ext>
            </a:extLst>
          </p:cNvPr>
          <p:cNvSpPr txBox="1"/>
          <p:nvPr/>
        </p:nvSpPr>
        <p:spPr>
          <a:xfrm>
            <a:off x="77109" y="2449141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ctagon 10">
            <a:extLst>
              <a:ext uri="{FF2B5EF4-FFF2-40B4-BE49-F238E27FC236}">
                <a16:creationId xmlns:a16="http://schemas.microsoft.com/office/drawing/2014/main" xmlns="" id="{41A3E24B-E20C-1992-84EB-5332FF1A923A}"/>
              </a:ext>
            </a:extLst>
          </p:cNvPr>
          <p:cNvSpPr/>
          <p:nvPr/>
        </p:nvSpPr>
        <p:spPr>
          <a:xfrm>
            <a:off x="761541" y="2067009"/>
            <a:ext cx="266700" cy="28575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ctagon 11">
            <a:extLst>
              <a:ext uri="{FF2B5EF4-FFF2-40B4-BE49-F238E27FC236}">
                <a16:creationId xmlns:a16="http://schemas.microsoft.com/office/drawing/2014/main" xmlns="" id="{B8C759F2-7198-CA3B-94C3-CF81EBB12A2E}"/>
              </a:ext>
            </a:extLst>
          </p:cNvPr>
          <p:cNvSpPr/>
          <p:nvPr/>
        </p:nvSpPr>
        <p:spPr>
          <a:xfrm>
            <a:off x="2949054" y="206700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806E9E7-DC44-710D-0417-2A16217FFBED}"/>
              </a:ext>
            </a:extLst>
          </p:cNvPr>
          <p:cNvSpPr txBox="1"/>
          <p:nvPr/>
        </p:nvSpPr>
        <p:spPr>
          <a:xfrm>
            <a:off x="3051625" y="948166"/>
            <a:ext cx="13738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m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m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laka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mo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AF18675-1E27-6B19-A4BA-8D405877ECBA}"/>
              </a:ext>
            </a:extLst>
          </p:cNvPr>
          <p:cNvSpPr txBox="1"/>
          <p:nvPr/>
        </p:nvSpPr>
        <p:spPr>
          <a:xfrm>
            <a:off x="7408981" y="1089916"/>
            <a:ext cx="2431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b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rj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S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si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e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su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hli)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EB05989-48F1-79C8-557A-C396A2C0211B}"/>
              </a:ext>
            </a:extLst>
          </p:cNvPr>
          <p:cNvSpPr txBox="1"/>
          <p:nvPr/>
        </p:nvSpPr>
        <p:spPr>
          <a:xfrm>
            <a:off x="9682895" y="751085"/>
            <a:ext cx="243199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W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jazah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e-SIMPAN)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x4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ctagon 15">
            <a:extLst>
              <a:ext uri="{FF2B5EF4-FFF2-40B4-BE49-F238E27FC236}">
                <a16:creationId xmlns:a16="http://schemas.microsoft.com/office/drawing/2014/main" xmlns="" id="{B8DEF9FF-09D4-BF3F-7B85-5AA36CD4C86A}"/>
              </a:ext>
            </a:extLst>
          </p:cNvPr>
          <p:cNvSpPr/>
          <p:nvPr/>
        </p:nvSpPr>
        <p:spPr>
          <a:xfrm>
            <a:off x="5060382" y="2094486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ctagon 16">
            <a:extLst>
              <a:ext uri="{FF2B5EF4-FFF2-40B4-BE49-F238E27FC236}">
                <a16:creationId xmlns:a16="http://schemas.microsoft.com/office/drawing/2014/main" xmlns="" id="{12A6F1F4-2912-697D-FA7B-D30156A6C034}"/>
              </a:ext>
            </a:extLst>
          </p:cNvPr>
          <p:cNvSpPr/>
          <p:nvPr/>
        </p:nvSpPr>
        <p:spPr>
          <a:xfrm>
            <a:off x="7294748" y="2061763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ctagon 17">
            <a:extLst>
              <a:ext uri="{FF2B5EF4-FFF2-40B4-BE49-F238E27FC236}">
                <a16:creationId xmlns:a16="http://schemas.microsoft.com/office/drawing/2014/main" xmlns="" id="{ED58DCEB-7FF8-D31E-E306-38A8669D915B}"/>
              </a:ext>
            </a:extLst>
          </p:cNvPr>
          <p:cNvSpPr/>
          <p:nvPr/>
        </p:nvSpPr>
        <p:spPr>
          <a:xfrm>
            <a:off x="9637815" y="202352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ctagon 18">
            <a:extLst>
              <a:ext uri="{FF2B5EF4-FFF2-40B4-BE49-F238E27FC236}">
                <a16:creationId xmlns:a16="http://schemas.microsoft.com/office/drawing/2014/main" xmlns="" id="{7FCB9D98-1BFA-B4B8-E842-DDD0FD1B4191}"/>
              </a:ext>
            </a:extLst>
          </p:cNvPr>
          <p:cNvSpPr/>
          <p:nvPr/>
        </p:nvSpPr>
        <p:spPr>
          <a:xfrm>
            <a:off x="11183258" y="3675407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ctagon 19">
            <a:extLst>
              <a:ext uri="{FF2B5EF4-FFF2-40B4-BE49-F238E27FC236}">
                <a16:creationId xmlns:a16="http://schemas.microsoft.com/office/drawing/2014/main" xmlns="" id="{D16712EB-E36E-167A-D56B-34A54CC8ADF9}"/>
              </a:ext>
            </a:extLst>
          </p:cNvPr>
          <p:cNvSpPr/>
          <p:nvPr/>
        </p:nvSpPr>
        <p:spPr>
          <a:xfrm>
            <a:off x="8958897" y="3656872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ctagon 20">
            <a:extLst>
              <a:ext uri="{FF2B5EF4-FFF2-40B4-BE49-F238E27FC236}">
                <a16:creationId xmlns:a16="http://schemas.microsoft.com/office/drawing/2014/main" xmlns="" id="{21487F08-1D51-26E2-61B1-AD3B9D325092}"/>
              </a:ext>
            </a:extLst>
          </p:cNvPr>
          <p:cNvSpPr/>
          <p:nvPr/>
        </p:nvSpPr>
        <p:spPr>
          <a:xfrm>
            <a:off x="6723626" y="3673161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ctagon 21">
            <a:extLst>
              <a:ext uri="{FF2B5EF4-FFF2-40B4-BE49-F238E27FC236}">
                <a16:creationId xmlns:a16="http://schemas.microsoft.com/office/drawing/2014/main" xmlns="" id="{4A12B840-E07D-3A94-4173-DA9CD9F8FA13}"/>
              </a:ext>
            </a:extLst>
          </p:cNvPr>
          <p:cNvSpPr/>
          <p:nvPr/>
        </p:nvSpPr>
        <p:spPr>
          <a:xfrm>
            <a:off x="4493810" y="3679764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ctagon 22">
            <a:extLst>
              <a:ext uri="{FF2B5EF4-FFF2-40B4-BE49-F238E27FC236}">
                <a16:creationId xmlns:a16="http://schemas.microsoft.com/office/drawing/2014/main" xmlns="" id="{47644C28-B928-27A9-1AC9-153908BB93DC}"/>
              </a:ext>
            </a:extLst>
          </p:cNvPr>
          <p:cNvSpPr/>
          <p:nvPr/>
        </p:nvSpPr>
        <p:spPr>
          <a:xfrm>
            <a:off x="2269449" y="368193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ctagon 23">
            <a:extLst>
              <a:ext uri="{FF2B5EF4-FFF2-40B4-BE49-F238E27FC236}">
                <a16:creationId xmlns:a16="http://schemas.microsoft.com/office/drawing/2014/main" xmlns="" id="{10B49DF4-DEFA-76D7-9DBB-D38E6D1A631F}"/>
              </a:ext>
            </a:extLst>
          </p:cNvPr>
          <p:cNvSpPr/>
          <p:nvPr/>
        </p:nvSpPr>
        <p:spPr>
          <a:xfrm>
            <a:off x="647264" y="5253441"/>
            <a:ext cx="372729" cy="276999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ctagon 24">
            <a:extLst>
              <a:ext uri="{FF2B5EF4-FFF2-40B4-BE49-F238E27FC236}">
                <a16:creationId xmlns:a16="http://schemas.microsoft.com/office/drawing/2014/main" xmlns="" id="{3739D1BF-3C12-FE68-CB03-D704F8753BE7}"/>
              </a:ext>
            </a:extLst>
          </p:cNvPr>
          <p:cNvSpPr/>
          <p:nvPr/>
        </p:nvSpPr>
        <p:spPr>
          <a:xfrm>
            <a:off x="2871625" y="525574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ctagon 25">
            <a:extLst>
              <a:ext uri="{FF2B5EF4-FFF2-40B4-BE49-F238E27FC236}">
                <a16:creationId xmlns:a16="http://schemas.microsoft.com/office/drawing/2014/main" xmlns="" id="{9AD9DFF0-5BA8-BA46-5289-7B2B7F9DEAD1}"/>
              </a:ext>
            </a:extLst>
          </p:cNvPr>
          <p:cNvSpPr/>
          <p:nvPr/>
        </p:nvSpPr>
        <p:spPr>
          <a:xfrm>
            <a:off x="5103825" y="525574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Graphic 26" descr="Construction worker male with solid fill">
            <a:extLst>
              <a:ext uri="{FF2B5EF4-FFF2-40B4-BE49-F238E27FC236}">
                <a16:creationId xmlns:a16="http://schemas.microsoft.com/office/drawing/2014/main" xmlns="" id="{3B267722-A340-2FC0-B591-63921EB4CB3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920672" y="5131600"/>
            <a:ext cx="664932" cy="6649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15C20E02-450E-7A5A-7B7E-2A7A198BC805}"/>
              </a:ext>
            </a:extLst>
          </p:cNvPr>
          <p:cNvSpPr txBox="1"/>
          <p:nvPr/>
        </p:nvSpPr>
        <p:spPr>
          <a:xfrm>
            <a:off x="10943489" y="5711037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S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Picture 34" descr="Text&#10;&#10;Description automatically generated">
            <a:extLst>
              <a:ext uri="{FF2B5EF4-FFF2-40B4-BE49-F238E27FC236}">
                <a16:creationId xmlns:a16="http://schemas.microsoft.com/office/drawing/2014/main" xmlns="" id="{41A870EF-D465-67CB-6F72-EE196A778A6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591" y="4904243"/>
            <a:ext cx="1629436" cy="104472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CF62A0AE-DB47-CC27-4E1E-11A625746D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82895" y="4544027"/>
            <a:ext cx="895350" cy="338553"/>
          </a:xfrm>
          <a:prstGeom prst="rect">
            <a:avLst/>
          </a:prstGeom>
        </p:spPr>
      </p:pic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xmlns="" id="{6494049B-09CE-31EC-C83C-EF71B6B6F8AE}"/>
              </a:ext>
            </a:extLst>
          </p:cNvPr>
          <p:cNvCxnSpPr>
            <a:cxnSpLocks/>
            <a:stCxn id="21" idx="7"/>
            <a:endCxn id="18" idx="2"/>
          </p:cNvCxnSpPr>
          <p:nvPr/>
        </p:nvCxnSpPr>
        <p:spPr>
          <a:xfrm rot="5400000" flipH="1" flipV="1">
            <a:off x="7775552" y="1535251"/>
            <a:ext cx="1361633" cy="2914189"/>
          </a:xfrm>
          <a:prstGeom prst="bentConnector3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E1F4A89-816B-51BA-7942-9CA804790D1F}"/>
              </a:ext>
            </a:extLst>
          </p:cNvPr>
          <p:cNvSpPr txBox="1"/>
          <p:nvPr/>
        </p:nvSpPr>
        <p:spPr>
          <a:xfrm>
            <a:off x="6860606" y="3970299"/>
            <a:ext cx="10369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585D6300-9E76-912F-E4AE-B5DD3C1E851E}"/>
              </a:ext>
            </a:extLst>
          </p:cNvPr>
          <p:cNvSpPr txBox="1"/>
          <p:nvPr/>
        </p:nvSpPr>
        <p:spPr>
          <a:xfrm>
            <a:off x="8017976" y="2737261"/>
            <a:ext cx="114742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7651A472-1471-FB1C-7614-722087D47DE8}"/>
              </a:ext>
            </a:extLst>
          </p:cNvPr>
          <p:cNvSpPr txBox="1"/>
          <p:nvPr/>
        </p:nvSpPr>
        <p:spPr>
          <a:xfrm>
            <a:off x="2362285" y="4920083"/>
            <a:ext cx="958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Kompeten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xmlns="" id="{F881AACC-2C07-31C0-11DA-627A8057D1FA}"/>
              </a:ext>
            </a:extLst>
          </p:cNvPr>
          <p:cNvCxnSpPr>
            <a:cxnSpLocks/>
            <a:stCxn id="24" idx="2"/>
            <a:endCxn id="17" idx="2"/>
          </p:cNvCxnSpPr>
          <p:nvPr/>
        </p:nvCxnSpPr>
        <p:spPr>
          <a:xfrm rot="5400000" flipH="1" flipV="1">
            <a:off x="2664290" y="624335"/>
            <a:ext cx="3180677" cy="6631533"/>
          </a:xfrm>
          <a:prstGeom prst="bentConnector3">
            <a:avLst>
              <a:gd name="adj1" fmla="val -15937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xmlns="" id="{17EAA493-D6CD-5C9B-1A2C-A354631BAD25}"/>
              </a:ext>
            </a:extLst>
          </p:cNvPr>
          <p:cNvCxnSpPr>
            <a:cxnSpLocks/>
            <a:stCxn id="22" idx="7"/>
            <a:endCxn id="17" idx="3"/>
          </p:cNvCxnSpPr>
          <p:nvPr/>
        </p:nvCxnSpPr>
        <p:spPr>
          <a:xfrm rot="5400000" flipH="1" flipV="1">
            <a:off x="5409279" y="1709943"/>
            <a:ext cx="1330001" cy="2609642"/>
          </a:xfrm>
          <a:prstGeom prst="bentConnector3">
            <a:avLst>
              <a:gd name="adj1" fmla="val 57473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A52DC893-0390-89AE-7618-F65665902FD8}"/>
              </a:ext>
            </a:extLst>
          </p:cNvPr>
          <p:cNvSpPr txBox="1"/>
          <p:nvPr/>
        </p:nvSpPr>
        <p:spPr>
          <a:xfrm>
            <a:off x="5141563" y="2873340"/>
            <a:ext cx="17190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Hari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kukan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mbayaran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AA6D408B-3D0C-EE6B-5305-2631DD84D5C1}"/>
              </a:ext>
            </a:extLst>
          </p:cNvPr>
          <p:cNvSpPr txBox="1"/>
          <p:nvPr/>
        </p:nvSpPr>
        <p:spPr>
          <a:xfrm>
            <a:off x="4760510" y="3374806"/>
            <a:ext cx="6158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Bayar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BBA3F22C-4AF6-1F94-513E-59A9B258C9BE}"/>
              </a:ext>
            </a:extLst>
          </p:cNvPr>
          <p:cNvSpPr txBox="1"/>
          <p:nvPr/>
        </p:nvSpPr>
        <p:spPr>
          <a:xfrm>
            <a:off x="10799442" y="2878219"/>
            <a:ext cx="72025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3CCAFC6-69DF-190B-8275-16E388C8B7A6}"/>
              </a:ext>
            </a:extLst>
          </p:cNvPr>
          <p:cNvSpPr txBox="1"/>
          <p:nvPr/>
        </p:nvSpPr>
        <p:spPr>
          <a:xfrm>
            <a:off x="461883" y="4307367"/>
            <a:ext cx="12590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omendasi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or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BA)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F8EEB6B0-6C6B-040E-B88B-A4CDE7C938D9}"/>
              </a:ext>
            </a:extLst>
          </p:cNvPr>
          <p:cNvSpPr txBox="1"/>
          <p:nvPr/>
        </p:nvSpPr>
        <p:spPr>
          <a:xfrm>
            <a:off x="804326" y="2723773"/>
            <a:ext cx="2431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l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pang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wancara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D6C4BA26-771B-0980-B287-DEF87342E820}"/>
              </a:ext>
            </a:extLst>
          </p:cNvPr>
          <p:cNvSpPr txBox="1"/>
          <p:nvPr/>
        </p:nvSpPr>
        <p:spPr>
          <a:xfrm>
            <a:off x="3132875" y="4275571"/>
            <a:ext cx="127255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nk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Reg. BNSP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Reg. LPJK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9FAEE6F-CE16-ECB6-6510-15D7640C6C09}"/>
              </a:ext>
            </a:extLst>
          </p:cNvPr>
          <p:cNvSpPr txBox="1"/>
          <p:nvPr/>
        </p:nvSpPr>
        <p:spPr>
          <a:xfrm>
            <a:off x="3026602" y="2849772"/>
            <a:ext cx="1711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k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lu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rtal, Email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a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. H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ound Same Side Corner Rectangle 1">
            <a:extLst>
              <a:ext uri="{FF2B5EF4-FFF2-40B4-BE49-F238E27FC236}">
                <a16:creationId xmlns:a16="http://schemas.microsoft.com/office/drawing/2014/main" xmlns="" id="{2D5E9123-DBFD-23E9-C65F-A7E9A8B16080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4472C4"/>
          </a:solidFill>
          <a:ln>
            <a:solidFill>
              <a:schemeClr val="accent1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A1D68F03-9DC7-0206-BF86-2A731D7647B1}"/>
              </a:ext>
            </a:extLst>
          </p:cNvPr>
          <p:cNvSpPr txBox="1"/>
          <p:nvPr/>
        </p:nvSpPr>
        <p:spPr>
          <a:xfrm>
            <a:off x="1126474" y="137856"/>
            <a:ext cx="6771122" cy="558358"/>
          </a:xfrm>
          <a:prstGeom prst="rect">
            <a:avLst/>
          </a:prstGeom>
          <a:solidFill>
            <a:srgbClr val="00297A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 Regular" charset="0"/>
                <a:ea typeface="+mn-ea"/>
                <a:cs typeface="+mn-cs"/>
              </a:rPr>
              <a:t>Alur Permohonan SKK Konstruksi </a:t>
            </a:r>
            <a:r>
              <a:rPr kumimoji="0" lang="fi-FI" sz="24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entury Gothic Regular" charset="0"/>
                <a:ea typeface="+mn-ea"/>
                <a:cs typeface="+mn-cs"/>
              </a:rPr>
              <a:t>BARU</a:t>
            </a:r>
            <a:endParaRPr kumimoji="0" lang="en-US" sz="24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entury Gothic Regular" charset="0"/>
              <a:ea typeface="+mn-ea"/>
              <a:cs typeface="+mn-cs"/>
            </a:endParaRPr>
          </a:p>
        </p:txBody>
      </p:sp>
      <p:pic>
        <p:nvPicPr>
          <p:cNvPr id="71" name="Picture 70" descr="Hasil gambar untuk pupr">
            <a:extLst>
              <a:ext uri="{FF2B5EF4-FFF2-40B4-BE49-F238E27FC236}">
                <a16:creationId xmlns:a16="http://schemas.microsoft.com/office/drawing/2014/main" xmlns="" id="{271443CF-7BD0-DBA2-F52E-C86F20834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14" y="6204983"/>
            <a:ext cx="592457" cy="592457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A22BFC08-9098-C8FB-D8AC-E7938C486730}"/>
              </a:ext>
            </a:extLst>
          </p:cNvPr>
          <p:cNvSpPr txBox="1"/>
          <p:nvPr/>
        </p:nvSpPr>
        <p:spPr>
          <a:xfrm>
            <a:off x="769372" y="6501212"/>
            <a:ext cx="71527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3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EMBAGA PENGEMBANGAN JASA KONSTRUKSI</a:t>
            </a:r>
            <a:endParaRPr kumimoji="0" lang="en-ID" sz="1800" b="1" i="0" u="none" strike="noStrike" kern="1200" cap="none" spc="3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1412169C-D9BE-2648-E85D-35CBE3CF34E2}"/>
              </a:ext>
            </a:extLst>
          </p:cNvPr>
          <p:cNvSpPr txBox="1"/>
          <p:nvPr/>
        </p:nvSpPr>
        <p:spPr>
          <a:xfrm>
            <a:off x="769372" y="6224028"/>
            <a:ext cx="7759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MENTERIAN PEKERJAAN UMUM DAN PERUMAHAN RAKYAT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F0B183A8-3996-CCD8-60CB-F41AB0747F0A}"/>
              </a:ext>
            </a:extLst>
          </p:cNvPr>
          <p:cNvSpPr txBox="1"/>
          <p:nvPr/>
        </p:nvSpPr>
        <p:spPr>
          <a:xfrm>
            <a:off x="2269449" y="5983867"/>
            <a:ext cx="2460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lum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en</a:t>
            </a:r>
            <a:endParaRPr kumimoji="0" lang="id-ID" sz="1200" b="1" i="1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Octagon 80">
            <a:extLst>
              <a:ext uri="{FF2B5EF4-FFF2-40B4-BE49-F238E27FC236}">
                <a16:creationId xmlns:a16="http://schemas.microsoft.com/office/drawing/2014/main" xmlns="" id="{E7683943-CF3D-8061-665D-2F3CC56CF6B6}"/>
              </a:ext>
            </a:extLst>
          </p:cNvPr>
          <p:cNvSpPr/>
          <p:nvPr/>
        </p:nvSpPr>
        <p:spPr>
          <a:xfrm>
            <a:off x="7315168" y="525276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335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4DFD57CF-C316-5882-1B5B-454B9A574519}"/>
              </a:ext>
            </a:extLst>
          </p:cNvPr>
          <p:cNvSpPr/>
          <p:nvPr/>
        </p:nvSpPr>
        <p:spPr>
          <a:xfrm>
            <a:off x="0" y="815805"/>
            <a:ext cx="11724423" cy="1958009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E856459-608B-5D5A-510A-202D3D2D8D1F}"/>
              </a:ext>
            </a:extLst>
          </p:cNvPr>
          <p:cNvSpPr/>
          <p:nvPr/>
        </p:nvSpPr>
        <p:spPr>
          <a:xfrm>
            <a:off x="-1" y="2775914"/>
            <a:ext cx="11724423" cy="2038626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BAE2C418-7F88-DEF4-DE35-9383D92CADA4}"/>
              </a:ext>
            </a:extLst>
          </p:cNvPr>
          <p:cNvSpPr/>
          <p:nvPr/>
        </p:nvSpPr>
        <p:spPr>
          <a:xfrm>
            <a:off x="-1" y="4811139"/>
            <a:ext cx="11724423" cy="1448873"/>
          </a:xfrm>
          <a:prstGeom prst="rect">
            <a:avLst/>
          </a:prstGeom>
          <a:solidFill>
            <a:schemeClr val="accent1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xmlns="" id="{637329DE-009E-E710-0A3A-B8E4D71E5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5C986132-1521-C9C0-816A-57C4AA1994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7729630"/>
              </p:ext>
            </p:extLst>
          </p:nvPr>
        </p:nvGraphicFramePr>
        <p:xfrm>
          <a:off x="858043" y="1108949"/>
          <a:ext cx="1047591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2F94144-52E7-1F37-810C-B993714D68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7699" y="1126266"/>
            <a:ext cx="895350" cy="3385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3EB43D0-B69F-6EAE-1A20-D2632D64F0BD}"/>
              </a:ext>
            </a:extLst>
          </p:cNvPr>
          <p:cNvSpPr txBox="1"/>
          <p:nvPr/>
        </p:nvSpPr>
        <p:spPr>
          <a:xfrm>
            <a:off x="606395" y="1415106"/>
            <a:ext cx="253947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perizinan.pu.go.id/portal/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phic 8" descr="Construction worker male with solid fill">
            <a:extLst>
              <a:ext uri="{FF2B5EF4-FFF2-40B4-BE49-F238E27FC236}">
                <a16:creationId xmlns:a16="http://schemas.microsoft.com/office/drawing/2014/main" xmlns="" id="{60073001-510E-5626-3966-4D5D1A06A9B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77109" y="1834837"/>
            <a:ext cx="664932" cy="66493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101301B-54D5-E433-2F11-A011636E7B33}"/>
              </a:ext>
            </a:extLst>
          </p:cNvPr>
          <p:cNvSpPr txBox="1"/>
          <p:nvPr/>
        </p:nvSpPr>
        <p:spPr>
          <a:xfrm>
            <a:off x="77109" y="2449141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ctagon 10">
            <a:extLst>
              <a:ext uri="{FF2B5EF4-FFF2-40B4-BE49-F238E27FC236}">
                <a16:creationId xmlns:a16="http://schemas.microsoft.com/office/drawing/2014/main" xmlns="" id="{41A3E24B-E20C-1992-84EB-5332FF1A923A}"/>
              </a:ext>
            </a:extLst>
          </p:cNvPr>
          <p:cNvSpPr/>
          <p:nvPr/>
        </p:nvSpPr>
        <p:spPr>
          <a:xfrm>
            <a:off x="761541" y="2067009"/>
            <a:ext cx="266700" cy="28575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ctagon 11">
            <a:extLst>
              <a:ext uri="{FF2B5EF4-FFF2-40B4-BE49-F238E27FC236}">
                <a16:creationId xmlns:a16="http://schemas.microsoft.com/office/drawing/2014/main" xmlns="" id="{B8C759F2-7198-CA3B-94C3-CF81EBB12A2E}"/>
              </a:ext>
            </a:extLst>
          </p:cNvPr>
          <p:cNvSpPr/>
          <p:nvPr/>
        </p:nvSpPr>
        <p:spPr>
          <a:xfrm>
            <a:off x="2902607" y="1916234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806E9E7-DC44-710D-0417-2A16217FFBED}"/>
              </a:ext>
            </a:extLst>
          </p:cNvPr>
          <p:cNvSpPr txBox="1"/>
          <p:nvPr/>
        </p:nvSpPr>
        <p:spPr>
          <a:xfrm>
            <a:off x="3051625" y="948166"/>
            <a:ext cx="13738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m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p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m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lakang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mail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mo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AF18675-1E27-6B19-A4BA-8D405877ECBA}"/>
              </a:ext>
            </a:extLst>
          </p:cNvPr>
          <p:cNvSpPr txBox="1"/>
          <p:nvPr/>
        </p:nvSpPr>
        <p:spPr>
          <a:xfrm>
            <a:off x="7521991" y="737609"/>
            <a:ext cx="2014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b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rja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S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si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esi</a:t>
            </a:r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Balai 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tihan</a:t>
            </a:r>
            <a:endParaRPr kumimoji="0" lang="id-ID" sz="12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EB05989-48F1-79C8-557A-C396A2C0211B}"/>
              </a:ext>
            </a:extLst>
          </p:cNvPr>
          <p:cNvSpPr txBox="1"/>
          <p:nvPr/>
        </p:nvSpPr>
        <p:spPr>
          <a:xfrm>
            <a:off x="9689509" y="878176"/>
            <a:ext cx="142850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T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W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Calibri" panose="020F0502020204030204"/>
              </a:rPr>
              <a:t>Email/No. HP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t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x4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ctagon 15">
            <a:extLst>
              <a:ext uri="{FF2B5EF4-FFF2-40B4-BE49-F238E27FC236}">
                <a16:creationId xmlns:a16="http://schemas.microsoft.com/office/drawing/2014/main" xmlns="" id="{B8DEF9FF-09D4-BF3F-7B85-5AA36CD4C86A}"/>
              </a:ext>
            </a:extLst>
          </p:cNvPr>
          <p:cNvSpPr/>
          <p:nvPr/>
        </p:nvSpPr>
        <p:spPr>
          <a:xfrm>
            <a:off x="5103478" y="157195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ctagon 16">
            <a:extLst>
              <a:ext uri="{FF2B5EF4-FFF2-40B4-BE49-F238E27FC236}">
                <a16:creationId xmlns:a16="http://schemas.microsoft.com/office/drawing/2014/main" xmlns="" id="{12A6F1F4-2912-697D-FA7B-D30156A6C034}"/>
              </a:ext>
            </a:extLst>
          </p:cNvPr>
          <p:cNvSpPr/>
          <p:nvPr/>
        </p:nvSpPr>
        <p:spPr>
          <a:xfrm>
            <a:off x="7294748" y="2061763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ctagon 17">
            <a:extLst>
              <a:ext uri="{FF2B5EF4-FFF2-40B4-BE49-F238E27FC236}">
                <a16:creationId xmlns:a16="http://schemas.microsoft.com/office/drawing/2014/main" xmlns="" id="{ED58DCEB-7FF8-D31E-E306-38A8669D915B}"/>
              </a:ext>
            </a:extLst>
          </p:cNvPr>
          <p:cNvSpPr/>
          <p:nvPr/>
        </p:nvSpPr>
        <p:spPr>
          <a:xfrm>
            <a:off x="9581373" y="202353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ctagon 18">
            <a:extLst>
              <a:ext uri="{FF2B5EF4-FFF2-40B4-BE49-F238E27FC236}">
                <a16:creationId xmlns:a16="http://schemas.microsoft.com/office/drawing/2014/main" xmlns="" id="{7FCB9D98-1BFA-B4B8-E842-DDD0FD1B4191}"/>
              </a:ext>
            </a:extLst>
          </p:cNvPr>
          <p:cNvSpPr/>
          <p:nvPr/>
        </p:nvSpPr>
        <p:spPr>
          <a:xfrm>
            <a:off x="11111780" y="3266311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ctagon 20">
            <a:extLst>
              <a:ext uri="{FF2B5EF4-FFF2-40B4-BE49-F238E27FC236}">
                <a16:creationId xmlns:a16="http://schemas.microsoft.com/office/drawing/2014/main" xmlns="" id="{21487F08-1D51-26E2-61B1-AD3B9D325092}"/>
              </a:ext>
            </a:extLst>
          </p:cNvPr>
          <p:cNvSpPr/>
          <p:nvPr/>
        </p:nvSpPr>
        <p:spPr>
          <a:xfrm>
            <a:off x="6761708" y="342937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/>
              </a:rPr>
              <a:t>7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ctagon 21">
            <a:extLst>
              <a:ext uri="{FF2B5EF4-FFF2-40B4-BE49-F238E27FC236}">
                <a16:creationId xmlns:a16="http://schemas.microsoft.com/office/drawing/2014/main" xmlns="" id="{4A12B840-E07D-3A94-4173-DA9CD9F8FA13}"/>
              </a:ext>
            </a:extLst>
          </p:cNvPr>
          <p:cNvSpPr/>
          <p:nvPr/>
        </p:nvSpPr>
        <p:spPr>
          <a:xfrm>
            <a:off x="4493810" y="3679764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ctagon 22">
            <a:extLst>
              <a:ext uri="{FF2B5EF4-FFF2-40B4-BE49-F238E27FC236}">
                <a16:creationId xmlns:a16="http://schemas.microsoft.com/office/drawing/2014/main" xmlns="" id="{47644C28-B928-27A9-1AC9-153908BB93DC}"/>
              </a:ext>
            </a:extLst>
          </p:cNvPr>
          <p:cNvSpPr/>
          <p:nvPr/>
        </p:nvSpPr>
        <p:spPr>
          <a:xfrm>
            <a:off x="2269449" y="368193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>
                <a:solidFill>
                  <a:schemeClr val="tx1"/>
                </a:solidFill>
                <a:latin typeface="Calibri" panose="020F0502020204030204"/>
              </a:rPr>
              <a:t>9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ctagon 23">
            <a:extLst>
              <a:ext uri="{FF2B5EF4-FFF2-40B4-BE49-F238E27FC236}">
                <a16:creationId xmlns:a16="http://schemas.microsoft.com/office/drawing/2014/main" xmlns="" id="{10B49DF4-DEFA-76D7-9DBB-D38E6D1A631F}"/>
              </a:ext>
            </a:extLst>
          </p:cNvPr>
          <p:cNvSpPr/>
          <p:nvPr/>
        </p:nvSpPr>
        <p:spPr>
          <a:xfrm>
            <a:off x="647264" y="5253441"/>
            <a:ext cx="372729" cy="276999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ctagon 24">
            <a:extLst>
              <a:ext uri="{FF2B5EF4-FFF2-40B4-BE49-F238E27FC236}">
                <a16:creationId xmlns:a16="http://schemas.microsoft.com/office/drawing/2014/main" xmlns="" id="{3739D1BF-3C12-FE68-CB03-D704F8753BE7}"/>
              </a:ext>
            </a:extLst>
          </p:cNvPr>
          <p:cNvSpPr/>
          <p:nvPr/>
        </p:nvSpPr>
        <p:spPr>
          <a:xfrm>
            <a:off x="3015233" y="518881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ctagon 25">
            <a:extLst>
              <a:ext uri="{FF2B5EF4-FFF2-40B4-BE49-F238E27FC236}">
                <a16:creationId xmlns:a16="http://schemas.microsoft.com/office/drawing/2014/main" xmlns="" id="{9AD9DFF0-5BA8-BA46-5289-7B2B7F9DEAD1}"/>
              </a:ext>
            </a:extLst>
          </p:cNvPr>
          <p:cNvSpPr/>
          <p:nvPr/>
        </p:nvSpPr>
        <p:spPr>
          <a:xfrm>
            <a:off x="5238323" y="5071511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Graphic 26" descr="Construction worker male with solid fill">
            <a:extLst>
              <a:ext uri="{FF2B5EF4-FFF2-40B4-BE49-F238E27FC236}">
                <a16:creationId xmlns:a16="http://schemas.microsoft.com/office/drawing/2014/main" xmlns="" id="{3B267722-A340-2FC0-B591-63921EB4CB3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920672" y="5131600"/>
            <a:ext cx="664932" cy="6649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15C20E02-450E-7A5A-7B7E-2A7A198BC805}"/>
              </a:ext>
            </a:extLst>
          </p:cNvPr>
          <p:cNvSpPr txBox="1"/>
          <p:nvPr/>
        </p:nvSpPr>
        <p:spPr>
          <a:xfrm>
            <a:off x="10943489" y="5711037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S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Picture 34" descr="Text&#10;&#10;Description automatically generated">
            <a:extLst>
              <a:ext uri="{FF2B5EF4-FFF2-40B4-BE49-F238E27FC236}">
                <a16:creationId xmlns:a16="http://schemas.microsoft.com/office/drawing/2014/main" xmlns="" id="{41A870EF-D465-67CB-6F72-EE196A778A6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0591" y="4904243"/>
            <a:ext cx="1629436" cy="104472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CF62A0AE-DB47-CC27-4E1E-11A625746D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57672" y="5968250"/>
            <a:ext cx="895350" cy="338553"/>
          </a:xfrm>
          <a:prstGeom prst="rect">
            <a:avLst/>
          </a:prstGeom>
        </p:spPr>
      </p:pic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xmlns="" id="{6494049B-09CE-31EC-C83C-EF71B6B6F8AE}"/>
              </a:ext>
            </a:extLst>
          </p:cNvPr>
          <p:cNvCxnSpPr>
            <a:cxnSpLocks/>
            <a:stCxn id="21" idx="7"/>
            <a:endCxn id="18" idx="3"/>
          </p:cNvCxnSpPr>
          <p:nvPr/>
        </p:nvCxnSpPr>
        <p:spPr>
          <a:xfrm rot="5400000" flipH="1" flipV="1">
            <a:off x="7792620" y="1556266"/>
            <a:ext cx="1117840" cy="2628369"/>
          </a:xfrm>
          <a:prstGeom prst="bentConnector3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E1F4A89-816B-51BA-7942-9CA804790D1F}"/>
              </a:ext>
            </a:extLst>
          </p:cNvPr>
          <p:cNvSpPr txBox="1"/>
          <p:nvPr/>
        </p:nvSpPr>
        <p:spPr>
          <a:xfrm>
            <a:off x="4737812" y="3969010"/>
            <a:ext cx="10369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585D6300-9E76-912F-E4AE-B5DD3C1E851E}"/>
              </a:ext>
            </a:extLst>
          </p:cNvPr>
          <p:cNvSpPr txBox="1"/>
          <p:nvPr/>
        </p:nvSpPr>
        <p:spPr>
          <a:xfrm>
            <a:off x="7903365" y="2853321"/>
            <a:ext cx="110166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7651A472-1471-FB1C-7614-722087D47DE8}"/>
              </a:ext>
            </a:extLst>
          </p:cNvPr>
          <p:cNvSpPr txBox="1"/>
          <p:nvPr/>
        </p:nvSpPr>
        <p:spPr>
          <a:xfrm>
            <a:off x="2362285" y="4920083"/>
            <a:ext cx="958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Kompeten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xmlns="" id="{F881AACC-2C07-31C0-11DA-627A8057D1FA}"/>
              </a:ext>
            </a:extLst>
          </p:cNvPr>
          <p:cNvCxnSpPr>
            <a:cxnSpLocks/>
            <a:stCxn id="24" idx="2"/>
            <a:endCxn id="17" idx="2"/>
          </p:cNvCxnSpPr>
          <p:nvPr/>
        </p:nvCxnSpPr>
        <p:spPr>
          <a:xfrm rot="5400000" flipH="1" flipV="1">
            <a:off x="2664290" y="624335"/>
            <a:ext cx="3180677" cy="6631533"/>
          </a:xfrm>
          <a:prstGeom prst="bentConnector3">
            <a:avLst>
              <a:gd name="adj1" fmla="val -19131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xmlns="" id="{17EAA493-D6CD-5C9B-1A2C-A354631BAD2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409280" y="1709943"/>
            <a:ext cx="1330001" cy="2609642"/>
          </a:xfrm>
          <a:prstGeom prst="bentConnector3">
            <a:avLst>
              <a:gd name="adj1" fmla="val 67713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A52DC893-0390-89AE-7618-F65665902FD8}"/>
              </a:ext>
            </a:extLst>
          </p:cNvPr>
          <p:cNvSpPr txBox="1"/>
          <p:nvPr/>
        </p:nvSpPr>
        <p:spPr>
          <a:xfrm>
            <a:off x="5167713" y="2746952"/>
            <a:ext cx="17190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7 Hari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melakukan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pembayaran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AA6D408B-3D0C-EE6B-5305-2631DD84D5C1}"/>
              </a:ext>
            </a:extLst>
          </p:cNvPr>
          <p:cNvSpPr txBox="1"/>
          <p:nvPr/>
        </p:nvSpPr>
        <p:spPr>
          <a:xfrm>
            <a:off x="2590940" y="3355011"/>
            <a:ext cx="6158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Bayar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3CCAFC6-69DF-190B-8275-16E388C8B7A6}"/>
              </a:ext>
            </a:extLst>
          </p:cNvPr>
          <p:cNvSpPr txBox="1"/>
          <p:nvPr/>
        </p:nvSpPr>
        <p:spPr>
          <a:xfrm>
            <a:off x="461883" y="4307367"/>
            <a:ext cx="12590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omendasi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or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BA)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F8EEB6B0-6C6B-040E-B88B-A4CDE7C938D9}"/>
              </a:ext>
            </a:extLst>
          </p:cNvPr>
          <p:cNvSpPr txBox="1"/>
          <p:nvPr/>
        </p:nvSpPr>
        <p:spPr>
          <a:xfrm>
            <a:off x="804326" y="2723773"/>
            <a:ext cx="2431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li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k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pang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wancara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D6C4BA26-771B-0980-B287-DEF87342E820}"/>
              </a:ext>
            </a:extLst>
          </p:cNvPr>
          <p:cNvSpPr txBox="1"/>
          <p:nvPr/>
        </p:nvSpPr>
        <p:spPr>
          <a:xfrm>
            <a:off x="3417244" y="4361528"/>
            <a:ext cx="1272558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lanko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tifikat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Reg. BNSP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. Reg. LPJK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9FAEE6F-CE16-ECB6-6510-15D7640C6C09}"/>
              </a:ext>
            </a:extLst>
          </p:cNvPr>
          <p:cNvSpPr txBox="1"/>
          <p:nvPr/>
        </p:nvSpPr>
        <p:spPr>
          <a:xfrm>
            <a:off x="3026602" y="2849772"/>
            <a:ext cx="1711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k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lu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rtal, Email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a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. H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ound Same Side Corner Rectangle 1">
            <a:extLst>
              <a:ext uri="{FF2B5EF4-FFF2-40B4-BE49-F238E27FC236}">
                <a16:creationId xmlns:a16="http://schemas.microsoft.com/office/drawing/2014/main" xmlns="" id="{2D5E9123-DBFD-23E9-C65F-A7E9A8B16080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00B050"/>
          </a:solidFill>
          <a:ln>
            <a:solidFill>
              <a:srgbClr val="00B05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A1D68F03-9DC7-0206-BF86-2A731D7647B1}"/>
              </a:ext>
            </a:extLst>
          </p:cNvPr>
          <p:cNvSpPr txBox="1"/>
          <p:nvPr/>
        </p:nvSpPr>
        <p:spPr>
          <a:xfrm>
            <a:off x="647264" y="195004"/>
            <a:ext cx="8272801" cy="558358"/>
          </a:xfrm>
          <a:prstGeom prst="rect">
            <a:avLst/>
          </a:prstGeom>
          <a:solidFill>
            <a:srgbClr val="00297A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 Regular" charset="0"/>
                <a:ea typeface="+mn-ea"/>
                <a:cs typeface="+mn-cs"/>
              </a:rPr>
              <a:t>Alur Permohonan SKK Konstruksi </a:t>
            </a:r>
            <a:r>
              <a:rPr kumimoji="0" lang="fi-FI" sz="2400" b="1" i="1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entury Gothic Regular" charset="0"/>
                <a:ea typeface="+mn-ea"/>
                <a:cs typeface="+mn-cs"/>
              </a:rPr>
              <a:t>FRESHGRADUATE</a:t>
            </a:r>
            <a:endParaRPr kumimoji="0" lang="en-US" sz="24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entury Gothic Regular" charset="0"/>
              <a:ea typeface="+mn-ea"/>
              <a:cs typeface="+mn-cs"/>
            </a:endParaRPr>
          </a:p>
        </p:txBody>
      </p:sp>
      <p:pic>
        <p:nvPicPr>
          <p:cNvPr id="71" name="Picture 70" descr="Hasil gambar untuk pupr">
            <a:extLst>
              <a:ext uri="{FF2B5EF4-FFF2-40B4-BE49-F238E27FC236}">
                <a16:creationId xmlns:a16="http://schemas.microsoft.com/office/drawing/2014/main" xmlns="" id="{271443CF-7BD0-DBA2-F52E-C86F20834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14" y="6204983"/>
            <a:ext cx="592457" cy="592457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A22BFC08-9098-C8FB-D8AC-E7938C486730}"/>
              </a:ext>
            </a:extLst>
          </p:cNvPr>
          <p:cNvSpPr txBox="1"/>
          <p:nvPr/>
        </p:nvSpPr>
        <p:spPr>
          <a:xfrm>
            <a:off x="769372" y="6501212"/>
            <a:ext cx="71527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3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EMBAGA PENGEMBANGAN JASA KONSTRUKSI</a:t>
            </a:r>
            <a:endParaRPr kumimoji="0" lang="en-ID" sz="1800" b="1" i="0" u="none" strike="noStrike" kern="1200" cap="none" spc="3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1412169C-D9BE-2648-E85D-35CBE3CF34E2}"/>
              </a:ext>
            </a:extLst>
          </p:cNvPr>
          <p:cNvSpPr txBox="1"/>
          <p:nvPr/>
        </p:nvSpPr>
        <p:spPr>
          <a:xfrm>
            <a:off x="769372" y="6224028"/>
            <a:ext cx="7759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MENTERIAN PEKERJAAN UMUM DAN PERUMAHAN RAKYAT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F0B183A8-3996-CCD8-60CB-F41AB0747F0A}"/>
              </a:ext>
            </a:extLst>
          </p:cNvPr>
          <p:cNvSpPr txBox="1"/>
          <p:nvPr/>
        </p:nvSpPr>
        <p:spPr>
          <a:xfrm>
            <a:off x="2384289" y="5915969"/>
            <a:ext cx="12846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Belum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Kompeten</a:t>
            </a:r>
            <a:endParaRPr kumimoji="0" lang="id-ID" sz="12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Octagon 80">
            <a:extLst>
              <a:ext uri="{FF2B5EF4-FFF2-40B4-BE49-F238E27FC236}">
                <a16:creationId xmlns:a16="http://schemas.microsoft.com/office/drawing/2014/main" xmlns="" id="{E7683943-CF3D-8061-665D-2F3CC56CF6B6}"/>
              </a:ext>
            </a:extLst>
          </p:cNvPr>
          <p:cNvSpPr/>
          <p:nvPr/>
        </p:nvSpPr>
        <p:spPr>
          <a:xfrm>
            <a:off x="7482529" y="5613142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9E8AAC6B-D930-0A8A-816E-B8A4BD29EBC9}"/>
              </a:ext>
            </a:extLst>
          </p:cNvPr>
          <p:cNvSpPr txBox="1"/>
          <p:nvPr/>
        </p:nvSpPr>
        <p:spPr>
          <a:xfrm>
            <a:off x="9773166" y="4263962"/>
            <a:ext cx="1525611" cy="43088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b="1" dirty="0" err="1">
                <a:solidFill>
                  <a:schemeClr val="bg1"/>
                </a:solidFill>
                <a:latin typeface="Calibri" panose="020F0502020204030204"/>
              </a:rPr>
              <a:t>Registrasi</a:t>
            </a:r>
            <a:r>
              <a:rPr lang="en-US" sz="1100" b="1" dirty="0">
                <a:solidFill>
                  <a:schemeClr val="bg1"/>
                </a:solidFill>
                <a:latin typeface="Calibri" panose="020F0502020204030204"/>
              </a:rPr>
              <a:t> </a:t>
            </a:r>
            <a:r>
              <a:rPr lang="en-US" sz="1100" b="1" dirty="0" err="1">
                <a:solidFill>
                  <a:schemeClr val="bg1"/>
                </a:solidFill>
                <a:latin typeface="Calibri" panose="020F0502020204030204"/>
              </a:rPr>
              <a:t>Informasi</a:t>
            </a:r>
            <a:r>
              <a:rPr lang="en-US" sz="1100" b="1" dirty="0">
                <a:solidFill>
                  <a:schemeClr val="bg1"/>
                </a:solidFill>
                <a:latin typeface="Calibri" panose="020F0502020204030204"/>
              </a:rPr>
              <a:t> Pendidikan</a:t>
            </a:r>
            <a:endParaRPr lang="en-US" sz="1100" dirty="0">
              <a:solidFill>
                <a:schemeClr val="bg1"/>
              </a:solidFill>
              <a:latin typeface="Calibri" panose="020F0502020204030204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8C0BB1C5-B244-8E82-A2E3-5543B6FC0B24}"/>
              </a:ext>
            </a:extLst>
          </p:cNvPr>
          <p:cNvSpPr txBox="1"/>
          <p:nvPr/>
        </p:nvSpPr>
        <p:spPr>
          <a:xfrm>
            <a:off x="5434250" y="5861728"/>
            <a:ext cx="14402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)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lak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1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hun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82AED9F-E49C-DB5B-C673-3B0EE18EBF0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0614" y="4057630"/>
            <a:ext cx="721561" cy="721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73556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4DFD57CF-C316-5882-1B5B-454B9A574519}"/>
              </a:ext>
            </a:extLst>
          </p:cNvPr>
          <p:cNvSpPr/>
          <p:nvPr/>
        </p:nvSpPr>
        <p:spPr>
          <a:xfrm>
            <a:off x="0" y="815805"/>
            <a:ext cx="11724423" cy="1958009"/>
          </a:xfrm>
          <a:prstGeom prst="rect">
            <a:avLst/>
          </a:prstGeom>
          <a:solidFill>
            <a:srgbClr val="00B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E856459-608B-5D5A-510A-202D3D2D8D1F}"/>
              </a:ext>
            </a:extLst>
          </p:cNvPr>
          <p:cNvSpPr/>
          <p:nvPr/>
        </p:nvSpPr>
        <p:spPr>
          <a:xfrm>
            <a:off x="-1" y="2775914"/>
            <a:ext cx="11724423" cy="2038626"/>
          </a:xfrm>
          <a:prstGeom prst="rect">
            <a:avLst/>
          </a:prstGeom>
          <a:solidFill>
            <a:srgbClr val="FFFF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BAE2C418-7F88-DEF4-DE35-9383D92CADA4}"/>
              </a:ext>
            </a:extLst>
          </p:cNvPr>
          <p:cNvSpPr/>
          <p:nvPr/>
        </p:nvSpPr>
        <p:spPr>
          <a:xfrm>
            <a:off x="-1" y="4811139"/>
            <a:ext cx="11724423" cy="1448873"/>
          </a:xfrm>
          <a:prstGeom prst="rect">
            <a:avLst/>
          </a:prstGeom>
          <a:solidFill>
            <a:srgbClr val="E53B7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xmlns="" id="{637329DE-009E-E710-0A3A-B8E4D71E5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5C986132-1521-C9C0-816A-57C4AA1994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9901896"/>
              </p:ext>
            </p:extLst>
          </p:nvPr>
        </p:nvGraphicFramePr>
        <p:xfrm>
          <a:off x="858043" y="1108949"/>
          <a:ext cx="1047591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xmlns="" id="{F881AACC-2C07-31C0-11DA-627A8057D1FA}"/>
              </a:ext>
            </a:extLst>
          </p:cNvPr>
          <p:cNvCxnSpPr>
            <a:cxnSpLocks/>
            <a:stCxn id="24" idx="5"/>
            <a:endCxn id="16" idx="6"/>
          </p:cNvCxnSpPr>
          <p:nvPr/>
        </p:nvCxnSpPr>
        <p:spPr>
          <a:xfrm rot="10800000" flipH="1">
            <a:off x="742006" y="1706298"/>
            <a:ext cx="4027334" cy="4125638"/>
          </a:xfrm>
          <a:prstGeom prst="bentConnector4">
            <a:avLst>
              <a:gd name="adj1" fmla="val -5676"/>
              <a:gd name="adj2" fmla="val 105541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2F94144-52E7-1F37-810C-B993714D684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77916" y="1083122"/>
            <a:ext cx="895350" cy="3385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3EB43D0-B69F-6EAE-1A20-D2632D64F0BD}"/>
              </a:ext>
            </a:extLst>
          </p:cNvPr>
          <p:cNvSpPr txBox="1"/>
          <p:nvPr/>
        </p:nvSpPr>
        <p:spPr>
          <a:xfrm>
            <a:off x="576619" y="1426220"/>
            <a:ext cx="253947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perizinan.pu.go.id/portal/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Graphic 8" descr="Construction worker male with solid fill">
            <a:extLst>
              <a:ext uri="{FF2B5EF4-FFF2-40B4-BE49-F238E27FC236}">
                <a16:creationId xmlns:a16="http://schemas.microsoft.com/office/drawing/2014/main" xmlns="" id="{60073001-510E-5626-3966-4D5D1A06A9B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243254" y="1855108"/>
            <a:ext cx="664932" cy="66493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101301B-54D5-E433-2F11-A011636E7B33}"/>
              </a:ext>
            </a:extLst>
          </p:cNvPr>
          <p:cNvSpPr txBox="1"/>
          <p:nvPr/>
        </p:nvSpPr>
        <p:spPr>
          <a:xfrm>
            <a:off x="243254" y="2469412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ctagon 10">
            <a:extLst>
              <a:ext uri="{FF2B5EF4-FFF2-40B4-BE49-F238E27FC236}">
                <a16:creationId xmlns:a16="http://schemas.microsoft.com/office/drawing/2014/main" xmlns="" id="{41A3E24B-E20C-1992-84EB-5332FF1A923A}"/>
              </a:ext>
            </a:extLst>
          </p:cNvPr>
          <p:cNvSpPr/>
          <p:nvPr/>
        </p:nvSpPr>
        <p:spPr>
          <a:xfrm>
            <a:off x="765971" y="1797182"/>
            <a:ext cx="266700" cy="28575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ctagon 11">
            <a:extLst>
              <a:ext uri="{FF2B5EF4-FFF2-40B4-BE49-F238E27FC236}">
                <a16:creationId xmlns:a16="http://schemas.microsoft.com/office/drawing/2014/main" xmlns="" id="{B8C759F2-7198-CA3B-94C3-CF81EBB12A2E}"/>
              </a:ext>
            </a:extLst>
          </p:cNvPr>
          <p:cNvSpPr/>
          <p:nvPr/>
        </p:nvSpPr>
        <p:spPr>
          <a:xfrm>
            <a:off x="2878911" y="169279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5EB05989-48F1-79C8-557A-C396A2C0211B}"/>
              </a:ext>
            </a:extLst>
          </p:cNvPr>
          <p:cNvSpPr txBox="1"/>
          <p:nvPr/>
        </p:nvSpPr>
        <p:spPr>
          <a:xfrm>
            <a:off x="7039508" y="938081"/>
            <a:ext cx="187450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lang="en-US" sz="1100" dirty="0">
                <a:solidFill>
                  <a:prstClr val="black"/>
                </a:solidFill>
                <a:latin typeface="Calibri" panose="020F0502020204030204"/>
              </a:rPr>
              <a:t>Data Personal</a:t>
            </a:r>
          </a:p>
          <a:p>
            <a:pPr marL="228600" indent="-228600">
              <a:buFontTx/>
              <a:buAutoNum type="arabicPeriod"/>
              <a:defRPr/>
            </a:pP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alaman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e-SIMPAN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didika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AutoNum type="arabicPeriod"/>
              <a:tabLst/>
              <a:defRPr/>
            </a:pPr>
            <a:r>
              <a:rPr lang="en-US" sz="1100" dirty="0" err="1">
                <a:solidFill>
                  <a:prstClr val="black"/>
                </a:solidFill>
                <a:latin typeface="Calibri" panose="020F0502020204030204"/>
              </a:rPr>
              <a:t>Pelatiha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ctagon 15">
            <a:extLst>
              <a:ext uri="{FF2B5EF4-FFF2-40B4-BE49-F238E27FC236}">
                <a16:creationId xmlns:a16="http://schemas.microsoft.com/office/drawing/2014/main" xmlns="" id="{B8DEF9FF-09D4-BF3F-7B85-5AA36CD4C86A}"/>
              </a:ext>
            </a:extLst>
          </p:cNvPr>
          <p:cNvSpPr/>
          <p:nvPr/>
        </p:nvSpPr>
        <p:spPr>
          <a:xfrm>
            <a:off x="4684988" y="170629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ctagon 16">
            <a:extLst>
              <a:ext uri="{FF2B5EF4-FFF2-40B4-BE49-F238E27FC236}">
                <a16:creationId xmlns:a16="http://schemas.microsoft.com/office/drawing/2014/main" xmlns="" id="{12A6F1F4-2912-697D-FA7B-D30156A6C034}"/>
              </a:ext>
            </a:extLst>
          </p:cNvPr>
          <p:cNvSpPr/>
          <p:nvPr/>
        </p:nvSpPr>
        <p:spPr>
          <a:xfrm>
            <a:off x="6623878" y="1722733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ctagon 17">
            <a:extLst>
              <a:ext uri="{FF2B5EF4-FFF2-40B4-BE49-F238E27FC236}">
                <a16:creationId xmlns:a16="http://schemas.microsoft.com/office/drawing/2014/main" xmlns="" id="{ED58DCEB-7FF8-D31E-E306-38A8669D915B}"/>
              </a:ext>
            </a:extLst>
          </p:cNvPr>
          <p:cNvSpPr/>
          <p:nvPr/>
        </p:nvSpPr>
        <p:spPr>
          <a:xfrm>
            <a:off x="8927185" y="1571796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ctagon 18">
            <a:extLst>
              <a:ext uri="{FF2B5EF4-FFF2-40B4-BE49-F238E27FC236}">
                <a16:creationId xmlns:a16="http://schemas.microsoft.com/office/drawing/2014/main" xmlns="" id="{7FCB9D98-1BFA-B4B8-E842-DDD0FD1B4191}"/>
              </a:ext>
            </a:extLst>
          </p:cNvPr>
          <p:cNvSpPr/>
          <p:nvPr/>
        </p:nvSpPr>
        <p:spPr>
          <a:xfrm>
            <a:off x="10793957" y="321949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ctagon 19">
            <a:extLst>
              <a:ext uri="{FF2B5EF4-FFF2-40B4-BE49-F238E27FC236}">
                <a16:creationId xmlns:a16="http://schemas.microsoft.com/office/drawing/2014/main" xmlns="" id="{D16712EB-E36E-167A-D56B-34A54CC8ADF9}"/>
              </a:ext>
            </a:extLst>
          </p:cNvPr>
          <p:cNvSpPr/>
          <p:nvPr/>
        </p:nvSpPr>
        <p:spPr>
          <a:xfrm>
            <a:off x="8785329" y="328222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ctagon 20">
            <a:extLst>
              <a:ext uri="{FF2B5EF4-FFF2-40B4-BE49-F238E27FC236}">
                <a16:creationId xmlns:a16="http://schemas.microsoft.com/office/drawing/2014/main" xmlns="" id="{21487F08-1D51-26E2-61B1-AD3B9D325092}"/>
              </a:ext>
            </a:extLst>
          </p:cNvPr>
          <p:cNvSpPr/>
          <p:nvPr/>
        </p:nvSpPr>
        <p:spPr>
          <a:xfrm>
            <a:off x="6427242" y="3173626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ctagon 21">
            <a:extLst>
              <a:ext uri="{FF2B5EF4-FFF2-40B4-BE49-F238E27FC236}">
                <a16:creationId xmlns:a16="http://schemas.microsoft.com/office/drawing/2014/main" xmlns="" id="{4A12B840-E07D-3A94-4173-DA9CD9F8FA13}"/>
              </a:ext>
            </a:extLst>
          </p:cNvPr>
          <p:cNvSpPr/>
          <p:nvPr/>
        </p:nvSpPr>
        <p:spPr>
          <a:xfrm>
            <a:off x="4455534" y="3270177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ctagon 22">
            <a:extLst>
              <a:ext uri="{FF2B5EF4-FFF2-40B4-BE49-F238E27FC236}">
                <a16:creationId xmlns:a16="http://schemas.microsoft.com/office/drawing/2014/main" xmlns="" id="{47644C28-B928-27A9-1AC9-153908BB93DC}"/>
              </a:ext>
            </a:extLst>
          </p:cNvPr>
          <p:cNvSpPr/>
          <p:nvPr/>
        </p:nvSpPr>
        <p:spPr>
          <a:xfrm>
            <a:off x="2428007" y="3299407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ctagon 23">
            <a:extLst>
              <a:ext uri="{FF2B5EF4-FFF2-40B4-BE49-F238E27FC236}">
                <a16:creationId xmlns:a16="http://schemas.microsoft.com/office/drawing/2014/main" xmlns="" id="{10B49DF4-DEFA-76D7-9DBB-D38E6D1A631F}"/>
              </a:ext>
            </a:extLst>
          </p:cNvPr>
          <p:cNvSpPr/>
          <p:nvPr/>
        </p:nvSpPr>
        <p:spPr>
          <a:xfrm>
            <a:off x="742006" y="5738348"/>
            <a:ext cx="405818" cy="319533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ctagon 24">
            <a:extLst>
              <a:ext uri="{FF2B5EF4-FFF2-40B4-BE49-F238E27FC236}">
                <a16:creationId xmlns:a16="http://schemas.microsoft.com/office/drawing/2014/main" xmlns="" id="{3739D1BF-3C12-FE68-CB03-D704F8753BE7}"/>
              </a:ext>
            </a:extLst>
          </p:cNvPr>
          <p:cNvSpPr/>
          <p:nvPr/>
        </p:nvSpPr>
        <p:spPr>
          <a:xfrm>
            <a:off x="3268681" y="491174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ctagon 25">
            <a:extLst>
              <a:ext uri="{FF2B5EF4-FFF2-40B4-BE49-F238E27FC236}">
                <a16:creationId xmlns:a16="http://schemas.microsoft.com/office/drawing/2014/main" xmlns="" id="{9AD9DFF0-5BA8-BA46-5289-7B2B7F9DEAD1}"/>
              </a:ext>
            </a:extLst>
          </p:cNvPr>
          <p:cNvSpPr/>
          <p:nvPr/>
        </p:nvSpPr>
        <p:spPr>
          <a:xfrm>
            <a:off x="5423095" y="491174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7" name="Graphic 26" descr="Construction worker male with solid fill">
            <a:extLst>
              <a:ext uri="{FF2B5EF4-FFF2-40B4-BE49-F238E27FC236}">
                <a16:creationId xmlns:a16="http://schemas.microsoft.com/office/drawing/2014/main" xmlns="" id="{3B267722-A340-2FC0-B591-63921EB4CB3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0920672" y="5131600"/>
            <a:ext cx="664932" cy="66493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15C20E02-450E-7A5A-7B7E-2A7A198BC805}"/>
              </a:ext>
            </a:extLst>
          </p:cNvPr>
          <p:cNvSpPr txBox="1"/>
          <p:nvPr/>
        </p:nvSpPr>
        <p:spPr>
          <a:xfrm>
            <a:off x="10943489" y="5711037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S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Picture 34" descr="Text&#10;&#10;Description automatically generated">
            <a:extLst>
              <a:ext uri="{FF2B5EF4-FFF2-40B4-BE49-F238E27FC236}">
                <a16:creationId xmlns:a16="http://schemas.microsoft.com/office/drawing/2014/main" xmlns="" id="{41A870EF-D465-67CB-6F72-EE196A778A6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7185" y="4878794"/>
            <a:ext cx="1629436" cy="104472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CF62A0AE-DB47-CC27-4E1E-11A625746D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54228" y="4569939"/>
            <a:ext cx="895350" cy="338553"/>
          </a:xfrm>
          <a:prstGeom prst="rect">
            <a:avLst/>
          </a:prstGeom>
        </p:spPr>
      </p:pic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xmlns="" id="{6494049B-09CE-31EC-C83C-EF71B6B6F8AE}"/>
              </a:ext>
            </a:extLst>
          </p:cNvPr>
          <p:cNvCxnSpPr>
            <a:cxnSpLocks/>
            <a:stCxn id="20" idx="7"/>
            <a:endCxn id="17" idx="3"/>
          </p:cNvCxnSpPr>
          <p:nvPr/>
        </p:nvCxnSpPr>
        <p:spPr>
          <a:xfrm rot="16200000" flipV="1">
            <a:off x="7248861" y="1470103"/>
            <a:ext cx="1271487" cy="2352747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E1F4A89-816B-51BA-7942-9CA804790D1F}"/>
              </a:ext>
            </a:extLst>
          </p:cNvPr>
          <p:cNvSpPr txBox="1"/>
          <p:nvPr/>
        </p:nvSpPr>
        <p:spPr>
          <a:xfrm>
            <a:off x="6751833" y="3950015"/>
            <a:ext cx="744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585D6300-9E76-912F-E4AE-B5DD3C1E851E}"/>
              </a:ext>
            </a:extLst>
          </p:cNvPr>
          <p:cNvSpPr txBox="1"/>
          <p:nvPr/>
        </p:nvSpPr>
        <p:spPr>
          <a:xfrm>
            <a:off x="7436700" y="2831016"/>
            <a:ext cx="12570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7651A472-1471-FB1C-7614-722087D47DE8}"/>
              </a:ext>
            </a:extLst>
          </p:cNvPr>
          <p:cNvSpPr txBox="1"/>
          <p:nvPr/>
        </p:nvSpPr>
        <p:spPr>
          <a:xfrm>
            <a:off x="2428007" y="5588275"/>
            <a:ext cx="958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Kompeten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xmlns="" id="{17EAA493-D6CD-5C9B-1A2C-A354631BAD25}"/>
              </a:ext>
            </a:extLst>
          </p:cNvPr>
          <p:cNvCxnSpPr>
            <a:cxnSpLocks/>
            <a:stCxn id="22" idx="6"/>
            <a:endCxn id="16" idx="3"/>
          </p:cNvCxnSpPr>
          <p:nvPr/>
        </p:nvCxnSpPr>
        <p:spPr>
          <a:xfrm rot="5400000" flipH="1" flipV="1">
            <a:off x="4016674" y="2517511"/>
            <a:ext cx="1275879" cy="229454"/>
          </a:xfrm>
          <a:prstGeom prst="bentConnector3">
            <a:avLst>
              <a:gd name="adj1" fmla="val 50000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AA6D408B-3D0C-EE6B-5305-2631DD84D5C1}"/>
              </a:ext>
            </a:extLst>
          </p:cNvPr>
          <p:cNvSpPr txBox="1"/>
          <p:nvPr/>
        </p:nvSpPr>
        <p:spPr>
          <a:xfrm>
            <a:off x="2563039" y="4004727"/>
            <a:ext cx="61582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Bayar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3CCAFC6-69DF-190B-8275-16E388C8B7A6}"/>
              </a:ext>
            </a:extLst>
          </p:cNvPr>
          <p:cNvSpPr txBox="1"/>
          <p:nvPr/>
        </p:nvSpPr>
        <p:spPr>
          <a:xfrm>
            <a:off x="548395" y="4293036"/>
            <a:ext cx="12590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omendasi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esor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BA)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F8EEB6B0-6C6B-040E-B88B-A4CDE7C938D9}"/>
              </a:ext>
            </a:extLst>
          </p:cNvPr>
          <p:cNvSpPr txBox="1"/>
          <p:nvPr/>
        </p:nvSpPr>
        <p:spPr>
          <a:xfrm>
            <a:off x="1059364" y="2774363"/>
            <a:ext cx="190318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uli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ji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ktik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/ Obs.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pangan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wancara</a:t>
            </a:r>
            <a:endParaRPr kumimoji="0" lang="id-ID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9FAEE6F-CE16-ECB6-6510-15D7640C6C09}"/>
              </a:ext>
            </a:extLst>
          </p:cNvPr>
          <p:cNvSpPr txBox="1"/>
          <p:nvPr/>
        </p:nvSpPr>
        <p:spPr>
          <a:xfrm>
            <a:off x="3307140" y="4252274"/>
            <a:ext cx="1711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k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lu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rtal, Email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au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. HP</a:t>
            </a:r>
            <a:endParaRPr kumimoji="0" lang="id-ID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ound Same Side Corner Rectangle 1">
            <a:extLst>
              <a:ext uri="{FF2B5EF4-FFF2-40B4-BE49-F238E27FC236}">
                <a16:creationId xmlns:a16="http://schemas.microsoft.com/office/drawing/2014/main" xmlns="" id="{2D5E9123-DBFD-23E9-C65F-A7E9A8B16080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A1D68F03-9DC7-0206-BF86-2A731D7647B1}"/>
              </a:ext>
            </a:extLst>
          </p:cNvPr>
          <p:cNvSpPr txBox="1"/>
          <p:nvPr/>
        </p:nvSpPr>
        <p:spPr>
          <a:xfrm>
            <a:off x="807954" y="113447"/>
            <a:ext cx="8278322" cy="558358"/>
          </a:xfrm>
          <a:prstGeom prst="rect">
            <a:avLst/>
          </a:prstGeom>
          <a:solidFill>
            <a:srgbClr val="00297A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 Regular" charset="0"/>
                <a:ea typeface="+mn-ea"/>
                <a:cs typeface="+mn-cs"/>
              </a:rPr>
              <a:t>Alur Permohonan SKK Konstruksi </a:t>
            </a:r>
            <a:r>
              <a:rPr kumimoji="0" lang="fi-FI" sz="24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entury Gothic Regular" charset="0"/>
                <a:ea typeface="+mn-ea"/>
                <a:cs typeface="+mn-cs"/>
              </a:rPr>
              <a:t>PERPANJANGAN</a:t>
            </a:r>
            <a:endParaRPr kumimoji="0" lang="en-US" sz="24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entury Gothic Regular" charset="0"/>
              <a:ea typeface="+mn-ea"/>
              <a:cs typeface="+mn-cs"/>
            </a:endParaRPr>
          </a:p>
        </p:txBody>
      </p:sp>
      <p:pic>
        <p:nvPicPr>
          <p:cNvPr id="71" name="Picture 70" descr="Hasil gambar untuk pupr">
            <a:extLst>
              <a:ext uri="{FF2B5EF4-FFF2-40B4-BE49-F238E27FC236}">
                <a16:creationId xmlns:a16="http://schemas.microsoft.com/office/drawing/2014/main" xmlns="" id="{271443CF-7BD0-DBA2-F52E-C86F20834A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914" y="6204983"/>
            <a:ext cx="592457" cy="592457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A22BFC08-9098-C8FB-D8AC-E7938C486730}"/>
              </a:ext>
            </a:extLst>
          </p:cNvPr>
          <p:cNvSpPr txBox="1"/>
          <p:nvPr/>
        </p:nvSpPr>
        <p:spPr>
          <a:xfrm>
            <a:off x="769372" y="6501212"/>
            <a:ext cx="71527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3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EMBAGA PENGEMBANGAN JASA KONSTRUKSI</a:t>
            </a:r>
            <a:endParaRPr kumimoji="0" lang="en-ID" sz="1800" b="1" i="0" u="none" strike="noStrike" kern="1200" cap="none" spc="32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1412169C-D9BE-2648-E85D-35CBE3CF34E2}"/>
              </a:ext>
            </a:extLst>
          </p:cNvPr>
          <p:cNvSpPr txBox="1"/>
          <p:nvPr/>
        </p:nvSpPr>
        <p:spPr>
          <a:xfrm>
            <a:off x="769372" y="6224028"/>
            <a:ext cx="7759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MENTERIAN PEKERJAAN UMUM DAN PERUMAHAN RAKYAT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F0B183A8-3996-CCD8-60CB-F41AB0747F0A}"/>
              </a:ext>
            </a:extLst>
          </p:cNvPr>
          <p:cNvSpPr txBox="1"/>
          <p:nvPr/>
        </p:nvSpPr>
        <p:spPr>
          <a:xfrm>
            <a:off x="33487" y="5185400"/>
            <a:ext cx="8793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Belum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Kompeten</a:t>
            </a:r>
            <a:endParaRPr kumimoji="0" lang="id-ID" sz="12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1" name="Octagon 80">
            <a:extLst>
              <a:ext uri="{FF2B5EF4-FFF2-40B4-BE49-F238E27FC236}">
                <a16:creationId xmlns:a16="http://schemas.microsoft.com/office/drawing/2014/main" xmlns="" id="{E7683943-CF3D-8061-665D-2F3CC56CF6B6}"/>
              </a:ext>
            </a:extLst>
          </p:cNvPr>
          <p:cNvSpPr/>
          <p:nvPr/>
        </p:nvSpPr>
        <p:spPr>
          <a:xfrm>
            <a:off x="7465222" y="489696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4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BDF11F05-533B-FFC1-A83A-82F0668362B3}"/>
              </a:ext>
            </a:extLst>
          </p:cNvPr>
          <p:cNvSpPr txBox="1"/>
          <p:nvPr/>
        </p:nvSpPr>
        <p:spPr>
          <a:xfrm>
            <a:off x="4834602" y="1122074"/>
            <a:ext cx="219366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bata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rja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SP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sias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es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husu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hli)</a:t>
            </a:r>
            <a:endParaRPr kumimoji="0" lang="id-ID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xmlns="" id="{CDCEBA87-93F9-0C37-5066-D439D37E3816}"/>
              </a:ext>
            </a:extLst>
          </p:cNvPr>
          <p:cNvSpPr txBox="1"/>
          <p:nvPr/>
        </p:nvSpPr>
        <p:spPr>
          <a:xfrm>
            <a:off x="9386642" y="1280292"/>
            <a:ext cx="1216514" cy="430887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100" b="1" dirty="0" err="1">
                <a:solidFill>
                  <a:prstClr val="black"/>
                </a:solidFill>
                <a:latin typeface="Calibri" panose="020F0502020204030204"/>
              </a:rPr>
              <a:t>Khusus</a:t>
            </a:r>
            <a:r>
              <a:rPr lang="en-US" sz="11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100" b="1" dirty="0" err="1">
                <a:solidFill>
                  <a:prstClr val="black"/>
                </a:solidFill>
                <a:latin typeface="Calibri" panose="020F0502020204030204"/>
              </a:rPr>
              <a:t>Pemohon</a:t>
            </a:r>
            <a:r>
              <a:rPr lang="en-US" sz="11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100" b="1" dirty="0" err="1">
                <a:solidFill>
                  <a:prstClr val="black"/>
                </a:solidFill>
                <a:latin typeface="Calibri" panose="020F0502020204030204"/>
              </a:rPr>
              <a:t>Kualifikasi</a:t>
            </a:r>
            <a:r>
              <a:rPr lang="en-US" sz="1100" b="1" dirty="0">
                <a:solidFill>
                  <a:prstClr val="black"/>
                </a:solidFill>
                <a:latin typeface="Calibri" panose="020F0502020204030204"/>
              </a:rPr>
              <a:t> Ahli 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xmlns="" id="{84AB0635-64D9-E367-8D45-87096C48F07B}"/>
              </a:ext>
            </a:extLst>
          </p:cNvPr>
          <p:cNvSpPr txBox="1"/>
          <p:nvPr/>
        </p:nvSpPr>
        <p:spPr>
          <a:xfrm>
            <a:off x="2864268" y="2830880"/>
            <a:ext cx="171904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7 Hari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melakukan</a:t>
            </a:r>
            <a:r>
              <a:rPr lang="en-US" sz="1100" b="1" i="1" dirty="0">
                <a:solidFill>
                  <a:schemeClr val="bg1"/>
                </a:solidFill>
                <a:highlight>
                  <a:srgbClr val="FF0000"/>
                </a:highlight>
                <a:latin typeface="Calibri" panose="020F0502020204030204"/>
              </a:rPr>
              <a:t>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pembayaran</a:t>
            </a:r>
            <a:endParaRPr kumimoji="0" lang="id-ID" sz="11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5" name="Connector: Elbow 114">
            <a:extLst>
              <a:ext uri="{FF2B5EF4-FFF2-40B4-BE49-F238E27FC236}">
                <a16:creationId xmlns:a16="http://schemas.microsoft.com/office/drawing/2014/main" xmlns="" id="{3432CFCE-1B2E-20CB-78F0-C8EDD4DAABE2}"/>
              </a:ext>
            </a:extLst>
          </p:cNvPr>
          <p:cNvCxnSpPr>
            <a:cxnSpLocks/>
            <a:stCxn id="21" idx="5"/>
          </p:cNvCxnSpPr>
          <p:nvPr/>
        </p:nvCxnSpPr>
        <p:spPr>
          <a:xfrm rot="10800000">
            <a:off x="5783096" y="2489806"/>
            <a:ext cx="644147" cy="768172"/>
          </a:xfrm>
          <a:prstGeom prst="bentConnector2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C9A11F2F-2F27-3D72-0513-53E320CF22F1}"/>
              </a:ext>
            </a:extLst>
          </p:cNvPr>
          <p:cNvSpPr txBox="1"/>
          <p:nvPr/>
        </p:nvSpPr>
        <p:spPr>
          <a:xfrm>
            <a:off x="4650596" y="3892847"/>
            <a:ext cx="5930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Cuku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xmlns="" id="{489F7EC5-5D52-CF68-5084-A0CBE6ACE332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563" y="3437957"/>
            <a:ext cx="540989" cy="5542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6" name="TextBox 125">
            <a:extLst>
              <a:ext uri="{FF2B5EF4-FFF2-40B4-BE49-F238E27FC236}">
                <a16:creationId xmlns:a16="http://schemas.microsoft.com/office/drawing/2014/main" xmlns="" id="{A82652EA-CB0B-15C8-53AB-985DBF1F7953}"/>
              </a:ext>
            </a:extLst>
          </p:cNvPr>
          <p:cNvSpPr txBox="1"/>
          <p:nvPr/>
        </p:nvSpPr>
        <p:spPr>
          <a:xfrm>
            <a:off x="5693196" y="2814459"/>
            <a:ext cx="12570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Cuku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xmlns="" id="{F736C3AD-A7E0-2272-0642-045DD0F7F2BA}"/>
              </a:ext>
            </a:extLst>
          </p:cNvPr>
          <p:cNvGrpSpPr/>
          <p:nvPr/>
        </p:nvGrpSpPr>
        <p:grpSpPr>
          <a:xfrm>
            <a:off x="10873583" y="1188374"/>
            <a:ext cx="1152819" cy="1607674"/>
            <a:chOff x="10776316" y="1080524"/>
            <a:chExt cx="810911" cy="1073076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xmlns="" id="{0C22E40E-4C2B-F3CA-77F5-77B9DEE63CF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10776316" y="1080524"/>
              <a:ext cx="808347" cy="369309"/>
            </a:xfrm>
            <a:prstGeom prst="rect">
              <a:avLst/>
            </a:prstGeom>
            <a:ln w="6350">
              <a:solidFill>
                <a:schemeClr val="tx1"/>
              </a:solidFill>
            </a:ln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xmlns="" id="{21D93F89-C6C8-F672-C0C7-27D89C605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0776316" y="1449833"/>
              <a:ext cx="810911" cy="333026"/>
            </a:xfrm>
            <a:prstGeom prst="rect">
              <a:avLst/>
            </a:prstGeom>
            <a:ln w="6350">
              <a:solidFill>
                <a:schemeClr val="tx1"/>
              </a:solidFill>
            </a:ln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xmlns="" id="{FB6B43B3-F6EC-667E-A3D3-927F6D59A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0776316" y="1782859"/>
              <a:ext cx="810910" cy="370741"/>
            </a:xfrm>
            <a:prstGeom prst="rect">
              <a:avLst/>
            </a:prstGeom>
            <a:ln w="6350">
              <a:solidFill>
                <a:schemeClr val="tx1"/>
              </a:solidFill>
            </a:ln>
          </p:spPr>
        </p:pic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52D42449-7D52-7E78-E862-5C6E77488B1E}"/>
              </a:ext>
            </a:extLst>
          </p:cNvPr>
          <p:cNvSpPr txBox="1"/>
          <p:nvPr/>
        </p:nvSpPr>
        <p:spPr>
          <a:xfrm>
            <a:off x="10658068" y="892694"/>
            <a:ext cx="15291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alibri" panose="020F0502020204030204"/>
              </a:rPr>
              <a:t>Minimal SKPK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E1166BC1-E6D7-A6E2-7EC0-097481539282}"/>
              </a:ext>
            </a:extLst>
          </p:cNvPr>
          <p:cNvSpPr txBox="1"/>
          <p:nvPr/>
        </p:nvSpPr>
        <p:spPr>
          <a:xfrm>
            <a:off x="5439809" y="4292224"/>
            <a:ext cx="1123093" cy="400110"/>
          </a:xfrm>
          <a:prstGeom prst="rect">
            <a:avLst/>
          </a:prstGeom>
        </p:spPr>
        <p:style>
          <a:lnRef idx="2">
            <a:schemeClr val="accent4">
              <a:shade val="15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000" b="1" dirty="0" err="1">
                <a:solidFill>
                  <a:prstClr val="black"/>
                </a:solidFill>
                <a:latin typeface="Calibri" panose="020F0502020204030204"/>
              </a:rPr>
              <a:t>Khusus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000" b="1" dirty="0" err="1">
                <a:solidFill>
                  <a:prstClr val="black"/>
                </a:solidFill>
                <a:latin typeface="Calibri" panose="020F0502020204030204"/>
              </a:rPr>
              <a:t>Pemohon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</a:rPr>
              <a:t> </a:t>
            </a:r>
            <a:r>
              <a:rPr lang="en-US" sz="1000" b="1" dirty="0" err="1">
                <a:solidFill>
                  <a:prstClr val="black"/>
                </a:solidFill>
                <a:latin typeface="Calibri" panose="020F0502020204030204"/>
              </a:rPr>
              <a:t>Kualifikasi</a:t>
            </a:r>
            <a:r>
              <a:rPr lang="en-US" sz="1000" b="1" dirty="0">
                <a:solidFill>
                  <a:prstClr val="black"/>
                </a:solidFill>
                <a:latin typeface="Calibri" panose="020F0502020204030204"/>
              </a:rPr>
              <a:t> Ahli </a:t>
            </a:r>
          </a:p>
        </p:txBody>
      </p:sp>
    </p:spTree>
    <p:extLst>
      <p:ext uri="{BB962C8B-B14F-4D97-AF65-F5344CB8AC3E}">
        <p14:creationId xmlns:p14="http://schemas.microsoft.com/office/powerpoint/2010/main" val="7799862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4DFD57CF-C316-5882-1B5B-454B9A574519}"/>
              </a:ext>
            </a:extLst>
          </p:cNvPr>
          <p:cNvSpPr/>
          <p:nvPr/>
        </p:nvSpPr>
        <p:spPr>
          <a:xfrm>
            <a:off x="0" y="815805"/>
            <a:ext cx="11724423" cy="1958009"/>
          </a:xfrm>
          <a:prstGeom prst="rect">
            <a:avLst/>
          </a:prstGeom>
          <a:solidFill>
            <a:srgbClr val="00B05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E856459-608B-5D5A-510A-202D3D2D8D1F}"/>
              </a:ext>
            </a:extLst>
          </p:cNvPr>
          <p:cNvSpPr/>
          <p:nvPr/>
        </p:nvSpPr>
        <p:spPr>
          <a:xfrm>
            <a:off x="-1" y="2775914"/>
            <a:ext cx="11724423" cy="2038626"/>
          </a:xfrm>
          <a:prstGeom prst="rect">
            <a:avLst/>
          </a:prstGeom>
          <a:solidFill>
            <a:srgbClr val="FFFF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BAE2C418-7F88-DEF4-DE35-9383D92CADA4}"/>
              </a:ext>
            </a:extLst>
          </p:cNvPr>
          <p:cNvSpPr/>
          <p:nvPr/>
        </p:nvSpPr>
        <p:spPr>
          <a:xfrm>
            <a:off x="-1" y="4811139"/>
            <a:ext cx="11724423" cy="1448873"/>
          </a:xfrm>
          <a:prstGeom prst="rect">
            <a:avLst/>
          </a:prstGeom>
          <a:solidFill>
            <a:srgbClr val="E53B7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xmlns="" id="{637329DE-009E-E710-0A3A-B8E4D71E5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5C986132-1521-C9C0-816A-57C4AA1994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56944709"/>
              </p:ext>
            </p:extLst>
          </p:nvPr>
        </p:nvGraphicFramePr>
        <p:xfrm>
          <a:off x="858043" y="1108949"/>
          <a:ext cx="1047591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7" name="Grup 36">
            <a:extLst>
              <a:ext uri="{FF2B5EF4-FFF2-40B4-BE49-F238E27FC236}">
                <a16:creationId xmlns:a16="http://schemas.microsoft.com/office/drawing/2014/main" xmlns="" id="{6D5BA6DD-0581-1146-F982-9DBBDAC9FCAB}"/>
              </a:ext>
            </a:extLst>
          </p:cNvPr>
          <p:cNvGrpSpPr/>
          <p:nvPr/>
        </p:nvGrpSpPr>
        <p:grpSpPr>
          <a:xfrm>
            <a:off x="53765" y="1089189"/>
            <a:ext cx="934989" cy="1295999"/>
            <a:chOff x="53765" y="1089189"/>
            <a:chExt cx="934989" cy="129599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C2F94144-52E7-1F37-810C-B993714D68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765" y="1089189"/>
              <a:ext cx="895350" cy="338553"/>
            </a:xfrm>
            <a:prstGeom prst="rect">
              <a:avLst/>
            </a:prstGeom>
          </p:spPr>
        </p:pic>
        <p:pic>
          <p:nvPicPr>
            <p:cNvPr id="9" name="Graphic 8" descr="Construction worker male with solid fill">
              <a:extLst>
                <a:ext uri="{FF2B5EF4-FFF2-40B4-BE49-F238E27FC236}">
                  <a16:creationId xmlns:a16="http://schemas.microsoft.com/office/drawing/2014/main" xmlns="" id="{60073001-510E-5626-3966-4D5D1A06A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68974" y="1486454"/>
              <a:ext cx="664932" cy="664932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3101301B-54D5-E433-2F11-A011636E7B33}"/>
                </a:ext>
              </a:extLst>
            </p:cNvPr>
            <p:cNvSpPr txBox="1"/>
            <p:nvPr/>
          </p:nvSpPr>
          <p:spPr>
            <a:xfrm>
              <a:off x="207820" y="2108189"/>
              <a:ext cx="78093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MULAI</a:t>
              </a:r>
              <a:endPara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Octagon 10">
            <a:extLst>
              <a:ext uri="{FF2B5EF4-FFF2-40B4-BE49-F238E27FC236}">
                <a16:creationId xmlns:a16="http://schemas.microsoft.com/office/drawing/2014/main" xmlns="" id="{41A3E24B-E20C-1992-84EB-5332FF1A923A}"/>
              </a:ext>
            </a:extLst>
          </p:cNvPr>
          <p:cNvSpPr/>
          <p:nvPr/>
        </p:nvSpPr>
        <p:spPr>
          <a:xfrm>
            <a:off x="916909" y="1187567"/>
            <a:ext cx="266700" cy="28575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ctagon 11">
            <a:extLst>
              <a:ext uri="{FF2B5EF4-FFF2-40B4-BE49-F238E27FC236}">
                <a16:creationId xmlns:a16="http://schemas.microsoft.com/office/drawing/2014/main" xmlns="" id="{B8C759F2-7198-CA3B-94C3-CF81EBB12A2E}"/>
              </a:ext>
            </a:extLst>
          </p:cNvPr>
          <p:cNvSpPr/>
          <p:nvPr/>
        </p:nvSpPr>
        <p:spPr>
          <a:xfrm>
            <a:off x="3550023" y="1173054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ctagon 15">
            <a:extLst>
              <a:ext uri="{FF2B5EF4-FFF2-40B4-BE49-F238E27FC236}">
                <a16:creationId xmlns:a16="http://schemas.microsoft.com/office/drawing/2014/main" xmlns="" id="{B8DEF9FF-09D4-BF3F-7B85-5AA36CD4C86A}"/>
              </a:ext>
            </a:extLst>
          </p:cNvPr>
          <p:cNvSpPr/>
          <p:nvPr/>
        </p:nvSpPr>
        <p:spPr>
          <a:xfrm>
            <a:off x="5915999" y="1198454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ctagon 16">
            <a:extLst>
              <a:ext uri="{FF2B5EF4-FFF2-40B4-BE49-F238E27FC236}">
                <a16:creationId xmlns:a16="http://schemas.microsoft.com/office/drawing/2014/main" xmlns="" id="{12A6F1F4-2912-697D-FA7B-D30156A6C034}"/>
              </a:ext>
            </a:extLst>
          </p:cNvPr>
          <p:cNvSpPr/>
          <p:nvPr/>
        </p:nvSpPr>
        <p:spPr>
          <a:xfrm>
            <a:off x="8605329" y="1185317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ctagon 17">
            <a:extLst>
              <a:ext uri="{FF2B5EF4-FFF2-40B4-BE49-F238E27FC236}">
                <a16:creationId xmlns:a16="http://schemas.microsoft.com/office/drawing/2014/main" xmlns="" id="{ED58DCEB-7FF8-D31E-E306-38A8669D915B}"/>
              </a:ext>
            </a:extLst>
          </p:cNvPr>
          <p:cNvSpPr/>
          <p:nvPr/>
        </p:nvSpPr>
        <p:spPr>
          <a:xfrm>
            <a:off x="10285101" y="3245997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ctagon 20">
            <a:extLst>
              <a:ext uri="{FF2B5EF4-FFF2-40B4-BE49-F238E27FC236}">
                <a16:creationId xmlns:a16="http://schemas.microsoft.com/office/drawing/2014/main" xmlns="" id="{21487F08-1D51-26E2-61B1-AD3B9D325092}"/>
              </a:ext>
            </a:extLst>
          </p:cNvPr>
          <p:cNvSpPr/>
          <p:nvPr/>
        </p:nvSpPr>
        <p:spPr>
          <a:xfrm>
            <a:off x="6427242" y="320012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ctagon 22">
            <a:extLst>
              <a:ext uri="{FF2B5EF4-FFF2-40B4-BE49-F238E27FC236}">
                <a16:creationId xmlns:a16="http://schemas.microsoft.com/office/drawing/2014/main" xmlns="" id="{47644C28-B928-27A9-1AC9-153908BB93DC}"/>
              </a:ext>
            </a:extLst>
          </p:cNvPr>
          <p:cNvSpPr/>
          <p:nvPr/>
        </p:nvSpPr>
        <p:spPr>
          <a:xfrm>
            <a:off x="3514203" y="322585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ctagon 24">
            <a:extLst>
              <a:ext uri="{FF2B5EF4-FFF2-40B4-BE49-F238E27FC236}">
                <a16:creationId xmlns:a16="http://schemas.microsoft.com/office/drawing/2014/main" xmlns="" id="{3739D1BF-3C12-FE68-CB03-D704F8753BE7}"/>
              </a:ext>
            </a:extLst>
          </p:cNvPr>
          <p:cNvSpPr/>
          <p:nvPr/>
        </p:nvSpPr>
        <p:spPr>
          <a:xfrm>
            <a:off x="1646715" y="4981831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ctagon 25">
            <a:extLst>
              <a:ext uri="{FF2B5EF4-FFF2-40B4-BE49-F238E27FC236}">
                <a16:creationId xmlns:a16="http://schemas.microsoft.com/office/drawing/2014/main" xmlns="" id="{9AD9DFF0-5BA8-BA46-5289-7B2B7F9DEAD1}"/>
              </a:ext>
            </a:extLst>
          </p:cNvPr>
          <p:cNvSpPr/>
          <p:nvPr/>
        </p:nvSpPr>
        <p:spPr>
          <a:xfrm>
            <a:off x="4917776" y="503347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xmlns="" id="{96B4F667-8718-6045-AED7-3B49FFEBF5BE}"/>
              </a:ext>
            </a:extLst>
          </p:cNvPr>
          <p:cNvGrpSpPr/>
          <p:nvPr/>
        </p:nvGrpSpPr>
        <p:grpSpPr>
          <a:xfrm>
            <a:off x="10739519" y="4958510"/>
            <a:ext cx="895350" cy="1215468"/>
            <a:chOff x="10829073" y="4772568"/>
            <a:chExt cx="895350" cy="1215468"/>
          </a:xfrm>
        </p:grpSpPr>
        <p:pic>
          <p:nvPicPr>
            <p:cNvPr id="27" name="Graphic 26" descr="Construction worker male with solid fill">
              <a:extLst>
                <a:ext uri="{FF2B5EF4-FFF2-40B4-BE49-F238E27FC236}">
                  <a16:creationId xmlns:a16="http://schemas.microsoft.com/office/drawing/2014/main" xmlns="" id="{3B267722-A340-2FC0-B591-63921EB4CB3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10922257" y="5111238"/>
              <a:ext cx="664932" cy="664932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15C20E02-450E-7A5A-7B7E-2A7A198BC805}"/>
                </a:ext>
              </a:extLst>
            </p:cNvPr>
            <p:cNvSpPr txBox="1"/>
            <p:nvPr/>
          </p:nvSpPr>
          <p:spPr>
            <a:xfrm>
              <a:off x="10943489" y="5711037"/>
              <a:ext cx="78093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ELESAI</a:t>
              </a:r>
              <a:endParaRPr kumimoji="0" lang="id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xmlns="" id="{CF62A0AE-DB47-CC27-4E1E-11A625746DC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829073" y="4772568"/>
              <a:ext cx="895350" cy="338553"/>
            </a:xfrm>
            <a:prstGeom prst="rect">
              <a:avLst/>
            </a:prstGeom>
          </p:spPr>
        </p:pic>
      </p:grp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xmlns="" id="{6494049B-09CE-31EC-C83C-EF71B6B6F8AE}"/>
              </a:ext>
            </a:extLst>
          </p:cNvPr>
          <p:cNvCxnSpPr>
            <a:cxnSpLocks/>
            <a:stCxn id="13" idx="1"/>
            <a:endCxn id="28" idx="2"/>
          </p:cNvCxnSpPr>
          <p:nvPr/>
        </p:nvCxnSpPr>
        <p:spPr>
          <a:xfrm rot="10800000" flipH="1" flipV="1">
            <a:off x="988754" y="3865992"/>
            <a:ext cx="10255648" cy="2307985"/>
          </a:xfrm>
          <a:prstGeom prst="bentConnector4">
            <a:avLst>
              <a:gd name="adj1" fmla="val -2229"/>
              <a:gd name="adj2" fmla="val 109905"/>
            </a:avLst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E1F4A89-816B-51BA-7942-9CA804790D1F}"/>
              </a:ext>
            </a:extLst>
          </p:cNvPr>
          <p:cNvSpPr txBox="1"/>
          <p:nvPr/>
        </p:nvSpPr>
        <p:spPr>
          <a:xfrm>
            <a:off x="2435737" y="4858635"/>
            <a:ext cx="11306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Memenuh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585D6300-9E76-912F-E4AE-B5DD3C1E851E}"/>
              </a:ext>
            </a:extLst>
          </p:cNvPr>
          <p:cNvSpPr txBox="1"/>
          <p:nvPr/>
        </p:nvSpPr>
        <p:spPr>
          <a:xfrm>
            <a:off x="7436700" y="2831016"/>
            <a:ext cx="12570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Lengkap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ound Same Side Corner Rectangle 1">
            <a:extLst>
              <a:ext uri="{FF2B5EF4-FFF2-40B4-BE49-F238E27FC236}">
                <a16:creationId xmlns:a16="http://schemas.microsoft.com/office/drawing/2014/main" xmlns="" id="{2D5E9123-DBFD-23E9-C65F-A7E9A8B16080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A1D68F03-9DC7-0206-BF86-2A731D7647B1}"/>
              </a:ext>
            </a:extLst>
          </p:cNvPr>
          <p:cNvSpPr txBox="1"/>
          <p:nvPr/>
        </p:nvSpPr>
        <p:spPr>
          <a:xfrm>
            <a:off x="598288" y="158006"/>
            <a:ext cx="8536382" cy="558358"/>
          </a:xfrm>
          <a:prstGeom prst="rect">
            <a:avLst/>
          </a:prstGeom>
          <a:solidFill>
            <a:srgbClr val="00297A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 Regular" charset="0"/>
                <a:ea typeface="+mn-ea"/>
                <a:cs typeface="+mn-cs"/>
              </a:rPr>
              <a:t>Alur Permohonan SKK Konstruksi </a:t>
            </a:r>
            <a:r>
              <a:rPr kumimoji="0" lang="fi-FI" sz="24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FF0000"/>
                </a:highlight>
                <a:uLnTx/>
                <a:uFillTx/>
                <a:latin typeface="Century Gothic Regular" charset="0"/>
                <a:ea typeface="+mn-ea"/>
                <a:cs typeface="+mn-cs"/>
              </a:rPr>
              <a:t>PERUBAHAN DATA</a:t>
            </a:r>
            <a:endParaRPr kumimoji="0" lang="en-US" sz="2400" b="1" i="0" u="sng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highlight>
                <a:srgbClr val="FF0000"/>
              </a:highlight>
              <a:uLnTx/>
              <a:uFillTx/>
              <a:latin typeface="Century Gothic Regular" charset="0"/>
              <a:ea typeface="+mn-ea"/>
              <a:cs typeface="+mn-cs"/>
            </a:endParaRPr>
          </a:p>
        </p:txBody>
      </p:sp>
      <p:sp>
        <p:nvSpPr>
          <p:cNvPr id="81" name="Octagon 80">
            <a:extLst>
              <a:ext uri="{FF2B5EF4-FFF2-40B4-BE49-F238E27FC236}">
                <a16:creationId xmlns:a16="http://schemas.microsoft.com/office/drawing/2014/main" xmlns="" id="{E7683943-CF3D-8061-665D-2F3CC56CF6B6}"/>
              </a:ext>
            </a:extLst>
          </p:cNvPr>
          <p:cNvSpPr/>
          <p:nvPr/>
        </p:nvSpPr>
        <p:spPr>
          <a:xfrm>
            <a:off x="8513754" y="4967197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endParaRPr kumimoji="0" lang="id-ID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45">
            <a:extLst>
              <a:ext uri="{FF2B5EF4-FFF2-40B4-BE49-F238E27FC236}">
                <a16:creationId xmlns:a16="http://schemas.microsoft.com/office/drawing/2014/main" xmlns="" id="{6834BFE1-A33A-1643-426A-73D85883E791}"/>
              </a:ext>
            </a:extLst>
          </p:cNvPr>
          <p:cNvSpPr txBox="1"/>
          <p:nvPr/>
        </p:nvSpPr>
        <p:spPr>
          <a:xfrm>
            <a:off x="988754" y="3635160"/>
            <a:ext cx="9666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00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Memenuh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4209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 rot="5400000">
            <a:off x="1142194" y="643745"/>
            <a:ext cx="1007376" cy="1005764"/>
            <a:chOff x="0" y="0"/>
            <a:chExt cx="6350000" cy="6339840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lnTo>
                    <a:pt x="6350000" y="6339840"/>
                  </a:lnTo>
                  <a:close/>
                </a:path>
              </a:pathLst>
            </a:custGeom>
            <a:solidFill>
              <a:srgbClr val="31356E"/>
            </a:solidFill>
          </p:spPr>
          <p:txBody>
            <a:bodyPr/>
            <a:lstStyle/>
            <a:p>
              <a:endParaRPr lang="id-ID" sz="1463"/>
            </a:p>
          </p:txBody>
        </p:sp>
      </p:grpSp>
      <p:grpSp>
        <p:nvGrpSpPr>
          <p:cNvPr id="5" name="Group 5"/>
          <p:cNvGrpSpPr/>
          <p:nvPr/>
        </p:nvGrpSpPr>
        <p:grpSpPr>
          <a:xfrm rot="-5400000">
            <a:off x="10274317" y="5564018"/>
            <a:ext cx="1007376" cy="1005764"/>
            <a:chOff x="0" y="0"/>
            <a:chExt cx="6350000" cy="633984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350000" cy="6339840"/>
            </a:xfrm>
            <a:custGeom>
              <a:avLst/>
              <a:gdLst/>
              <a:ahLst/>
              <a:cxnLst/>
              <a:rect l="l" t="t" r="r" b="b"/>
              <a:pathLst>
                <a:path w="6350000" h="6339840">
                  <a:moveTo>
                    <a:pt x="6350000" y="6339840"/>
                  </a:moveTo>
                  <a:lnTo>
                    <a:pt x="0" y="6339840"/>
                  </a:lnTo>
                  <a:lnTo>
                    <a:pt x="0" y="0"/>
                  </a:lnTo>
                  <a:lnTo>
                    <a:pt x="6350000" y="6339840"/>
                  </a:lnTo>
                  <a:close/>
                </a:path>
              </a:pathLst>
            </a:custGeom>
            <a:solidFill>
              <a:srgbClr val="31356E"/>
            </a:solidFill>
          </p:spPr>
          <p:txBody>
            <a:bodyPr/>
            <a:lstStyle/>
            <a:p>
              <a:endParaRPr lang="id-ID" sz="1463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2A677D6-2E98-1370-9D18-0966F6EC1F75}"/>
              </a:ext>
            </a:extLst>
          </p:cNvPr>
          <p:cNvSpPr txBox="1"/>
          <p:nvPr/>
        </p:nvSpPr>
        <p:spPr>
          <a:xfrm>
            <a:off x="7722947" y="771524"/>
            <a:ext cx="3055059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950" b="1" dirty="0">
                <a:solidFill>
                  <a:srgbClr val="1C3367"/>
                </a:solidFill>
                <a:latin typeface="Century Gothic" charset="0"/>
                <a:ea typeface="Century Gothic" charset="0"/>
                <a:cs typeface="Century Gothic" charset="0"/>
              </a:rPr>
              <a:t>PERMOHONAN SKK</a:t>
            </a:r>
            <a:endParaRPr lang="en-US" sz="195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EBDE79A2-7998-C84C-2CFF-25854211907B}"/>
              </a:ext>
            </a:extLst>
          </p:cNvPr>
          <p:cNvGrpSpPr/>
          <p:nvPr/>
        </p:nvGrpSpPr>
        <p:grpSpPr>
          <a:xfrm>
            <a:off x="2834325" y="666455"/>
            <a:ext cx="1479057" cy="378369"/>
            <a:chOff x="917927" y="90409"/>
            <a:chExt cx="1951551" cy="499241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xmlns="" id="{32E1E3AB-18E8-A21C-9D6E-CA6A216CB1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5250" y="121494"/>
              <a:ext cx="364228" cy="437072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xmlns="" id="{303DE78C-6703-6BD3-8B80-52CE0BC605C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7927" y="144447"/>
              <a:ext cx="1173501" cy="391167"/>
            </a:xfrm>
            <a:prstGeom prst="rect">
              <a:avLst/>
            </a:prstGeom>
          </p:spPr>
        </p:pic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xmlns="" id="{E52C15E7-B8A1-3E7B-A0D2-6F367E708A54}"/>
                </a:ext>
              </a:extLst>
            </p:cNvPr>
            <p:cNvCxnSpPr/>
            <p:nvPr/>
          </p:nvCxnSpPr>
          <p:spPr>
            <a:xfrm>
              <a:off x="2259725" y="90409"/>
              <a:ext cx="0" cy="499241"/>
            </a:xfrm>
            <a:prstGeom prst="line">
              <a:avLst/>
            </a:prstGeom>
            <a:ln w="9525">
              <a:solidFill>
                <a:schemeClr val="bg2">
                  <a:lumMod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ounded Rectangle 14">
            <a:extLst>
              <a:ext uri="{FF2B5EF4-FFF2-40B4-BE49-F238E27FC236}">
                <a16:creationId xmlns:a16="http://schemas.microsoft.com/office/drawing/2014/main" xmlns="" id="{6144E5DF-ED0E-DA52-80EF-0001DC17046E}"/>
              </a:ext>
            </a:extLst>
          </p:cNvPr>
          <p:cNvSpPr/>
          <p:nvPr/>
        </p:nvSpPr>
        <p:spPr>
          <a:xfrm>
            <a:off x="3054510" y="3549105"/>
            <a:ext cx="6783834" cy="217646"/>
          </a:xfrm>
          <a:prstGeom prst="round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792" b="1" dirty="0">
                <a:solidFill>
                  <a:srgbClr val="FFFF00"/>
                </a:solidFill>
                <a:sym typeface="+mn-ea"/>
              </a:rPr>
              <a:t>API SIJK</a:t>
            </a:r>
          </a:p>
        </p:txBody>
      </p:sp>
      <p:sp>
        <p:nvSpPr>
          <p:cNvPr id="11" name="Rounded Rectangle 14">
            <a:extLst>
              <a:ext uri="{FF2B5EF4-FFF2-40B4-BE49-F238E27FC236}">
                <a16:creationId xmlns:a16="http://schemas.microsoft.com/office/drawing/2014/main" xmlns="" id="{CA19FF39-4C74-4C25-2491-6EC9FE5D40C0}"/>
              </a:ext>
            </a:extLst>
          </p:cNvPr>
          <p:cNvSpPr/>
          <p:nvPr/>
        </p:nvSpPr>
        <p:spPr>
          <a:xfrm>
            <a:off x="5622951" y="2000422"/>
            <a:ext cx="4576990" cy="125467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792" b="1" dirty="0">
              <a:solidFill>
                <a:prstClr val="black"/>
              </a:solidFill>
              <a:sym typeface="+mn-e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3F28A57-DC64-7EDE-1A2D-511741A4D420}"/>
              </a:ext>
            </a:extLst>
          </p:cNvPr>
          <p:cNvSpPr/>
          <p:nvPr/>
        </p:nvSpPr>
        <p:spPr>
          <a:xfrm>
            <a:off x="5990820" y="2137126"/>
            <a:ext cx="493810" cy="391658"/>
          </a:xfrm>
          <a:prstGeom prst="rect">
            <a:avLst/>
          </a:prstGeom>
          <a:solidFill>
            <a:srgbClr val="D8D56B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1">
                <a:solidFill>
                  <a:prstClr val="black"/>
                </a:solidFill>
              </a:rPr>
              <a:t>Tinjauan</a:t>
            </a:r>
            <a:endParaRPr lang="id-ID" sz="661" dirty="0">
              <a:solidFill>
                <a:prstClr val="black"/>
              </a:solidFill>
            </a:endParaRPr>
          </a:p>
        </p:txBody>
      </p:sp>
      <p:sp>
        <p:nvSpPr>
          <p:cNvPr id="13" name="TextBox 48">
            <a:extLst>
              <a:ext uri="{FF2B5EF4-FFF2-40B4-BE49-F238E27FC236}">
                <a16:creationId xmlns:a16="http://schemas.microsoft.com/office/drawing/2014/main" xmlns="" id="{3A7CF0C4-E647-2AB4-56C3-842683056E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83340" y="3053492"/>
            <a:ext cx="766089" cy="25481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056" b="1" dirty="0">
                <a:solidFill>
                  <a:prstClr val="black"/>
                </a:solidFill>
                <a:ea typeface="MS PGothic" panose="020B0600070205080204" pitchFamily="34" charset="-128"/>
              </a:rPr>
              <a:t>LSP</a:t>
            </a:r>
            <a:endParaRPr lang="en-US" altLang="id-ID" sz="925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4DC817B2-903D-9B03-4F01-33F168DB2DCF}"/>
              </a:ext>
            </a:extLst>
          </p:cNvPr>
          <p:cNvSpPr/>
          <p:nvPr/>
        </p:nvSpPr>
        <p:spPr>
          <a:xfrm>
            <a:off x="2815799" y="1936413"/>
            <a:ext cx="960481" cy="75018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92" b="1" dirty="0">
                <a:solidFill>
                  <a:prstClr val="black"/>
                </a:solidFill>
              </a:rPr>
              <a:t>LOGIN:</a:t>
            </a:r>
          </a:p>
          <a:p>
            <a:pPr algn="ctr"/>
            <a:r>
              <a:rPr lang="en-US" sz="792" b="1" dirty="0" err="1">
                <a:solidFill>
                  <a:prstClr val="black"/>
                </a:solidFill>
              </a:rPr>
              <a:t>Permohonan</a:t>
            </a:r>
            <a:r>
              <a:rPr lang="en-US" sz="792" b="1" dirty="0">
                <a:solidFill>
                  <a:prstClr val="black"/>
                </a:solidFill>
              </a:rPr>
              <a:t> SKK </a:t>
            </a:r>
            <a:r>
              <a:rPr lang="en-US" sz="792" b="1" dirty="0" err="1">
                <a:solidFill>
                  <a:prstClr val="black"/>
                </a:solidFill>
              </a:rPr>
              <a:t>mel</a:t>
            </a:r>
            <a:r>
              <a:rPr lang="en-US" sz="792" b="1" dirty="0">
                <a:solidFill>
                  <a:prstClr val="black"/>
                </a:solidFill>
              </a:rPr>
              <a:t> Portal </a:t>
            </a:r>
            <a:r>
              <a:rPr lang="en-US" sz="792" b="1" dirty="0" err="1">
                <a:solidFill>
                  <a:prstClr val="black"/>
                </a:solidFill>
              </a:rPr>
              <a:t>Perizinan</a:t>
            </a:r>
            <a:r>
              <a:rPr lang="en-US" sz="792" b="1" dirty="0">
                <a:solidFill>
                  <a:prstClr val="black"/>
                </a:solidFill>
              </a:rPr>
              <a:t> PUPR</a:t>
            </a:r>
          </a:p>
          <a:p>
            <a:pPr algn="ctr"/>
            <a:r>
              <a:rPr lang="en-US" sz="792" b="1" dirty="0">
                <a:solidFill>
                  <a:prstClr val="black"/>
                </a:solidFill>
              </a:rPr>
              <a:t>&amp; </a:t>
            </a:r>
          </a:p>
          <a:p>
            <a:pPr algn="ctr"/>
            <a:r>
              <a:rPr lang="en-US" sz="792" b="1" dirty="0">
                <a:solidFill>
                  <a:prstClr val="black"/>
                </a:solidFill>
              </a:rPr>
              <a:t>Download SKK</a:t>
            </a:r>
          </a:p>
        </p:txBody>
      </p:sp>
      <p:cxnSp>
        <p:nvCxnSpPr>
          <p:cNvPr id="15" name="Straight Arrow Connector 25">
            <a:extLst>
              <a:ext uri="{FF2B5EF4-FFF2-40B4-BE49-F238E27FC236}">
                <a16:creationId xmlns:a16="http://schemas.microsoft.com/office/drawing/2014/main" xmlns="" id="{1D38B74D-492B-D5E7-6E7A-B7B988EA8710}"/>
              </a:ext>
            </a:extLst>
          </p:cNvPr>
          <p:cNvCxnSpPr>
            <a:cxnSpLocks/>
            <a:stCxn id="29" idx="3"/>
            <a:endCxn id="12" idx="1"/>
          </p:cNvCxnSpPr>
          <p:nvPr/>
        </p:nvCxnSpPr>
        <p:spPr>
          <a:xfrm>
            <a:off x="4865174" y="2315357"/>
            <a:ext cx="1125647" cy="1759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lowchart: Magnetic Disk 17">
            <a:extLst>
              <a:ext uri="{FF2B5EF4-FFF2-40B4-BE49-F238E27FC236}">
                <a16:creationId xmlns:a16="http://schemas.microsoft.com/office/drawing/2014/main" xmlns="" id="{9CD40D50-1B2D-50B2-432B-6832FC8877AA}"/>
              </a:ext>
            </a:extLst>
          </p:cNvPr>
          <p:cNvSpPr/>
          <p:nvPr/>
        </p:nvSpPr>
        <p:spPr>
          <a:xfrm>
            <a:off x="4504860" y="4025523"/>
            <a:ext cx="643527" cy="327685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92" dirty="0">
                <a:solidFill>
                  <a:prstClr val="white"/>
                </a:solidFill>
              </a:rPr>
              <a:t>DB SIMPAN</a:t>
            </a:r>
            <a:endParaRPr lang="id-ID" sz="792" dirty="0">
              <a:solidFill>
                <a:prstClr val="white"/>
              </a:solidFill>
            </a:endParaRPr>
          </a:p>
        </p:txBody>
      </p:sp>
      <p:cxnSp>
        <p:nvCxnSpPr>
          <p:cNvPr id="19" name="Connector: Elbow 18">
            <a:extLst>
              <a:ext uri="{FF2B5EF4-FFF2-40B4-BE49-F238E27FC236}">
                <a16:creationId xmlns:a16="http://schemas.microsoft.com/office/drawing/2014/main" xmlns="" id="{E9EA0C82-0ED8-4D1B-4E35-45FC71D47301}"/>
              </a:ext>
            </a:extLst>
          </p:cNvPr>
          <p:cNvCxnSpPr>
            <a:cxnSpLocks/>
            <a:stCxn id="14" idx="2"/>
            <a:endCxn id="123" idx="1"/>
          </p:cNvCxnSpPr>
          <p:nvPr/>
        </p:nvCxnSpPr>
        <p:spPr>
          <a:xfrm rot="16200000" flipH="1">
            <a:off x="5530719" y="451913"/>
            <a:ext cx="1393278" cy="5862640"/>
          </a:xfrm>
          <a:prstGeom prst="bentConnector3">
            <a:avLst>
              <a:gd name="adj1" fmla="val 50000"/>
            </a:avLst>
          </a:prstGeom>
          <a:ln w="38100">
            <a:solidFill>
              <a:srgbClr val="002060"/>
            </a:solidFill>
            <a:prstDash val="sys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366CE55A-1A75-D536-A62E-FA3A7F1602B7}"/>
              </a:ext>
            </a:extLst>
          </p:cNvPr>
          <p:cNvSpPr/>
          <p:nvPr/>
        </p:nvSpPr>
        <p:spPr>
          <a:xfrm>
            <a:off x="4405553" y="4691276"/>
            <a:ext cx="864643" cy="2611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6" b="1" dirty="0" err="1">
                <a:solidFill>
                  <a:prstClr val="black"/>
                </a:solidFill>
              </a:rPr>
              <a:t>Pengalaman</a:t>
            </a:r>
            <a:endParaRPr lang="id-ID" sz="726" b="1" dirty="0">
              <a:solidFill>
                <a:prstClr val="black"/>
              </a:solidFill>
            </a:endParaRPr>
          </a:p>
        </p:txBody>
      </p:sp>
      <p:cxnSp>
        <p:nvCxnSpPr>
          <p:cNvPr id="23" name="Straight Arrow Connector 25">
            <a:extLst>
              <a:ext uri="{FF2B5EF4-FFF2-40B4-BE49-F238E27FC236}">
                <a16:creationId xmlns:a16="http://schemas.microsoft.com/office/drawing/2014/main" xmlns="" id="{210C5E91-1062-B7E8-FE54-3648111F7817}"/>
              </a:ext>
            </a:extLst>
          </p:cNvPr>
          <p:cNvCxnSpPr>
            <a:cxnSpLocks/>
            <a:stCxn id="22" idx="0"/>
            <a:endCxn id="18" idx="3"/>
          </p:cNvCxnSpPr>
          <p:nvPr/>
        </p:nvCxnSpPr>
        <p:spPr>
          <a:xfrm flipH="1" flipV="1">
            <a:off x="4826624" y="4353208"/>
            <a:ext cx="11251" cy="338069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332DC45C-28B8-2FD5-15E4-C670BA88E3AD}"/>
              </a:ext>
            </a:extLst>
          </p:cNvPr>
          <p:cNvSpPr/>
          <p:nvPr/>
        </p:nvSpPr>
        <p:spPr>
          <a:xfrm>
            <a:off x="4405554" y="4974602"/>
            <a:ext cx="858761" cy="6979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39303" indent="-139303">
              <a:buFontTx/>
              <a:buChar char="-"/>
              <a:tabLst>
                <a:tab pos="74408" algn="l"/>
              </a:tabLst>
            </a:pPr>
            <a:r>
              <a:rPr lang="en-US" sz="693" b="1" dirty="0" err="1">
                <a:solidFill>
                  <a:prstClr val="black"/>
                </a:solidFill>
              </a:rPr>
              <a:t>Pengalaman</a:t>
            </a:r>
            <a:r>
              <a:rPr lang="en-US" sz="693" b="1" dirty="0">
                <a:solidFill>
                  <a:prstClr val="black"/>
                </a:solidFill>
              </a:rPr>
              <a:t> professional</a:t>
            </a:r>
          </a:p>
          <a:p>
            <a:pPr marL="139303" indent="-139303">
              <a:buFontTx/>
              <a:buChar char="-"/>
              <a:tabLst>
                <a:tab pos="74408" algn="l"/>
              </a:tabLst>
            </a:pPr>
            <a:r>
              <a:rPr lang="en-US" sz="693" b="1" dirty="0" err="1">
                <a:solidFill>
                  <a:prstClr val="black"/>
                </a:solidFill>
              </a:rPr>
              <a:t>Pengalaman</a:t>
            </a:r>
            <a:r>
              <a:rPr lang="en-US" sz="693" b="1" dirty="0">
                <a:solidFill>
                  <a:prstClr val="black"/>
                </a:solidFill>
              </a:rPr>
              <a:t> </a:t>
            </a:r>
            <a:r>
              <a:rPr lang="en-US" sz="693" b="1" dirty="0" err="1">
                <a:solidFill>
                  <a:prstClr val="black"/>
                </a:solidFill>
              </a:rPr>
              <a:t>kerja</a:t>
            </a:r>
            <a:endParaRPr lang="en-US" sz="693" b="1" dirty="0">
              <a:solidFill>
                <a:prstClr val="black"/>
              </a:solidFill>
            </a:endParaRPr>
          </a:p>
          <a:p>
            <a:pPr marL="139303" indent="-139303">
              <a:buFontTx/>
              <a:buChar char="-"/>
              <a:tabLst>
                <a:tab pos="74408" algn="l"/>
              </a:tabLst>
            </a:pPr>
            <a:r>
              <a:rPr lang="en-US" sz="693" b="1" dirty="0" err="1">
                <a:solidFill>
                  <a:prstClr val="black"/>
                </a:solidFill>
              </a:rPr>
              <a:t>Pengalaman</a:t>
            </a:r>
            <a:r>
              <a:rPr lang="en-US" sz="693" b="1" dirty="0">
                <a:solidFill>
                  <a:prstClr val="black"/>
                </a:solidFill>
              </a:rPr>
              <a:t> ASN</a:t>
            </a:r>
          </a:p>
          <a:p>
            <a:pPr algn="ctr"/>
            <a:endParaRPr lang="en-US" sz="693" b="1" dirty="0">
              <a:solidFill>
                <a:prstClr val="black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6CEE0091-D0D3-9A10-0AD5-332A33B2B2D5}"/>
              </a:ext>
            </a:extLst>
          </p:cNvPr>
          <p:cNvSpPr/>
          <p:nvPr/>
        </p:nvSpPr>
        <p:spPr>
          <a:xfrm>
            <a:off x="4153097" y="2121735"/>
            <a:ext cx="712077" cy="3872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93" dirty="0" err="1">
                <a:solidFill>
                  <a:prstClr val="black"/>
                </a:solidFill>
              </a:rPr>
              <a:t>Permohonan</a:t>
            </a:r>
            <a:r>
              <a:rPr lang="en-US" sz="693" dirty="0">
                <a:solidFill>
                  <a:prstClr val="black"/>
                </a:solidFill>
              </a:rPr>
              <a:t> </a:t>
            </a:r>
            <a:r>
              <a:rPr lang="en-US" sz="693" dirty="0" err="1">
                <a:solidFill>
                  <a:prstClr val="black"/>
                </a:solidFill>
              </a:rPr>
              <a:t>Sesuai</a:t>
            </a:r>
            <a:r>
              <a:rPr lang="en-US" sz="693" dirty="0">
                <a:solidFill>
                  <a:prstClr val="black"/>
                </a:solidFill>
              </a:rPr>
              <a:t> LSP</a:t>
            </a:r>
            <a:endParaRPr lang="id-ID" sz="693" dirty="0">
              <a:solidFill>
                <a:prstClr val="black"/>
              </a:solidFill>
            </a:endParaRPr>
          </a:p>
        </p:txBody>
      </p:sp>
      <p:cxnSp>
        <p:nvCxnSpPr>
          <p:cNvPr id="30" name="Straight Arrow Connector 25">
            <a:extLst>
              <a:ext uri="{FF2B5EF4-FFF2-40B4-BE49-F238E27FC236}">
                <a16:creationId xmlns:a16="http://schemas.microsoft.com/office/drawing/2014/main" xmlns="" id="{14414652-CBFA-11D9-8848-E308A58A52FF}"/>
              </a:ext>
            </a:extLst>
          </p:cNvPr>
          <p:cNvCxnSpPr>
            <a:cxnSpLocks/>
            <a:stCxn id="14" idx="3"/>
          </p:cNvCxnSpPr>
          <p:nvPr/>
        </p:nvCxnSpPr>
        <p:spPr>
          <a:xfrm flipV="1">
            <a:off x="3776279" y="2301905"/>
            <a:ext cx="315080" cy="959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CA0201CC-A294-EC11-782F-61AD57799E65}"/>
              </a:ext>
            </a:extLst>
          </p:cNvPr>
          <p:cNvSpPr/>
          <p:nvPr/>
        </p:nvSpPr>
        <p:spPr>
          <a:xfrm>
            <a:off x="8276332" y="2120502"/>
            <a:ext cx="635544" cy="392001"/>
          </a:xfrm>
          <a:prstGeom prst="rect">
            <a:avLst/>
          </a:prstGeom>
          <a:solidFill>
            <a:srgbClr val="D8D56B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94" dirty="0" err="1">
                <a:solidFill>
                  <a:prstClr val="black"/>
                </a:solidFill>
              </a:rPr>
              <a:t>Penjadwalan</a:t>
            </a:r>
            <a:r>
              <a:rPr lang="en-US" sz="594" dirty="0">
                <a:solidFill>
                  <a:prstClr val="black"/>
                </a:solidFill>
              </a:rPr>
              <a:t> uji </a:t>
            </a:r>
            <a:r>
              <a:rPr lang="en-US" sz="594" dirty="0" err="1">
                <a:solidFill>
                  <a:prstClr val="black"/>
                </a:solidFill>
              </a:rPr>
              <a:t>komptetensi</a:t>
            </a:r>
            <a:endParaRPr lang="id-ID" sz="594" i="1" dirty="0">
              <a:solidFill>
                <a:prstClr val="black"/>
              </a:solidFill>
            </a:endParaRPr>
          </a:p>
        </p:txBody>
      </p:sp>
      <p:sp>
        <p:nvSpPr>
          <p:cNvPr id="32" name="TextBox 48">
            <a:extLst>
              <a:ext uri="{FF2B5EF4-FFF2-40B4-BE49-F238E27FC236}">
                <a16:creationId xmlns:a16="http://schemas.microsoft.com/office/drawing/2014/main" xmlns="" id="{A0AB9415-45B6-C5B1-100E-EDD190A802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46559" y="1830074"/>
            <a:ext cx="440100" cy="579774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id-ID" sz="1056" b="1" dirty="0">
                <a:solidFill>
                  <a:prstClr val="black"/>
                </a:solidFill>
                <a:ea typeface="MS PGothic" panose="020B0600070205080204" pitchFamily="34" charset="-128"/>
              </a:rPr>
              <a:t>LPJK/SIKI</a:t>
            </a:r>
            <a:endParaRPr lang="en-US" altLang="id-ID" sz="925" b="1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xmlns="" id="{5A79DFBD-8B0D-AC50-A2DB-A85209DBDBCB}"/>
              </a:ext>
            </a:extLst>
          </p:cNvPr>
          <p:cNvCxnSpPr>
            <a:cxnSpLocks/>
            <a:stCxn id="29" idx="0"/>
            <a:endCxn id="70" idx="3"/>
          </p:cNvCxnSpPr>
          <p:nvPr/>
        </p:nvCxnSpPr>
        <p:spPr>
          <a:xfrm rot="16200000" flipH="1">
            <a:off x="6699623" y="-68754"/>
            <a:ext cx="817250" cy="5198228"/>
          </a:xfrm>
          <a:prstGeom prst="bentConnector4">
            <a:avLst>
              <a:gd name="adj1" fmla="val -22727"/>
              <a:gd name="adj2" fmla="val 103573"/>
            </a:avLst>
          </a:prstGeom>
          <a:ln w="38100">
            <a:solidFill>
              <a:srgbClr val="C00000"/>
            </a:solidFill>
            <a:prstDash val="sysDash"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17C99DEA-47B0-4210-B650-0F19E290EF51}"/>
              </a:ext>
            </a:extLst>
          </p:cNvPr>
          <p:cNvSpPr/>
          <p:nvPr/>
        </p:nvSpPr>
        <p:spPr>
          <a:xfrm>
            <a:off x="6192071" y="2760828"/>
            <a:ext cx="1530874" cy="332814"/>
          </a:xfrm>
          <a:prstGeom prst="rect">
            <a:avLst/>
          </a:prstGeom>
          <a:solidFill>
            <a:srgbClr val="D8D56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1" dirty="0">
                <a:solidFill>
                  <a:prstClr val="black"/>
                </a:solidFill>
              </a:rPr>
              <a:t>PENCATATAN :</a:t>
            </a:r>
          </a:p>
          <a:p>
            <a:pPr algn="ctr"/>
            <a:r>
              <a:rPr lang="en-US" sz="661" dirty="0">
                <a:solidFill>
                  <a:prstClr val="black"/>
                </a:solidFill>
              </a:rPr>
              <a:t>No </a:t>
            </a:r>
            <a:r>
              <a:rPr lang="en-US" sz="661" dirty="0" err="1">
                <a:solidFill>
                  <a:prstClr val="black"/>
                </a:solidFill>
              </a:rPr>
              <a:t>blangko</a:t>
            </a:r>
            <a:r>
              <a:rPr lang="en-US" sz="661" dirty="0">
                <a:solidFill>
                  <a:prstClr val="black"/>
                </a:solidFill>
              </a:rPr>
              <a:t>, Bo </a:t>
            </a:r>
            <a:r>
              <a:rPr lang="en-US" sz="661" dirty="0" err="1">
                <a:solidFill>
                  <a:prstClr val="black"/>
                </a:solidFill>
              </a:rPr>
              <a:t>sertifikat</a:t>
            </a:r>
            <a:r>
              <a:rPr lang="en-US" sz="661" dirty="0">
                <a:solidFill>
                  <a:prstClr val="black"/>
                </a:solidFill>
              </a:rPr>
              <a:t>, No reg BNSP, No reg LPJK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344D3013-3C23-0BBB-7C97-834EB55A8C1B}"/>
              </a:ext>
            </a:extLst>
          </p:cNvPr>
          <p:cNvSpPr/>
          <p:nvPr/>
        </p:nvSpPr>
        <p:spPr>
          <a:xfrm>
            <a:off x="4148488" y="2535943"/>
            <a:ext cx="712077" cy="382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93" dirty="0" err="1">
                <a:solidFill>
                  <a:prstClr val="black"/>
                </a:solidFill>
              </a:rPr>
              <a:t>Penerbitan</a:t>
            </a:r>
            <a:r>
              <a:rPr lang="en-US" sz="693" dirty="0">
                <a:solidFill>
                  <a:prstClr val="black"/>
                </a:solidFill>
              </a:rPr>
              <a:t> SKK (E-</a:t>
            </a:r>
            <a:r>
              <a:rPr lang="en-US" sz="693" dirty="0" err="1">
                <a:solidFill>
                  <a:prstClr val="black"/>
                </a:solidFill>
              </a:rPr>
              <a:t>Sertifikat</a:t>
            </a:r>
            <a:r>
              <a:rPr lang="en-US" sz="693" dirty="0">
                <a:solidFill>
                  <a:prstClr val="black"/>
                </a:solidFill>
              </a:rPr>
              <a:t>)</a:t>
            </a:r>
          </a:p>
        </p:txBody>
      </p:sp>
      <p:sp>
        <p:nvSpPr>
          <p:cNvPr id="59" name="Flowchart: Decision 58">
            <a:extLst>
              <a:ext uri="{FF2B5EF4-FFF2-40B4-BE49-F238E27FC236}">
                <a16:creationId xmlns:a16="http://schemas.microsoft.com/office/drawing/2014/main" xmlns="" id="{2981D7A9-D6D6-9110-D371-50D887113A71}"/>
              </a:ext>
            </a:extLst>
          </p:cNvPr>
          <p:cNvSpPr/>
          <p:nvPr/>
        </p:nvSpPr>
        <p:spPr>
          <a:xfrm>
            <a:off x="6663785" y="2117658"/>
            <a:ext cx="654662" cy="440921"/>
          </a:xfrm>
          <a:prstGeom prst="flowChartDecision">
            <a:avLst/>
          </a:prstGeom>
          <a:solidFill>
            <a:srgbClr val="D8D56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89">
              <a:solidFill>
                <a:prstClr val="white"/>
              </a:solidFill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3F83C34-7319-B252-42EA-9B3A36B3EC18}"/>
              </a:ext>
            </a:extLst>
          </p:cNvPr>
          <p:cNvSpPr txBox="1"/>
          <p:nvPr/>
        </p:nvSpPr>
        <p:spPr>
          <a:xfrm>
            <a:off x="6761848" y="2256846"/>
            <a:ext cx="464462" cy="295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1">
                <a:solidFill>
                  <a:prstClr val="black"/>
                </a:solidFill>
              </a:rPr>
              <a:t>Lengkap</a:t>
            </a:r>
          </a:p>
        </p:txBody>
      </p:sp>
      <p:cxnSp>
        <p:nvCxnSpPr>
          <p:cNvPr id="61" name="Straight Arrow Connector 25">
            <a:extLst>
              <a:ext uri="{FF2B5EF4-FFF2-40B4-BE49-F238E27FC236}">
                <a16:creationId xmlns:a16="http://schemas.microsoft.com/office/drawing/2014/main" xmlns="" id="{034DA7DF-0EB3-B953-6066-00EA34E7A7D8}"/>
              </a:ext>
            </a:extLst>
          </p:cNvPr>
          <p:cNvCxnSpPr>
            <a:cxnSpLocks/>
          </p:cNvCxnSpPr>
          <p:nvPr/>
        </p:nvCxnSpPr>
        <p:spPr>
          <a:xfrm>
            <a:off x="7316691" y="2340450"/>
            <a:ext cx="140060" cy="4439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25">
            <a:extLst>
              <a:ext uri="{FF2B5EF4-FFF2-40B4-BE49-F238E27FC236}">
                <a16:creationId xmlns:a16="http://schemas.microsoft.com/office/drawing/2014/main" xmlns="" id="{356A14B1-97D1-F31E-8097-4BA098673E76}"/>
              </a:ext>
            </a:extLst>
          </p:cNvPr>
          <p:cNvCxnSpPr>
            <a:cxnSpLocks/>
          </p:cNvCxnSpPr>
          <p:nvPr/>
        </p:nvCxnSpPr>
        <p:spPr>
          <a:xfrm>
            <a:off x="6484632" y="2328555"/>
            <a:ext cx="182011" cy="0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Group 63">
            <a:extLst>
              <a:ext uri="{FF2B5EF4-FFF2-40B4-BE49-F238E27FC236}">
                <a16:creationId xmlns:a16="http://schemas.microsoft.com/office/drawing/2014/main" xmlns="" id="{80E9F5F2-4BB1-B849-B120-A0F7D952C8A7}"/>
              </a:ext>
            </a:extLst>
          </p:cNvPr>
          <p:cNvGrpSpPr/>
          <p:nvPr/>
        </p:nvGrpSpPr>
        <p:grpSpPr>
          <a:xfrm>
            <a:off x="4637882" y="1779867"/>
            <a:ext cx="2387036" cy="350569"/>
            <a:chOff x="3224531" y="951299"/>
            <a:chExt cx="2579791" cy="531040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D2419812-327A-D49C-7F77-BA5FAF73EC22}"/>
                </a:ext>
              </a:extLst>
            </p:cNvPr>
            <p:cNvCxnSpPr/>
            <p:nvPr/>
          </p:nvCxnSpPr>
          <p:spPr>
            <a:xfrm flipV="1">
              <a:off x="5801470" y="951299"/>
              <a:ext cx="2852" cy="502487"/>
            </a:xfrm>
            <a:prstGeom prst="line">
              <a:avLst/>
            </a:prstGeom>
            <a:ln w="38100"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EE5B9CD-9856-D24C-737C-5347F5610ED8}"/>
                </a:ext>
              </a:extLst>
            </p:cNvPr>
            <p:cNvCxnSpPr/>
            <p:nvPr/>
          </p:nvCxnSpPr>
          <p:spPr>
            <a:xfrm flipH="1">
              <a:off x="3224531" y="979852"/>
              <a:ext cx="2446701" cy="0"/>
            </a:xfrm>
            <a:prstGeom prst="line">
              <a:avLst/>
            </a:prstGeom>
            <a:ln w="38100">
              <a:solidFill>
                <a:srgbClr val="C0000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>
              <a:extLst>
                <a:ext uri="{FF2B5EF4-FFF2-40B4-BE49-F238E27FC236}">
                  <a16:creationId xmlns:a16="http://schemas.microsoft.com/office/drawing/2014/main" xmlns="" id="{56FDC657-D56E-018C-7E91-F456DC38E5DF}"/>
                </a:ext>
              </a:extLst>
            </p:cNvPr>
            <p:cNvCxnSpPr/>
            <p:nvPr/>
          </p:nvCxnSpPr>
          <p:spPr>
            <a:xfrm>
              <a:off x="3262352" y="1095161"/>
              <a:ext cx="0" cy="387178"/>
            </a:xfrm>
            <a:prstGeom prst="straightConnector1">
              <a:avLst/>
            </a:prstGeom>
            <a:ln w="38100">
              <a:solidFill>
                <a:srgbClr val="C00000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xmlns="" id="{287C419E-CE7C-F456-6A55-B65D27B927C5}"/>
              </a:ext>
            </a:extLst>
          </p:cNvPr>
          <p:cNvSpPr/>
          <p:nvPr/>
        </p:nvSpPr>
        <p:spPr>
          <a:xfrm>
            <a:off x="7456752" y="2128283"/>
            <a:ext cx="710474" cy="515980"/>
          </a:xfrm>
          <a:prstGeom prst="rect">
            <a:avLst/>
          </a:prstGeom>
          <a:solidFill>
            <a:srgbClr val="D8D56B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94" dirty="0" err="1">
                <a:solidFill>
                  <a:prstClr val="black"/>
                </a:solidFill>
              </a:rPr>
              <a:t>Perjanjian</a:t>
            </a:r>
            <a:r>
              <a:rPr lang="en-US" sz="594" dirty="0">
                <a:solidFill>
                  <a:prstClr val="black"/>
                </a:solidFill>
              </a:rPr>
              <a:t> </a:t>
            </a:r>
            <a:r>
              <a:rPr lang="en-US" sz="594" dirty="0" err="1">
                <a:solidFill>
                  <a:prstClr val="black"/>
                </a:solidFill>
              </a:rPr>
              <a:t>serifikasi</a:t>
            </a:r>
            <a:r>
              <a:rPr lang="en-US" sz="594" dirty="0">
                <a:solidFill>
                  <a:prstClr val="black"/>
                </a:solidFill>
              </a:rPr>
              <a:t>, invoice dan </a:t>
            </a:r>
            <a:r>
              <a:rPr lang="en-US" sz="594" dirty="0" err="1">
                <a:solidFill>
                  <a:prstClr val="black"/>
                </a:solidFill>
              </a:rPr>
              <a:t>pembayaran</a:t>
            </a:r>
            <a:endParaRPr lang="id-ID" sz="594" dirty="0">
              <a:solidFill>
                <a:prstClr val="black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5CCF52E8-68EA-D709-354B-AF52CDDA8572}"/>
              </a:ext>
            </a:extLst>
          </p:cNvPr>
          <p:cNvSpPr/>
          <p:nvPr/>
        </p:nvSpPr>
        <p:spPr>
          <a:xfrm>
            <a:off x="9028830" y="2117955"/>
            <a:ext cx="811169" cy="404222"/>
          </a:xfrm>
          <a:prstGeom prst="rect">
            <a:avLst/>
          </a:prstGeom>
          <a:solidFill>
            <a:srgbClr val="D8D56B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61">
                <a:solidFill>
                  <a:prstClr val="black"/>
                </a:solidFill>
              </a:rPr>
              <a:t>Penunjukkan Asesor dan Melaksanakan Asesmen</a:t>
            </a:r>
          </a:p>
        </p:txBody>
      </p:sp>
      <p:sp>
        <p:nvSpPr>
          <p:cNvPr id="70" name="Flowchart: Decision 69">
            <a:extLst>
              <a:ext uri="{FF2B5EF4-FFF2-40B4-BE49-F238E27FC236}">
                <a16:creationId xmlns:a16="http://schemas.microsoft.com/office/drawing/2014/main" xmlns="" id="{92DC2CD3-493D-CB0B-48E4-30C169453C01}"/>
              </a:ext>
            </a:extLst>
          </p:cNvPr>
          <p:cNvSpPr/>
          <p:nvPr/>
        </p:nvSpPr>
        <p:spPr>
          <a:xfrm>
            <a:off x="9005057" y="2726967"/>
            <a:ext cx="702306" cy="424036"/>
          </a:xfrm>
          <a:prstGeom prst="flowChartDecision">
            <a:avLst/>
          </a:prstGeom>
          <a:solidFill>
            <a:srgbClr val="D8D56B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sz="693" dirty="0">
              <a:solidFill>
                <a:prstClr val="black"/>
              </a:solidFill>
            </a:endParaRPr>
          </a:p>
        </p:txBody>
      </p:sp>
      <p:cxnSp>
        <p:nvCxnSpPr>
          <p:cNvPr id="71" name="Straight Arrow Connector 25">
            <a:extLst>
              <a:ext uri="{FF2B5EF4-FFF2-40B4-BE49-F238E27FC236}">
                <a16:creationId xmlns:a16="http://schemas.microsoft.com/office/drawing/2014/main" xmlns="" id="{AE7D15A3-99B8-0296-3DCF-41C2CED1E46F}"/>
              </a:ext>
            </a:extLst>
          </p:cNvPr>
          <p:cNvCxnSpPr>
            <a:cxnSpLocks/>
            <a:endCxn id="69" idx="1"/>
          </p:cNvCxnSpPr>
          <p:nvPr/>
        </p:nvCxnSpPr>
        <p:spPr>
          <a:xfrm flipV="1">
            <a:off x="8914679" y="2320066"/>
            <a:ext cx="114151" cy="1348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25">
            <a:extLst>
              <a:ext uri="{FF2B5EF4-FFF2-40B4-BE49-F238E27FC236}">
                <a16:creationId xmlns:a16="http://schemas.microsoft.com/office/drawing/2014/main" xmlns="" id="{B7CD2CAA-C7E0-385E-4FA1-85303D1F86F3}"/>
              </a:ext>
            </a:extLst>
          </p:cNvPr>
          <p:cNvCxnSpPr>
            <a:cxnSpLocks/>
          </p:cNvCxnSpPr>
          <p:nvPr/>
        </p:nvCxnSpPr>
        <p:spPr>
          <a:xfrm>
            <a:off x="8170030" y="2332784"/>
            <a:ext cx="114151" cy="2143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7099263C-4173-7270-7E77-521162C1653B}"/>
              </a:ext>
            </a:extLst>
          </p:cNvPr>
          <p:cNvSpPr txBox="1"/>
          <p:nvPr/>
        </p:nvSpPr>
        <p:spPr>
          <a:xfrm>
            <a:off x="9127446" y="2793043"/>
            <a:ext cx="579917" cy="2957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61">
                <a:solidFill>
                  <a:prstClr val="black"/>
                </a:solidFill>
              </a:rPr>
              <a:t>Penetapan Keputusan</a:t>
            </a:r>
            <a:endParaRPr lang="id-ID" sz="661">
              <a:solidFill>
                <a:prstClr val="black"/>
              </a:solidFill>
            </a:endParaRPr>
          </a:p>
        </p:txBody>
      </p:sp>
      <p:cxnSp>
        <p:nvCxnSpPr>
          <p:cNvPr id="78" name="Straight Arrow Connector 77">
            <a:extLst>
              <a:ext uri="{FF2B5EF4-FFF2-40B4-BE49-F238E27FC236}">
                <a16:creationId xmlns:a16="http://schemas.microsoft.com/office/drawing/2014/main" xmlns="" id="{F051B2E4-ED69-4CD7-6C9A-4D40F2CAE7A1}"/>
              </a:ext>
            </a:extLst>
          </p:cNvPr>
          <p:cNvCxnSpPr>
            <a:endCxn id="70" idx="0"/>
          </p:cNvCxnSpPr>
          <p:nvPr/>
        </p:nvCxnSpPr>
        <p:spPr>
          <a:xfrm>
            <a:off x="9355410" y="2532751"/>
            <a:ext cx="801" cy="194217"/>
          </a:xfrm>
          <a:prstGeom prst="straightConnector1">
            <a:avLst/>
          </a:prstGeom>
          <a:ln w="38100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E26212DD-C006-0E6A-A0B3-3DA9BCFD9CCA}"/>
              </a:ext>
            </a:extLst>
          </p:cNvPr>
          <p:cNvSpPr txBox="1"/>
          <p:nvPr/>
        </p:nvSpPr>
        <p:spPr>
          <a:xfrm>
            <a:off x="2007636" y="1707162"/>
            <a:ext cx="1676453" cy="2142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3647">
              <a:defRPr/>
            </a:pPr>
            <a:r>
              <a:rPr lang="id-ID" sz="792" i="1" dirty="0">
                <a:solidFill>
                  <a:prstClr val="black"/>
                </a:solidFill>
                <a:latin typeface="Calibri" panose="020F0502020204030204"/>
              </a:rPr>
              <a:t>https://perizinan.pu.go.id/portal/</a:t>
            </a:r>
            <a:endParaRPr lang="id-ID" sz="792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101" name="Picture 100">
            <a:extLst>
              <a:ext uri="{FF2B5EF4-FFF2-40B4-BE49-F238E27FC236}">
                <a16:creationId xmlns:a16="http://schemas.microsoft.com/office/drawing/2014/main" xmlns="" id="{EE9B38FF-7518-3554-E20C-3026056628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93690" y="1521737"/>
            <a:ext cx="591071" cy="223498"/>
          </a:xfrm>
          <a:prstGeom prst="rect">
            <a:avLst/>
          </a:prstGeom>
        </p:spPr>
      </p:pic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DA5D5A99-A8F7-81EE-7B45-F43B4AFEC412}"/>
              </a:ext>
            </a:extLst>
          </p:cNvPr>
          <p:cNvSpPr/>
          <p:nvPr/>
        </p:nvSpPr>
        <p:spPr>
          <a:xfrm>
            <a:off x="1633894" y="1906554"/>
            <a:ext cx="960481" cy="78004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92" b="1" dirty="0">
                <a:solidFill>
                  <a:prstClr val="black"/>
                </a:solidFill>
              </a:rPr>
              <a:t>REGISTRASI AKUN PORTAL REGISTRASI TKK</a:t>
            </a:r>
          </a:p>
        </p:txBody>
      </p:sp>
      <p:cxnSp>
        <p:nvCxnSpPr>
          <p:cNvPr id="103" name="Straight Arrow Connector 25">
            <a:extLst>
              <a:ext uri="{FF2B5EF4-FFF2-40B4-BE49-F238E27FC236}">
                <a16:creationId xmlns:a16="http://schemas.microsoft.com/office/drawing/2014/main" xmlns="" id="{989865E6-300B-F0D8-F9FF-03FBC16E5572}"/>
              </a:ext>
            </a:extLst>
          </p:cNvPr>
          <p:cNvCxnSpPr>
            <a:cxnSpLocks/>
          </p:cNvCxnSpPr>
          <p:nvPr/>
        </p:nvCxnSpPr>
        <p:spPr>
          <a:xfrm>
            <a:off x="2633788" y="2296572"/>
            <a:ext cx="182011" cy="0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Box 107">
            <a:extLst>
              <a:ext uri="{FF2B5EF4-FFF2-40B4-BE49-F238E27FC236}">
                <a16:creationId xmlns:a16="http://schemas.microsoft.com/office/drawing/2014/main" xmlns="" id="{506B9511-E37D-C39B-9D52-ADF45F844794}"/>
              </a:ext>
            </a:extLst>
          </p:cNvPr>
          <p:cNvSpPr txBox="1"/>
          <p:nvPr/>
        </p:nvSpPr>
        <p:spPr>
          <a:xfrm>
            <a:off x="1617787" y="2667096"/>
            <a:ext cx="776175" cy="3924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75" dirty="0">
                <a:latin typeface="Gill Sans MT" panose="020B0502020104020203" pitchFamily="34" charset="0"/>
              </a:rPr>
              <a:t>Aku </a:t>
            </a:r>
            <a:r>
              <a:rPr lang="en-US" sz="975" dirty="0" err="1">
                <a:latin typeface="Gill Sans MT" panose="020B0502020104020203" pitchFamily="34" charset="0"/>
              </a:rPr>
              <a:t>dikirim</a:t>
            </a:r>
            <a:endParaRPr lang="en-US" sz="975" dirty="0">
              <a:latin typeface="Gill Sans MT" panose="020B0502020104020203" pitchFamily="34" charset="0"/>
            </a:endParaRPr>
          </a:p>
          <a:p>
            <a:r>
              <a:rPr lang="en-US" sz="975" dirty="0" err="1">
                <a:latin typeface="Gill Sans MT" panose="020B0502020104020203" pitchFamily="34" charset="0"/>
              </a:rPr>
              <a:t>ke</a:t>
            </a:r>
            <a:r>
              <a:rPr lang="en-US" sz="975" dirty="0">
                <a:latin typeface="Gill Sans MT" panose="020B0502020104020203" pitchFamily="34" charset="0"/>
              </a:rPr>
              <a:t> email</a:t>
            </a:r>
            <a:endParaRPr lang="id-ID" sz="975" dirty="0">
              <a:latin typeface="Gill Sans MT" panose="020B0502020104020203" pitchFamily="34" charset="0"/>
            </a:endParaRPr>
          </a:p>
        </p:txBody>
      </p:sp>
      <p:sp>
        <p:nvSpPr>
          <p:cNvPr id="119" name="Flowchart: Magnetic Disk 118">
            <a:extLst>
              <a:ext uri="{FF2B5EF4-FFF2-40B4-BE49-F238E27FC236}">
                <a16:creationId xmlns:a16="http://schemas.microsoft.com/office/drawing/2014/main" xmlns="" id="{EFB2057D-8B14-71CC-A117-0C1336049366}"/>
              </a:ext>
            </a:extLst>
          </p:cNvPr>
          <p:cNvSpPr/>
          <p:nvPr/>
        </p:nvSpPr>
        <p:spPr>
          <a:xfrm>
            <a:off x="5689503" y="4006795"/>
            <a:ext cx="554634" cy="29819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92" dirty="0">
                <a:solidFill>
                  <a:prstClr val="white"/>
                </a:solidFill>
              </a:rPr>
              <a:t>DB  ASOSIASI</a:t>
            </a:r>
            <a:endParaRPr lang="id-ID" sz="792" dirty="0">
              <a:solidFill>
                <a:prstClr val="white"/>
              </a:solidFill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xmlns="" id="{C8774719-D9CB-5CA9-5D51-BC37FC7C6CD2}"/>
              </a:ext>
            </a:extLst>
          </p:cNvPr>
          <p:cNvSpPr/>
          <p:nvPr/>
        </p:nvSpPr>
        <p:spPr>
          <a:xfrm>
            <a:off x="5605178" y="4705489"/>
            <a:ext cx="711143" cy="2611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6" b="1" dirty="0">
                <a:solidFill>
                  <a:prstClr val="black"/>
                </a:solidFill>
              </a:rPr>
              <a:t>Daftar </a:t>
            </a:r>
            <a:r>
              <a:rPr lang="en-US" sz="726" b="1" dirty="0" err="1">
                <a:solidFill>
                  <a:prstClr val="black"/>
                </a:solidFill>
              </a:rPr>
              <a:t>Asosiasi</a:t>
            </a:r>
            <a:r>
              <a:rPr lang="en-US" sz="726" b="1" dirty="0">
                <a:solidFill>
                  <a:prstClr val="black"/>
                </a:solidFill>
              </a:rPr>
              <a:t> </a:t>
            </a:r>
            <a:r>
              <a:rPr lang="en-US" sz="726" b="1" dirty="0" err="1">
                <a:solidFill>
                  <a:prstClr val="black"/>
                </a:solidFill>
              </a:rPr>
              <a:t>Profesi</a:t>
            </a:r>
            <a:endParaRPr lang="id-ID" sz="726" b="1" dirty="0">
              <a:solidFill>
                <a:prstClr val="black"/>
              </a:solidFill>
            </a:endParaRPr>
          </a:p>
        </p:txBody>
      </p:sp>
      <p:cxnSp>
        <p:nvCxnSpPr>
          <p:cNvPr id="121" name="Straight Arrow Connector 25">
            <a:extLst>
              <a:ext uri="{FF2B5EF4-FFF2-40B4-BE49-F238E27FC236}">
                <a16:creationId xmlns:a16="http://schemas.microsoft.com/office/drawing/2014/main" xmlns="" id="{5464C5B6-6806-BC87-F45C-AB12E1266D86}"/>
              </a:ext>
            </a:extLst>
          </p:cNvPr>
          <p:cNvCxnSpPr>
            <a:cxnSpLocks/>
            <a:stCxn id="120" idx="0"/>
            <a:endCxn id="119" idx="3"/>
          </p:cNvCxnSpPr>
          <p:nvPr/>
        </p:nvCxnSpPr>
        <p:spPr>
          <a:xfrm flipV="1">
            <a:off x="5960750" y="4304991"/>
            <a:ext cx="6071" cy="40049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Rectangle 121">
            <a:extLst>
              <a:ext uri="{FF2B5EF4-FFF2-40B4-BE49-F238E27FC236}">
                <a16:creationId xmlns:a16="http://schemas.microsoft.com/office/drawing/2014/main" xmlns="" id="{A5E90F8A-813C-B47E-F671-8A1C107A6DFC}"/>
              </a:ext>
            </a:extLst>
          </p:cNvPr>
          <p:cNvSpPr/>
          <p:nvPr/>
        </p:nvSpPr>
        <p:spPr>
          <a:xfrm>
            <a:off x="5605178" y="5035504"/>
            <a:ext cx="711143" cy="4200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93" b="1" dirty="0">
                <a:solidFill>
                  <a:prstClr val="black"/>
                </a:solidFill>
              </a:rPr>
              <a:t>Data </a:t>
            </a:r>
            <a:r>
              <a:rPr lang="en-US" sz="693" b="1" dirty="0" err="1">
                <a:solidFill>
                  <a:prstClr val="black"/>
                </a:solidFill>
              </a:rPr>
              <a:t>Asosiasi</a:t>
            </a:r>
            <a:r>
              <a:rPr lang="en-US" sz="693" b="1" dirty="0">
                <a:solidFill>
                  <a:prstClr val="black"/>
                </a:solidFill>
              </a:rPr>
              <a:t> </a:t>
            </a:r>
            <a:r>
              <a:rPr lang="en-US" sz="693" b="1" dirty="0" err="1">
                <a:solidFill>
                  <a:prstClr val="black"/>
                </a:solidFill>
              </a:rPr>
              <a:t>Profesi</a:t>
            </a:r>
            <a:r>
              <a:rPr lang="en-US" sz="693" b="1" dirty="0">
                <a:solidFill>
                  <a:prstClr val="black"/>
                </a:solidFill>
              </a:rPr>
              <a:t> </a:t>
            </a:r>
            <a:r>
              <a:rPr lang="en-US" sz="693" b="1" dirty="0" err="1">
                <a:solidFill>
                  <a:prstClr val="black"/>
                </a:solidFill>
              </a:rPr>
              <a:t>tercatat</a:t>
            </a:r>
            <a:endParaRPr lang="en-US" sz="693" b="1" dirty="0">
              <a:solidFill>
                <a:prstClr val="black"/>
              </a:solidFill>
            </a:endParaRPr>
          </a:p>
        </p:txBody>
      </p:sp>
      <p:sp>
        <p:nvSpPr>
          <p:cNvPr id="123" name="Flowchart: Magnetic Disk 122">
            <a:extLst>
              <a:ext uri="{FF2B5EF4-FFF2-40B4-BE49-F238E27FC236}">
                <a16:creationId xmlns:a16="http://schemas.microsoft.com/office/drawing/2014/main" xmlns="" id="{DA3C8E5B-F239-BABB-CCF3-6EB2FE5C7C56}"/>
              </a:ext>
            </a:extLst>
          </p:cNvPr>
          <p:cNvSpPr/>
          <p:nvPr/>
        </p:nvSpPr>
        <p:spPr>
          <a:xfrm>
            <a:off x="8859936" y="4079872"/>
            <a:ext cx="597487" cy="29819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92" dirty="0">
                <a:solidFill>
                  <a:prstClr val="white"/>
                </a:solidFill>
              </a:rPr>
              <a:t>DB  </a:t>
            </a:r>
            <a:r>
              <a:rPr lang="en-US" sz="792" dirty="0" err="1">
                <a:solidFill>
                  <a:prstClr val="white"/>
                </a:solidFill>
              </a:rPr>
              <a:t>Asesor</a:t>
            </a:r>
            <a:endParaRPr lang="id-ID" sz="792" dirty="0">
              <a:solidFill>
                <a:prstClr val="white"/>
              </a:solidFill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xmlns="" id="{AFE10E6D-4FE4-0C4C-F589-6482CB7394AD}"/>
              </a:ext>
            </a:extLst>
          </p:cNvPr>
          <p:cNvSpPr/>
          <p:nvPr/>
        </p:nvSpPr>
        <p:spPr>
          <a:xfrm>
            <a:off x="8761931" y="4770365"/>
            <a:ext cx="766088" cy="2611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6" b="1" dirty="0">
                <a:solidFill>
                  <a:prstClr val="black"/>
                </a:solidFill>
              </a:rPr>
              <a:t>Daftar </a:t>
            </a:r>
            <a:r>
              <a:rPr lang="en-US" sz="726" b="1" dirty="0" err="1">
                <a:solidFill>
                  <a:prstClr val="black"/>
                </a:solidFill>
              </a:rPr>
              <a:t>Asesor</a:t>
            </a:r>
            <a:endParaRPr lang="id-ID" sz="726" b="1" dirty="0">
              <a:solidFill>
                <a:prstClr val="black"/>
              </a:solidFill>
            </a:endParaRPr>
          </a:p>
        </p:txBody>
      </p:sp>
      <p:cxnSp>
        <p:nvCxnSpPr>
          <p:cNvPr id="125" name="Straight Arrow Connector 25">
            <a:extLst>
              <a:ext uri="{FF2B5EF4-FFF2-40B4-BE49-F238E27FC236}">
                <a16:creationId xmlns:a16="http://schemas.microsoft.com/office/drawing/2014/main" xmlns="" id="{7D4DC69A-669C-6780-F778-8E06752C5D7D}"/>
              </a:ext>
            </a:extLst>
          </p:cNvPr>
          <p:cNvCxnSpPr>
            <a:cxnSpLocks/>
            <a:stCxn id="124" idx="0"/>
            <a:endCxn id="123" idx="3"/>
          </p:cNvCxnSpPr>
          <p:nvPr/>
        </p:nvCxnSpPr>
        <p:spPr>
          <a:xfrm flipV="1">
            <a:off x="9144977" y="4378068"/>
            <a:ext cx="13703" cy="392296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ectangle 125">
            <a:extLst>
              <a:ext uri="{FF2B5EF4-FFF2-40B4-BE49-F238E27FC236}">
                <a16:creationId xmlns:a16="http://schemas.microsoft.com/office/drawing/2014/main" xmlns="" id="{66C90014-3959-6070-B041-0F50A66356FA}"/>
              </a:ext>
            </a:extLst>
          </p:cNvPr>
          <p:cNvSpPr/>
          <p:nvPr/>
        </p:nvSpPr>
        <p:spPr>
          <a:xfrm>
            <a:off x="8761931" y="5100379"/>
            <a:ext cx="766088" cy="4200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93" b="1" dirty="0">
                <a:solidFill>
                  <a:prstClr val="black"/>
                </a:solidFill>
              </a:rPr>
              <a:t>Data  </a:t>
            </a:r>
            <a:r>
              <a:rPr lang="en-US" sz="693" b="1" dirty="0" err="1">
                <a:solidFill>
                  <a:prstClr val="black"/>
                </a:solidFill>
              </a:rPr>
              <a:t>Asesor</a:t>
            </a:r>
            <a:r>
              <a:rPr lang="en-US" sz="693" b="1" dirty="0">
                <a:solidFill>
                  <a:prstClr val="black"/>
                </a:solidFill>
              </a:rPr>
              <a:t> </a:t>
            </a:r>
            <a:r>
              <a:rPr lang="en-US" sz="693" b="1" dirty="0" err="1">
                <a:solidFill>
                  <a:prstClr val="black"/>
                </a:solidFill>
              </a:rPr>
              <a:t>tiap</a:t>
            </a:r>
            <a:r>
              <a:rPr lang="en-US" sz="693" b="1" dirty="0">
                <a:solidFill>
                  <a:prstClr val="black"/>
                </a:solidFill>
              </a:rPr>
              <a:t> LSP </a:t>
            </a:r>
            <a:r>
              <a:rPr lang="en-US" sz="693" b="1" dirty="0" err="1">
                <a:solidFill>
                  <a:prstClr val="black"/>
                </a:solidFill>
              </a:rPr>
              <a:t>Terlisensi</a:t>
            </a:r>
            <a:endParaRPr lang="en-US" sz="693" b="1" dirty="0">
              <a:solidFill>
                <a:prstClr val="black"/>
              </a:solidFill>
            </a:endParaRPr>
          </a:p>
        </p:txBody>
      </p: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xmlns="" id="{8627E27A-DF86-8AE6-4BEC-C40FB853DE1B}"/>
              </a:ext>
            </a:extLst>
          </p:cNvPr>
          <p:cNvCxnSpPr>
            <a:cxnSpLocks/>
            <a:endCxn id="119" idx="1"/>
          </p:cNvCxnSpPr>
          <p:nvPr/>
        </p:nvCxnSpPr>
        <p:spPr>
          <a:xfrm flipH="1">
            <a:off x="5966820" y="3407610"/>
            <a:ext cx="21426" cy="599185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xmlns="" id="{075A6BD8-3EB6-40E5-4ED1-3C5584B42D1F}"/>
              </a:ext>
            </a:extLst>
          </p:cNvPr>
          <p:cNvCxnSpPr>
            <a:cxnSpLocks/>
          </p:cNvCxnSpPr>
          <p:nvPr/>
        </p:nvCxnSpPr>
        <p:spPr>
          <a:xfrm>
            <a:off x="4834192" y="3388216"/>
            <a:ext cx="0" cy="599185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xmlns="" id="{1544B811-2058-B4F1-5808-D9B5057FBB12}"/>
              </a:ext>
            </a:extLst>
          </p:cNvPr>
          <p:cNvCxnSpPr>
            <a:cxnSpLocks/>
          </p:cNvCxnSpPr>
          <p:nvPr/>
        </p:nvCxnSpPr>
        <p:spPr>
          <a:xfrm>
            <a:off x="6907235" y="3388216"/>
            <a:ext cx="0" cy="599185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Connector: Elbow 104">
            <a:extLst>
              <a:ext uri="{FF2B5EF4-FFF2-40B4-BE49-F238E27FC236}">
                <a16:creationId xmlns:a16="http://schemas.microsoft.com/office/drawing/2014/main" xmlns="" id="{132F50D3-A782-52B6-8FB9-62620F96DE0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318108" y="3137043"/>
            <a:ext cx="353513" cy="1653"/>
          </a:xfrm>
          <a:prstGeom prst="bentConnector3">
            <a:avLst>
              <a:gd name="adj1" fmla="val 18597"/>
            </a:avLst>
          </a:prstGeom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xmlns="" id="{766371CC-50AF-A0ED-AF62-7168E64A036B}"/>
              </a:ext>
            </a:extLst>
          </p:cNvPr>
          <p:cNvSpPr txBox="1"/>
          <p:nvPr/>
        </p:nvSpPr>
        <p:spPr>
          <a:xfrm>
            <a:off x="10331564" y="2794758"/>
            <a:ext cx="591071" cy="31745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63" dirty="0">
                <a:solidFill>
                  <a:schemeClr val="bg1"/>
                </a:solidFill>
              </a:rPr>
              <a:t>BNSP</a:t>
            </a:r>
            <a:endParaRPr lang="id-ID" sz="1463" dirty="0">
              <a:solidFill>
                <a:schemeClr val="bg1"/>
              </a:solidFill>
            </a:endParaRPr>
          </a:p>
        </p:txBody>
      </p:sp>
      <p:pic>
        <p:nvPicPr>
          <p:cNvPr id="138" name="Picture 137" descr="Text&#10;&#10;Description automatically generated">
            <a:extLst>
              <a:ext uri="{FF2B5EF4-FFF2-40B4-BE49-F238E27FC236}">
                <a16:creationId xmlns:a16="http://schemas.microsoft.com/office/drawing/2014/main" xmlns="" id="{056155A7-924C-A344-F0E0-01EEDDD14C1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2329" y="2724820"/>
            <a:ext cx="663789" cy="390261"/>
          </a:xfrm>
          <a:prstGeom prst="rect">
            <a:avLst/>
          </a:prstGeom>
        </p:spPr>
      </p:pic>
      <p:cxnSp>
        <p:nvCxnSpPr>
          <p:cNvPr id="141" name="Connector: Elbow 140">
            <a:extLst>
              <a:ext uri="{FF2B5EF4-FFF2-40B4-BE49-F238E27FC236}">
                <a16:creationId xmlns:a16="http://schemas.microsoft.com/office/drawing/2014/main" xmlns="" id="{F982E8B5-BC0C-2A6F-DF5F-E873E21EC13E}"/>
              </a:ext>
            </a:extLst>
          </p:cNvPr>
          <p:cNvCxnSpPr>
            <a:cxnSpLocks/>
            <a:endCxn id="48" idx="3"/>
          </p:cNvCxnSpPr>
          <p:nvPr/>
        </p:nvCxnSpPr>
        <p:spPr>
          <a:xfrm rot="10800000">
            <a:off x="4860565" y="2726968"/>
            <a:ext cx="1331509" cy="267638"/>
          </a:xfrm>
          <a:prstGeom prst="bentConnector3">
            <a:avLst>
              <a:gd name="adj1" fmla="val 50000"/>
            </a:avLst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144">
            <a:extLst>
              <a:ext uri="{FF2B5EF4-FFF2-40B4-BE49-F238E27FC236}">
                <a16:creationId xmlns:a16="http://schemas.microsoft.com/office/drawing/2014/main" xmlns="" id="{D3E7D7B3-223A-A4F1-1826-806BB077F9A0}"/>
              </a:ext>
            </a:extLst>
          </p:cNvPr>
          <p:cNvCxnSpPr>
            <a:cxnSpLocks/>
          </p:cNvCxnSpPr>
          <p:nvPr/>
        </p:nvCxnSpPr>
        <p:spPr>
          <a:xfrm flipH="1" flipV="1">
            <a:off x="7712699" y="2902503"/>
            <a:ext cx="1282111" cy="20994"/>
          </a:xfrm>
          <a:prstGeom prst="straightConnector1">
            <a:avLst/>
          </a:prstGeom>
          <a:ln w="38100">
            <a:solidFill>
              <a:schemeClr val="tx1">
                <a:lumMod val="95000"/>
                <a:lumOff val="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nector: Elbow 146">
            <a:extLst>
              <a:ext uri="{FF2B5EF4-FFF2-40B4-BE49-F238E27FC236}">
                <a16:creationId xmlns:a16="http://schemas.microsoft.com/office/drawing/2014/main" xmlns="" id="{9407D175-2967-C459-7395-34E78889F247}"/>
              </a:ext>
            </a:extLst>
          </p:cNvPr>
          <p:cNvCxnSpPr>
            <a:cxnSpLocks/>
            <a:endCxn id="137" idx="2"/>
          </p:cNvCxnSpPr>
          <p:nvPr/>
        </p:nvCxnSpPr>
        <p:spPr>
          <a:xfrm>
            <a:off x="7737653" y="3042198"/>
            <a:ext cx="2889447" cy="70019"/>
          </a:xfrm>
          <a:prstGeom prst="bentConnector4">
            <a:avLst>
              <a:gd name="adj1" fmla="val 44886"/>
              <a:gd name="adj2" fmla="val 426483"/>
            </a:avLst>
          </a:prstGeom>
          <a:ln w="38100"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Connector: Elbow 152">
            <a:extLst>
              <a:ext uri="{FF2B5EF4-FFF2-40B4-BE49-F238E27FC236}">
                <a16:creationId xmlns:a16="http://schemas.microsoft.com/office/drawing/2014/main" xmlns="" id="{5E879298-4A1A-46A2-36E6-3F19AE1DA567}"/>
              </a:ext>
            </a:extLst>
          </p:cNvPr>
          <p:cNvCxnSpPr>
            <a:stCxn id="137" idx="0"/>
            <a:endCxn id="31" idx="0"/>
          </p:cNvCxnSpPr>
          <p:nvPr/>
        </p:nvCxnSpPr>
        <p:spPr>
          <a:xfrm rot="16200000" flipV="1">
            <a:off x="9273474" y="1441132"/>
            <a:ext cx="674256" cy="2032995"/>
          </a:xfrm>
          <a:prstGeom prst="bentConnector3">
            <a:avLst>
              <a:gd name="adj1" fmla="val 133904"/>
            </a:avLst>
          </a:prstGeom>
          <a:ln w="38100"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TextBox 155">
            <a:extLst>
              <a:ext uri="{FF2B5EF4-FFF2-40B4-BE49-F238E27FC236}">
                <a16:creationId xmlns:a16="http://schemas.microsoft.com/office/drawing/2014/main" xmlns="" id="{76F35736-23C1-D96E-5F47-660959D08C5A}"/>
              </a:ext>
            </a:extLst>
          </p:cNvPr>
          <p:cNvSpPr txBox="1"/>
          <p:nvPr/>
        </p:nvSpPr>
        <p:spPr>
          <a:xfrm>
            <a:off x="4937873" y="1575558"/>
            <a:ext cx="1366523" cy="2299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94" dirty="0" err="1">
                <a:solidFill>
                  <a:prstClr val="black"/>
                </a:solidFill>
              </a:rPr>
              <a:t>Tidak</a:t>
            </a:r>
            <a:r>
              <a:rPr lang="en-US" sz="894" dirty="0">
                <a:solidFill>
                  <a:prstClr val="black"/>
                </a:solidFill>
              </a:rPr>
              <a:t> </a:t>
            </a:r>
            <a:r>
              <a:rPr lang="en-US" sz="894" dirty="0" err="1">
                <a:solidFill>
                  <a:prstClr val="black"/>
                </a:solidFill>
              </a:rPr>
              <a:t>lengkap</a:t>
            </a:r>
            <a:endParaRPr lang="id-ID" sz="894" dirty="0">
              <a:solidFill>
                <a:prstClr val="black"/>
              </a:solidFill>
            </a:endParaRP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xmlns="" id="{10316691-34D9-E946-1513-75A1320BA693}"/>
              </a:ext>
            </a:extLst>
          </p:cNvPr>
          <p:cNvSpPr txBox="1"/>
          <p:nvPr/>
        </p:nvSpPr>
        <p:spPr>
          <a:xfrm>
            <a:off x="7029437" y="1707199"/>
            <a:ext cx="1366523" cy="2299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94" dirty="0">
                <a:solidFill>
                  <a:prstClr val="black"/>
                </a:solidFill>
              </a:rPr>
              <a:t>Belum </a:t>
            </a:r>
            <a:r>
              <a:rPr lang="en-US" sz="894" dirty="0" err="1">
                <a:solidFill>
                  <a:prstClr val="black"/>
                </a:solidFill>
              </a:rPr>
              <a:t>Kompeten</a:t>
            </a:r>
            <a:endParaRPr lang="id-ID" sz="894" dirty="0">
              <a:solidFill>
                <a:prstClr val="black"/>
              </a:solidFill>
            </a:endParaRPr>
          </a:p>
        </p:txBody>
      </p:sp>
      <p:sp>
        <p:nvSpPr>
          <p:cNvPr id="159" name="Flowchart: Magnetic Disk 158">
            <a:extLst>
              <a:ext uri="{FF2B5EF4-FFF2-40B4-BE49-F238E27FC236}">
                <a16:creationId xmlns:a16="http://schemas.microsoft.com/office/drawing/2014/main" xmlns="" id="{32B53CDA-77D1-9F4F-B096-EC1B87CFB37F}"/>
              </a:ext>
            </a:extLst>
          </p:cNvPr>
          <p:cNvSpPr/>
          <p:nvPr/>
        </p:nvSpPr>
        <p:spPr>
          <a:xfrm>
            <a:off x="7739306" y="4101308"/>
            <a:ext cx="597487" cy="29819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92" dirty="0">
                <a:solidFill>
                  <a:prstClr val="white"/>
                </a:solidFill>
              </a:rPr>
              <a:t>DB  TUK</a:t>
            </a:r>
            <a:endParaRPr lang="id-ID" sz="792" dirty="0">
              <a:solidFill>
                <a:prstClr val="white"/>
              </a:solidFill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xmlns="" id="{17355FD0-036E-30D9-C922-950F04614F27}"/>
              </a:ext>
            </a:extLst>
          </p:cNvPr>
          <p:cNvSpPr/>
          <p:nvPr/>
        </p:nvSpPr>
        <p:spPr>
          <a:xfrm>
            <a:off x="7654980" y="4800002"/>
            <a:ext cx="766088" cy="2611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6" b="1" dirty="0">
                <a:solidFill>
                  <a:prstClr val="black"/>
                </a:solidFill>
              </a:rPr>
              <a:t>Daftar TUK LSP </a:t>
            </a:r>
            <a:r>
              <a:rPr lang="en-US" sz="726" b="1" dirty="0" err="1">
                <a:solidFill>
                  <a:prstClr val="black"/>
                </a:solidFill>
              </a:rPr>
              <a:t>Terlisensi</a:t>
            </a:r>
            <a:endParaRPr lang="id-ID" sz="726" b="1" dirty="0">
              <a:solidFill>
                <a:prstClr val="black"/>
              </a:solidFill>
            </a:endParaRPr>
          </a:p>
        </p:txBody>
      </p:sp>
      <p:cxnSp>
        <p:nvCxnSpPr>
          <p:cNvPr id="161" name="Straight Arrow Connector 25">
            <a:extLst>
              <a:ext uri="{FF2B5EF4-FFF2-40B4-BE49-F238E27FC236}">
                <a16:creationId xmlns:a16="http://schemas.microsoft.com/office/drawing/2014/main" xmlns="" id="{D7C8CD6F-0EEE-977F-2A4D-30EA16CF9F28}"/>
              </a:ext>
            </a:extLst>
          </p:cNvPr>
          <p:cNvCxnSpPr>
            <a:cxnSpLocks/>
            <a:stCxn id="160" idx="0"/>
            <a:endCxn id="159" idx="3"/>
          </p:cNvCxnSpPr>
          <p:nvPr/>
        </p:nvCxnSpPr>
        <p:spPr>
          <a:xfrm flipV="1">
            <a:off x="8038025" y="4399504"/>
            <a:ext cx="25" cy="40049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Rectangle 161">
            <a:extLst>
              <a:ext uri="{FF2B5EF4-FFF2-40B4-BE49-F238E27FC236}">
                <a16:creationId xmlns:a16="http://schemas.microsoft.com/office/drawing/2014/main" xmlns="" id="{07C7C7C1-BD50-79FB-574E-36A2EB51BF92}"/>
              </a:ext>
            </a:extLst>
          </p:cNvPr>
          <p:cNvSpPr/>
          <p:nvPr/>
        </p:nvSpPr>
        <p:spPr>
          <a:xfrm>
            <a:off x="7654980" y="5130017"/>
            <a:ext cx="766088" cy="4200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93" b="1" dirty="0">
                <a:solidFill>
                  <a:prstClr val="black"/>
                </a:solidFill>
              </a:rPr>
              <a:t>Data  TUK LSP </a:t>
            </a:r>
            <a:r>
              <a:rPr lang="en-US" sz="693" b="1" dirty="0" err="1">
                <a:solidFill>
                  <a:prstClr val="black"/>
                </a:solidFill>
              </a:rPr>
              <a:t>Terlisensi</a:t>
            </a:r>
            <a:r>
              <a:rPr lang="en-US" sz="693" b="1" dirty="0">
                <a:solidFill>
                  <a:prstClr val="black"/>
                </a:solidFill>
              </a:rPr>
              <a:t> dan </a:t>
            </a:r>
            <a:r>
              <a:rPr lang="en-US" sz="693" b="1" dirty="0" err="1">
                <a:solidFill>
                  <a:prstClr val="black"/>
                </a:solidFill>
              </a:rPr>
              <a:t>beroperasi</a:t>
            </a:r>
            <a:r>
              <a:rPr lang="en-US" sz="693" b="1" dirty="0">
                <a:solidFill>
                  <a:prstClr val="black"/>
                </a:solidFill>
              </a:rPr>
              <a:t>/ </a:t>
            </a:r>
            <a:r>
              <a:rPr lang="en-US" sz="693" b="1" dirty="0" err="1">
                <a:solidFill>
                  <a:prstClr val="black"/>
                </a:solidFill>
              </a:rPr>
              <a:t>aktif</a:t>
            </a:r>
            <a:endParaRPr lang="en-US" sz="693" b="1" dirty="0">
              <a:solidFill>
                <a:prstClr val="black"/>
              </a:solidFill>
            </a:endParaRPr>
          </a:p>
        </p:txBody>
      </p:sp>
      <p:sp>
        <p:nvSpPr>
          <p:cNvPr id="164" name="Flowchart: Magnetic Disk 163">
            <a:extLst>
              <a:ext uri="{FF2B5EF4-FFF2-40B4-BE49-F238E27FC236}">
                <a16:creationId xmlns:a16="http://schemas.microsoft.com/office/drawing/2014/main" xmlns="" id="{77A03A3B-DC6F-4A83-0927-A788DAC4EB76}"/>
              </a:ext>
            </a:extLst>
          </p:cNvPr>
          <p:cNvSpPr/>
          <p:nvPr/>
        </p:nvSpPr>
        <p:spPr>
          <a:xfrm>
            <a:off x="3466604" y="4030164"/>
            <a:ext cx="597487" cy="29819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92" dirty="0">
                <a:solidFill>
                  <a:prstClr val="white"/>
                </a:solidFill>
              </a:rPr>
              <a:t>DB SKK</a:t>
            </a:r>
            <a:endParaRPr lang="id-ID" sz="792" dirty="0">
              <a:solidFill>
                <a:prstClr val="white"/>
              </a:solidFill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xmlns="" id="{A91892CC-1898-2443-0C3C-08A396AA6648}"/>
              </a:ext>
            </a:extLst>
          </p:cNvPr>
          <p:cNvSpPr/>
          <p:nvPr/>
        </p:nvSpPr>
        <p:spPr>
          <a:xfrm>
            <a:off x="3382277" y="4728858"/>
            <a:ext cx="766088" cy="2611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6" b="1" dirty="0" err="1">
                <a:solidFill>
                  <a:prstClr val="black"/>
                </a:solidFill>
              </a:rPr>
              <a:t>Jumlah</a:t>
            </a:r>
            <a:r>
              <a:rPr lang="en-US" sz="726" b="1" dirty="0">
                <a:solidFill>
                  <a:prstClr val="black"/>
                </a:solidFill>
              </a:rPr>
              <a:t> </a:t>
            </a:r>
            <a:r>
              <a:rPr lang="en-US" sz="726" b="1" dirty="0" err="1">
                <a:solidFill>
                  <a:prstClr val="black"/>
                </a:solidFill>
              </a:rPr>
              <a:t>Sertifikat</a:t>
            </a:r>
            <a:endParaRPr lang="id-ID" sz="726" b="1" dirty="0">
              <a:solidFill>
                <a:prstClr val="black"/>
              </a:solidFill>
            </a:endParaRPr>
          </a:p>
        </p:txBody>
      </p:sp>
      <p:cxnSp>
        <p:nvCxnSpPr>
          <p:cNvPr id="166" name="Straight Arrow Connector 25">
            <a:extLst>
              <a:ext uri="{FF2B5EF4-FFF2-40B4-BE49-F238E27FC236}">
                <a16:creationId xmlns:a16="http://schemas.microsoft.com/office/drawing/2014/main" xmlns="" id="{96C5FDAB-6240-B8ED-DDE9-68726A53A707}"/>
              </a:ext>
            </a:extLst>
          </p:cNvPr>
          <p:cNvCxnSpPr>
            <a:cxnSpLocks/>
            <a:stCxn id="165" idx="0"/>
            <a:endCxn id="164" idx="3"/>
          </p:cNvCxnSpPr>
          <p:nvPr/>
        </p:nvCxnSpPr>
        <p:spPr>
          <a:xfrm flipV="1">
            <a:off x="3765323" y="4328360"/>
            <a:ext cx="25" cy="40049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Rectangle 166">
            <a:extLst>
              <a:ext uri="{FF2B5EF4-FFF2-40B4-BE49-F238E27FC236}">
                <a16:creationId xmlns:a16="http://schemas.microsoft.com/office/drawing/2014/main" xmlns="" id="{AF815042-9B60-FF25-E6BD-A792104491DE}"/>
              </a:ext>
            </a:extLst>
          </p:cNvPr>
          <p:cNvSpPr/>
          <p:nvPr/>
        </p:nvSpPr>
        <p:spPr>
          <a:xfrm>
            <a:off x="3382277" y="5058873"/>
            <a:ext cx="766088" cy="4200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93" b="1" dirty="0">
                <a:solidFill>
                  <a:prstClr val="black"/>
                </a:solidFill>
              </a:rPr>
              <a:t>Data SKK yang </a:t>
            </a:r>
            <a:r>
              <a:rPr lang="en-US" sz="693" b="1" dirty="0" err="1">
                <a:solidFill>
                  <a:prstClr val="black"/>
                </a:solidFill>
              </a:rPr>
              <a:t>dimilki</a:t>
            </a:r>
            <a:endParaRPr lang="en-US" sz="693" b="1" dirty="0">
              <a:solidFill>
                <a:prstClr val="black"/>
              </a:solidFill>
            </a:endParaRPr>
          </a:p>
        </p:txBody>
      </p:sp>
      <p:sp>
        <p:nvSpPr>
          <p:cNvPr id="171" name="Flowchart: Magnetic Disk 170">
            <a:extLst>
              <a:ext uri="{FF2B5EF4-FFF2-40B4-BE49-F238E27FC236}">
                <a16:creationId xmlns:a16="http://schemas.microsoft.com/office/drawing/2014/main" xmlns="" id="{89F5F1C8-BCB5-6371-8D4B-0043A04793FE}"/>
              </a:ext>
            </a:extLst>
          </p:cNvPr>
          <p:cNvSpPr/>
          <p:nvPr/>
        </p:nvSpPr>
        <p:spPr>
          <a:xfrm>
            <a:off x="6674450" y="4055011"/>
            <a:ext cx="597487" cy="298196"/>
          </a:xfrm>
          <a:prstGeom prst="flowChartMagneticDisk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92" dirty="0">
                <a:solidFill>
                  <a:prstClr val="white"/>
                </a:solidFill>
              </a:rPr>
              <a:t>DB  LSP</a:t>
            </a:r>
            <a:endParaRPr lang="id-ID" sz="792" dirty="0">
              <a:solidFill>
                <a:prstClr val="white"/>
              </a:solidFill>
            </a:endParaRP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xmlns="" id="{3B2637A5-F111-CB2A-E1C0-996D08C66E7A}"/>
              </a:ext>
            </a:extLst>
          </p:cNvPr>
          <p:cNvSpPr/>
          <p:nvPr/>
        </p:nvSpPr>
        <p:spPr>
          <a:xfrm>
            <a:off x="6576445" y="4745503"/>
            <a:ext cx="766088" cy="26114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726" b="1" dirty="0">
                <a:solidFill>
                  <a:prstClr val="black"/>
                </a:solidFill>
              </a:rPr>
              <a:t>Daftar LSP </a:t>
            </a:r>
            <a:r>
              <a:rPr lang="en-US" sz="726" b="1" dirty="0" err="1">
                <a:solidFill>
                  <a:prstClr val="black"/>
                </a:solidFill>
              </a:rPr>
              <a:t>Terlisensi</a:t>
            </a:r>
            <a:endParaRPr lang="id-ID" sz="726" b="1" dirty="0">
              <a:solidFill>
                <a:prstClr val="black"/>
              </a:solidFill>
            </a:endParaRPr>
          </a:p>
        </p:txBody>
      </p:sp>
      <p:cxnSp>
        <p:nvCxnSpPr>
          <p:cNvPr id="173" name="Straight Arrow Connector 25">
            <a:extLst>
              <a:ext uri="{FF2B5EF4-FFF2-40B4-BE49-F238E27FC236}">
                <a16:creationId xmlns:a16="http://schemas.microsoft.com/office/drawing/2014/main" xmlns="" id="{75FD5A77-F900-5D27-93EE-D11CE7E941C6}"/>
              </a:ext>
            </a:extLst>
          </p:cNvPr>
          <p:cNvCxnSpPr>
            <a:cxnSpLocks/>
            <a:stCxn id="172" idx="0"/>
            <a:endCxn id="171" idx="3"/>
          </p:cNvCxnSpPr>
          <p:nvPr/>
        </p:nvCxnSpPr>
        <p:spPr>
          <a:xfrm flipV="1">
            <a:off x="6959491" y="4353207"/>
            <a:ext cx="13703" cy="392296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Rectangle 173">
            <a:extLst>
              <a:ext uri="{FF2B5EF4-FFF2-40B4-BE49-F238E27FC236}">
                <a16:creationId xmlns:a16="http://schemas.microsoft.com/office/drawing/2014/main" xmlns="" id="{85A9420C-D576-31BA-23DF-E9D253499D72}"/>
              </a:ext>
            </a:extLst>
          </p:cNvPr>
          <p:cNvSpPr/>
          <p:nvPr/>
        </p:nvSpPr>
        <p:spPr>
          <a:xfrm>
            <a:off x="6576445" y="5075518"/>
            <a:ext cx="766088" cy="42004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93" b="1" dirty="0">
                <a:solidFill>
                  <a:prstClr val="black"/>
                </a:solidFill>
              </a:rPr>
              <a:t>Data  LSP </a:t>
            </a:r>
            <a:r>
              <a:rPr lang="en-US" sz="693" b="1" dirty="0" err="1">
                <a:solidFill>
                  <a:prstClr val="black"/>
                </a:solidFill>
              </a:rPr>
              <a:t>Terlisensi</a:t>
            </a:r>
            <a:r>
              <a:rPr lang="en-US" sz="693" b="1" dirty="0">
                <a:solidFill>
                  <a:prstClr val="black"/>
                </a:solidFill>
              </a:rPr>
              <a:t> dan </a:t>
            </a:r>
            <a:r>
              <a:rPr lang="en-US" sz="693" b="1" dirty="0" err="1">
                <a:solidFill>
                  <a:prstClr val="black"/>
                </a:solidFill>
              </a:rPr>
              <a:t>beroperasi</a:t>
            </a:r>
            <a:r>
              <a:rPr lang="en-US" sz="693" b="1" dirty="0">
                <a:solidFill>
                  <a:prstClr val="black"/>
                </a:solidFill>
              </a:rPr>
              <a:t>/ </a:t>
            </a:r>
            <a:r>
              <a:rPr lang="en-US" sz="693" b="1" dirty="0" err="1">
                <a:solidFill>
                  <a:prstClr val="black"/>
                </a:solidFill>
              </a:rPr>
              <a:t>aktif</a:t>
            </a:r>
            <a:endParaRPr lang="en-US" sz="693" b="1" dirty="0">
              <a:solidFill>
                <a:prstClr val="black"/>
              </a:solidFill>
            </a:endParaRPr>
          </a:p>
        </p:txBody>
      </p:sp>
      <p:cxnSp>
        <p:nvCxnSpPr>
          <p:cNvPr id="175" name="Straight Arrow Connector 174">
            <a:extLst>
              <a:ext uri="{FF2B5EF4-FFF2-40B4-BE49-F238E27FC236}">
                <a16:creationId xmlns:a16="http://schemas.microsoft.com/office/drawing/2014/main" xmlns="" id="{5E1BAC9A-89A8-BDE1-9EE5-FD569CC1D442}"/>
              </a:ext>
            </a:extLst>
          </p:cNvPr>
          <p:cNvCxnSpPr>
            <a:cxnSpLocks/>
          </p:cNvCxnSpPr>
          <p:nvPr/>
        </p:nvCxnSpPr>
        <p:spPr>
          <a:xfrm>
            <a:off x="8038190" y="3467160"/>
            <a:ext cx="0" cy="599185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Arrow Connector 175">
            <a:extLst>
              <a:ext uri="{FF2B5EF4-FFF2-40B4-BE49-F238E27FC236}">
                <a16:creationId xmlns:a16="http://schemas.microsoft.com/office/drawing/2014/main" xmlns="" id="{DF4DC9E5-C173-9706-E919-CC4242917E5D}"/>
              </a:ext>
            </a:extLst>
          </p:cNvPr>
          <p:cNvCxnSpPr>
            <a:cxnSpLocks/>
          </p:cNvCxnSpPr>
          <p:nvPr/>
        </p:nvCxnSpPr>
        <p:spPr>
          <a:xfrm>
            <a:off x="3765321" y="3388216"/>
            <a:ext cx="0" cy="599185"/>
          </a:xfrm>
          <a:prstGeom prst="straightConnector1">
            <a:avLst/>
          </a:prstGeom>
          <a:ln w="38100">
            <a:solidFill>
              <a:schemeClr val="accent1">
                <a:lumMod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25">
            <a:extLst>
              <a:ext uri="{FF2B5EF4-FFF2-40B4-BE49-F238E27FC236}">
                <a16:creationId xmlns:a16="http://schemas.microsoft.com/office/drawing/2014/main" xmlns="" id="{B860949E-2F7D-F42E-2DF9-DD6B49AEDDC6}"/>
              </a:ext>
            </a:extLst>
          </p:cNvPr>
          <p:cNvCxnSpPr>
            <a:cxnSpLocks/>
          </p:cNvCxnSpPr>
          <p:nvPr/>
        </p:nvCxnSpPr>
        <p:spPr>
          <a:xfrm flipV="1">
            <a:off x="4132163" y="4190295"/>
            <a:ext cx="315080" cy="9598"/>
          </a:xfrm>
          <a:prstGeom prst="straightConnector1">
            <a:avLst/>
          </a:prstGeom>
          <a:solidFill>
            <a:schemeClr val="accent2"/>
          </a:solidFill>
          <a:ln w="38100"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E442D124-C543-367E-EFA1-93FB50574780}"/>
              </a:ext>
            </a:extLst>
          </p:cNvPr>
          <p:cNvSpPr txBox="1"/>
          <p:nvPr/>
        </p:nvSpPr>
        <p:spPr>
          <a:xfrm>
            <a:off x="7050949" y="1964939"/>
            <a:ext cx="56778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</a:rPr>
              <a:t>Status 10</a:t>
            </a:r>
            <a:endParaRPr lang="id-ID" sz="800" dirty="0">
              <a:solidFill>
                <a:srgbClr val="FF0000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42922201-2117-8BA6-62BE-7DB4CF1E6A56}"/>
              </a:ext>
            </a:extLst>
          </p:cNvPr>
          <p:cNvSpPr txBox="1"/>
          <p:nvPr/>
        </p:nvSpPr>
        <p:spPr>
          <a:xfrm>
            <a:off x="6036603" y="1558584"/>
            <a:ext cx="56778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</a:rPr>
              <a:t>Status 11</a:t>
            </a:r>
            <a:endParaRPr lang="id-ID" sz="800" dirty="0">
              <a:solidFill>
                <a:srgbClr val="FF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0ED5BC8E-ADFD-4B7B-DB3C-6C12C1640DA6}"/>
              </a:ext>
            </a:extLst>
          </p:cNvPr>
          <p:cNvSpPr txBox="1"/>
          <p:nvPr/>
        </p:nvSpPr>
        <p:spPr>
          <a:xfrm>
            <a:off x="5966820" y="2483605"/>
            <a:ext cx="50847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>
                <a:solidFill>
                  <a:srgbClr val="FF0000"/>
                </a:solidFill>
              </a:rPr>
              <a:t>Validasi</a:t>
            </a:r>
            <a:endParaRPr lang="id-ID" sz="800" dirty="0">
              <a:solidFill>
                <a:srgbClr val="FF0000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6554CD0F-DFBF-E2F6-1BC9-992B7F6DE824}"/>
              </a:ext>
            </a:extLst>
          </p:cNvPr>
          <p:cNvSpPr txBox="1"/>
          <p:nvPr/>
        </p:nvSpPr>
        <p:spPr>
          <a:xfrm>
            <a:off x="7439232" y="2501556"/>
            <a:ext cx="56778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</a:rPr>
              <a:t>Status 30</a:t>
            </a:r>
            <a:endParaRPr lang="id-ID" sz="800" dirty="0">
              <a:solidFill>
                <a:srgbClr val="FF0000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71F14093-C174-B669-B558-31FCA87E30B5}"/>
              </a:ext>
            </a:extLst>
          </p:cNvPr>
          <p:cNvSpPr txBox="1"/>
          <p:nvPr/>
        </p:nvSpPr>
        <p:spPr>
          <a:xfrm>
            <a:off x="8181417" y="2544499"/>
            <a:ext cx="56778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</a:rPr>
              <a:t>Status 31</a:t>
            </a:r>
            <a:endParaRPr lang="id-ID" sz="800" dirty="0">
              <a:solidFill>
                <a:srgbClr val="FF0000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F5EA360F-A4E0-B445-A989-7AD27B4411A3}"/>
              </a:ext>
            </a:extLst>
          </p:cNvPr>
          <p:cNvSpPr txBox="1"/>
          <p:nvPr/>
        </p:nvSpPr>
        <p:spPr>
          <a:xfrm>
            <a:off x="5541752" y="2772379"/>
            <a:ext cx="56778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</a:rPr>
              <a:t>Status 50</a:t>
            </a:r>
            <a:endParaRPr lang="id-ID" sz="800" dirty="0">
              <a:solidFill>
                <a:srgbClr val="FF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5F3A2FB1-2838-3DB6-5FB2-6DC6D132E8C8}"/>
              </a:ext>
            </a:extLst>
          </p:cNvPr>
          <p:cNvSpPr txBox="1"/>
          <p:nvPr/>
        </p:nvSpPr>
        <p:spPr>
          <a:xfrm>
            <a:off x="5958857" y="3076527"/>
            <a:ext cx="72327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</a:rPr>
              <a:t>Generate QR</a:t>
            </a:r>
            <a:endParaRPr lang="id-ID" sz="800" dirty="0">
              <a:solidFill>
                <a:srgbClr val="FF0000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6CEF8477-1663-7095-A409-B4C6F7312A1C}"/>
              </a:ext>
            </a:extLst>
          </p:cNvPr>
          <p:cNvSpPr txBox="1"/>
          <p:nvPr/>
        </p:nvSpPr>
        <p:spPr>
          <a:xfrm>
            <a:off x="9861393" y="2556935"/>
            <a:ext cx="56778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>
                <a:solidFill>
                  <a:srgbClr val="FF0000"/>
                </a:solidFill>
              </a:rPr>
              <a:t>Status 90</a:t>
            </a:r>
            <a:endParaRPr lang="id-ID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2389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611;p22">
            <a:extLst>
              <a:ext uri="{FF2B5EF4-FFF2-40B4-BE49-F238E27FC236}">
                <a16:creationId xmlns:a16="http://schemas.microsoft.com/office/drawing/2014/main" xmlns="" id="{39E37EE2-C3FE-0346-8621-68C4259F4550}"/>
              </a:ext>
            </a:extLst>
          </p:cNvPr>
          <p:cNvSpPr txBox="1">
            <a:spLocks/>
          </p:cNvSpPr>
          <p:nvPr/>
        </p:nvSpPr>
        <p:spPr>
          <a:xfrm>
            <a:off x="84873" y="-441896"/>
            <a:ext cx="10784873" cy="1071272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SAR HUKUM PKB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CD5244C7-6229-8049-B130-FCB5FCAB3584}"/>
              </a:ext>
            </a:extLst>
          </p:cNvPr>
          <p:cNvSpPr txBox="1">
            <a:spLocks/>
          </p:cNvSpPr>
          <p:nvPr/>
        </p:nvSpPr>
        <p:spPr>
          <a:xfrm>
            <a:off x="311284" y="1157986"/>
            <a:ext cx="10972800" cy="5321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asal 17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ayat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(3)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-Und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sar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945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-Und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39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08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Kementerian Negara (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08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66,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mb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4916)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-Und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17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Jas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onstruksi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(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17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1,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mb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6018)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-Und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1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Cipta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erja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(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45,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mb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573)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merintah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2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laksana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-Und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17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Jas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onstruksi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(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07,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mb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6494)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sebagaimana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lah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diubah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deng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merintah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4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1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b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atas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merintah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2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laksana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ndang-Und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17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Jas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onstruksi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(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1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4,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mb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6626)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reside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7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Kementerian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kerja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mum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m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Rakyat (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Lemba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40)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atur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Menteri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kerja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mum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m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Rakyat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13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entang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Organisasi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Tat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erja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Kementerian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kerja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mum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dan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umaha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Rakyat (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Berita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Negar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Republik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Indonesia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Tahun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2020 </a:t>
            </a:r>
            <a:r>
              <a:rPr kumimoji="0" lang="en-US" sz="16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Nomor</a:t>
            </a:r>
            <a:r>
              <a:rPr kumimoji="0" lang="en-US" sz="16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473);</a:t>
            </a:r>
          </a:p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aturan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Menteri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kerjaan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Umum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dan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umahan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Rakyat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Republik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Indonesia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Nomor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12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Tahun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2021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Tentang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laksanaan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ngembangan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eprofesian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kern="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Berkelanjutan</a:t>
            </a:r>
            <a:r>
              <a:rPr lang="en-US" sz="1600" b="1" i="1" kern="0" dirty="0">
                <a:solidFill>
                  <a:prstClr val="black"/>
                </a:solidFill>
                <a:latin typeface="Century Gothic" panose="020B0502020202020204" pitchFamily="34" charset="0"/>
              </a:rPr>
              <a:t>.</a:t>
            </a:r>
            <a:endParaRPr kumimoji="0" lang="en-US" sz="16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sym typeface="Quattrocento Sans"/>
            </a:endParaRPr>
          </a:p>
        </p:txBody>
      </p:sp>
      <p:sp>
        <p:nvSpPr>
          <p:cNvPr id="13" name="Round Same Side Corner Rectangle 1">
            <a:extLst>
              <a:ext uri="{FF2B5EF4-FFF2-40B4-BE49-F238E27FC236}">
                <a16:creationId xmlns:a16="http://schemas.microsoft.com/office/drawing/2014/main" xmlns="" id="{E25C8D31-BD46-40A6-9A29-1DB5DD35C035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 descr="lgo sigap.png">
            <a:extLst>
              <a:ext uri="{FF2B5EF4-FFF2-40B4-BE49-F238E27FC236}">
                <a16:creationId xmlns:a16="http://schemas.microsoft.com/office/drawing/2014/main" xmlns="" id="{7FF223A2-9223-4FB7-A52B-ECC2D6704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9584" y="2685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16877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611;p22">
            <a:extLst>
              <a:ext uri="{FF2B5EF4-FFF2-40B4-BE49-F238E27FC236}">
                <a16:creationId xmlns:a16="http://schemas.microsoft.com/office/drawing/2014/main" xmlns="" id="{39E37EE2-C3FE-0346-8621-68C4259F4550}"/>
              </a:ext>
            </a:extLst>
          </p:cNvPr>
          <p:cNvSpPr txBox="1">
            <a:spLocks/>
          </p:cNvSpPr>
          <p:nvPr/>
        </p:nvSpPr>
        <p:spPr>
          <a:xfrm>
            <a:off x="84873" y="-441896"/>
            <a:ext cx="10784873" cy="1071272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ASAR HUKUM </a:t>
            </a:r>
            <a:r>
              <a:rPr lang="en-US" sz="3200" b="1" dirty="0">
                <a:solidFill>
                  <a:srgbClr val="4472C4">
                    <a:lumMod val="50000"/>
                  </a:srgbClr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KB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CD5244C7-6229-8049-B130-FCB5FCAB3584}"/>
              </a:ext>
            </a:extLst>
          </p:cNvPr>
          <p:cNvSpPr txBox="1">
            <a:spLocks/>
          </p:cNvSpPr>
          <p:nvPr/>
        </p:nvSpPr>
        <p:spPr>
          <a:xfrm>
            <a:off x="272374" y="1293235"/>
            <a:ext cx="10972800" cy="53215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333375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sym typeface="Quattrocento Sans"/>
            </a:endParaRPr>
          </a:p>
        </p:txBody>
      </p:sp>
      <p:sp>
        <p:nvSpPr>
          <p:cNvPr id="13" name="Round Same Side Corner Rectangle 1">
            <a:extLst>
              <a:ext uri="{FF2B5EF4-FFF2-40B4-BE49-F238E27FC236}">
                <a16:creationId xmlns:a16="http://schemas.microsoft.com/office/drawing/2014/main" xmlns="" id="{E25C8D31-BD46-40A6-9A29-1DB5DD35C035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 descr="lgo sigap.png">
            <a:extLst>
              <a:ext uri="{FF2B5EF4-FFF2-40B4-BE49-F238E27FC236}">
                <a16:creationId xmlns:a16="http://schemas.microsoft.com/office/drawing/2014/main" xmlns="" id="{7FF223A2-9223-4FB7-A52B-ECC2D6704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9584" y="2685"/>
            <a:ext cx="2877879" cy="1109585"/>
          </a:xfrm>
          <a:prstGeom prst="rect">
            <a:avLst/>
          </a:prstGeom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xmlns="" id="{9B06EF52-DDC2-1603-CB5A-B641D6CADCC1}"/>
              </a:ext>
            </a:extLst>
          </p:cNvPr>
          <p:cNvSpPr/>
          <p:nvPr/>
        </p:nvSpPr>
        <p:spPr>
          <a:xfrm>
            <a:off x="4572001" y="3615372"/>
            <a:ext cx="7081736" cy="2841020"/>
          </a:xfrm>
          <a:prstGeom prst="rightArrow">
            <a:avLst/>
          </a:prstGeom>
        </p:spPr>
        <p:style>
          <a:lnRef idx="2">
            <a:schemeClr val="accent6">
              <a:shade val="15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sv-SE" sz="18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Kegiatan PKB adalah kegiatan memelihara dan meningkatkan kompetensi, profesionalitas, dan produktivitas tenaga kerja kualifikasi jabatan ahli.</a:t>
            </a:r>
            <a:endParaRPr kumimoji="0" lang="en-US" sz="18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sym typeface="Quattrocento Sans"/>
            </a:endParaRPr>
          </a:p>
          <a:p>
            <a:pPr algn="ctr"/>
            <a:endParaRPr lang="en-ID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xmlns="" id="{B460AB14-F240-13CB-DDB2-DF8D4D8E1021}"/>
              </a:ext>
            </a:extLst>
          </p:cNvPr>
          <p:cNvSpPr/>
          <p:nvPr/>
        </p:nvSpPr>
        <p:spPr>
          <a:xfrm>
            <a:off x="538263" y="1809344"/>
            <a:ext cx="7603787" cy="1922759"/>
          </a:xfrm>
          <a:prstGeom prst="roundRect">
            <a:avLst/>
          </a:prstGeom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Pengembangan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Keprofesian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Berkelanjutan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yang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selanjutnya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disingkat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PKB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adalah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upaya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memelihara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dan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meningkatkan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kompetensi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,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profesionalitas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, dan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produktivitas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tenaga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kerja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kualifikasi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jabatan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ahli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secara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 </a:t>
            </a:r>
            <a:r>
              <a:rPr lang="en-ID" b="1" i="1" dirty="0" err="1">
                <a:solidFill>
                  <a:srgbClr val="00297A"/>
                </a:solidFill>
                <a:latin typeface="Century Gothic" panose="020B0502020202020204" pitchFamily="34" charset="0"/>
              </a:rPr>
              <a:t>berkesinambungan</a:t>
            </a:r>
            <a:r>
              <a:rPr lang="en-ID" b="1" i="1" dirty="0">
                <a:solidFill>
                  <a:srgbClr val="00297A"/>
                </a:solidFill>
                <a:latin typeface="Century Gothic" panose="020B0502020202020204" pitchFamily="34" charset="0"/>
              </a:rPr>
              <a:t>.</a:t>
            </a:r>
          </a:p>
          <a:p>
            <a:pPr algn="ctr"/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7495542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611;p22">
            <a:extLst>
              <a:ext uri="{FF2B5EF4-FFF2-40B4-BE49-F238E27FC236}">
                <a16:creationId xmlns:a16="http://schemas.microsoft.com/office/drawing/2014/main" xmlns="" id="{39E37EE2-C3FE-0346-8621-68C4259F4550}"/>
              </a:ext>
            </a:extLst>
          </p:cNvPr>
          <p:cNvSpPr txBox="1">
            <a:spLocks/>
          </p:cNvSpPr>
          <p:nvPr/>
        </p:nvSpPr>
        <p:spPr>
          <a:xfrm>
            <a:off x="84873" y="-441896"/>
            <a:ext cx="10784873" cy="1071272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UGAS &amp; FUNGSI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LPJK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CD5244C7-6229-8049-B130-FCB5FCAB3584}"/>
              </a:ext>
            </a:extLst>
          </p:cNvPr>
          <p:cNvSpPr txBox="1">
            <a:spLocks/>
          </p:cNvSpPr>
          <p:nvPr/>
        </p:nvSpPr>
        <p:spPr>
          <a:xfrm>
            <a:off x="176914" y="447061"/>
            <a:ext cx="4921257" cy="58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3pPr>
            <a:lvl4pPr marL="1828800" marR="0" lvl="3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4pPr>
            <a:lvl5pPr marL="2286000" marR="0" lvl="4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5pPr>
            <a:lvl6pPr marL="2743200" marR="0" lvl="5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6pPr>
            <a:lvl7pPr marL="3200400" marR="0" lvl="6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7pPr>
            <a:lvl8pPr marL="3657600" marR="0" lvl="7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8pPr>
            <a:lvl9pPr marL="4114800" marR="0" lvl="8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9pPr>
          </a:lstStyle>
          <a:p>
            <a:pPr marL="47625" marR="0" lvl="0" indent="28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sesuai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UU No 2/2017, PP No 22/2020</a:t>
            </a:r>
          </a:p>
          <a:p>
            <a:pPr marL="47625" marR="0" lvl="0" indent="28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UU No 11/2020 dan </a:t>
            </a:r>
            <a:r>
              <a:rPr kumimoji="0" lang="en-US" sz="12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ermen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 PUPR No 9/2020</a:t>
            </a:r>
          </a:p>
          <a:p>
            <a:pPr marL="47625" marR="0" lvl="0" indent="28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sym typeface="Quattrocento Sans"/>
              </a:rPr>
              <a:t>PP No 14/2021</a:t>
            </a:r>
          </a:p>
        </p:txBody>
      </p:sp>
      <p:sp>
        <p:nvSpPr>
          <p:cNvPr id="13" name="Round Same Side Corner Rectangle 1">
            <a:extLst>
              <a:ext uri="{FF2B5EF4-FFF2-40B4-BE49-F238E27FC236}">
                <a16:creationId xmlns:a16="http://schemas.microsoft.com/office/drawing/2014/main" xmlns="" id="{E25C8D31-BD46-40A6-9A29-1DB5DD35C035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 descr="lgo sigap.png">
            <a:extLst>
              <a:ext uri="{FF2B5EF4-FFF2-40B4-BE49-F238E27FC236}">
                <a16:creationId xmlns:a16="http://schemas.microsoft.com/office/drawing/2014/main" xmlns="" id="{7FF223A2-9223-4FB7-A52B-ECC2D6704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9584" y="2685"/>
            <a:ext cx="2877879" cy="1109585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xmlns="" id="{8F0FFBED-FBD3-4313-AA9E-14D3CC2D9EA9}"/>
              </a:ext>
            </a:extLst>
          </p:cNvPr>
          <p:cNvSpPr/>
          <p:nvPr/>
        </p:nvSpPr>
        <p:spPr>
          <a:xfrm>
            <a:off x="626672" y="3068320"/>
            <a:ext cx="2243906" cy="721360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50000"/>
                  <a:shade val="30000"/>
                  <a:satMod val="115000"/>
                </a:schemeClr>
              </a:gs>
              <a:gs pos="50000">
                <a:schemeClr val="accent4">
                  <a:lumMod val="50000"/>
                  <a:shade val="67500"/>
                  <a:satMod val="115000"/>
                </a:schemeClr>
              </a:gs>
              <a:gs pos="100000">
                <a:schemeClr val="accent4">
                  <a:lumMod val="50000"/>
                  <a:shade val="100000"/>
                  <a:satMod val="115000"/>
                </a:schemeClr>
              </a:gs>
            </a:gsLst>
            <a:lin ang="0" scaled="1"/>
            <a:tileRect/>
          </a:gradFill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ksanakan Tugas lain yang diberikan oleh Menteri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xmlns="" id="{CFD49093-1C10-4468-8FDA-D2BB280167CC}"/>
              </a:ext>
            </a:extLst>
          </p:cNvPr>
          <p:cNvCxnSpPr>
            <a:cxnSpLocks/>
          </p:cNvCxnSpPr>
          <p:nvPr/>
        </p:nvCxnSpPr>
        <p:spPr>
          <a:xfrm flipH="1" flipV="1">
            <a:off x="2851151" y="3578225"/>
            <a:ext cx="2675889" cy="28575"/>
          </a:xfrm>
          <a:prstGeom prst="straightConnector1">
            <a:avLst/>
          </a:prstGeom>
          <a:ln w="285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5C14730-3684-4979-8838-41B382DE9AD4}"/>
              </a:ext>
            </a:extLst>
          </p:cNvPr>
          <p:cNvSpPr txBox="1"/>
          <p:nvPr/>
        </p:nvSpPr>
        <p:spPr>
          <a:xfrm>
            <a:off x="597493" y="3865334"/>
            <a:ext cx="2307042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L="47625" marR="0" lvl="0" indent="2857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tabLst/>
              <a:defRPr kumimoji="0" sz="1200" b="1" i="1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Quattrocento Sans"/>
                <a:cs typeface="Quattrocento Sans"/>
              </a:defRPr>
            </a:lvl1pPr>
            <a:lvl2pPr marL="914400" marR="0" lvl="1" indent="-355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</a:defRPr>
            </a:lvl2pPr>
            <a:lvl3pPr marL="1371600" marR="0" lvl="2" indent="-355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0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</a:defRPr>
            </a:lvl3pPr>
            <a:lvl4pPr marL="1828800" marR="0" lvl="3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</a:defRPr>
            </a:lvl4pPr>
            <a:lvl5pPr marL="2286000" marR="0" lvl="4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</a:defRPr>
            </a:lvl5pPr>
            <a:lvl6pPr marL="2743200" marR="0" lvl="5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</a:defRPr>
            </a:lvl6pPr>
            <a:lvl7pPr marL="3200400" marR="0" lvl="6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</a:defRPr>
            </a:lvl7pPr>
            <a:lvl8pPr marL="3657600" marR="0" lvl="7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</a:defRPr>
            </a:lvl8pPr>
            <a:lvl9pPr marL="4114800" marR="0" lvl="8" indent="-3429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1800"/>
              <a:buFont typeface="Quattrocento Sans"/>
              <a:buNone/>
              <a:defRPr sz="1867" b="0" i="0" u="none" strike="noStrike" cap="none">
                <a:solidFill>
                  <a:srgbClr val="000000"/>
                </a:solidFill>
                <a:latin typeface="Quattrocento Sans"/>
                <a:ea typeface="Quattrocento Sans"/>
                <a:cs typeface="Quattrocento Sans"/>
              </a:defRPr>
            </a:lvl9pPr>
          </a:lstStyle>
          <a:p>
            <a:pPr marL="47625" marR="0" lvl="0" indent="285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0"/>
              </a:buClr>
              <a:buSzPts val="2400"/>
              <a:buFont typeface="Quattrocento Sans"/>
              <a:buNone/>
              <a:tabLst/>
              <a:defRPr/>
            </a:pPr>
            <a:r>
              <a:rPr kumimoji="0" lang="en-US" sz="1200" b="1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Berdasarkan</a:t>
            </a:r>
            <a:r>
              <a:rPr kumimoji="0" lang="en-US" sz="12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</a:rPr>
              <a:t> PP No.14/2021</a:t>
            </a:r>
          </a:p>
        </p:txBody>
      </p:sp>
      <p:grpSp>
        <p:nvGrpSpPr>
          <p:cNvPr id="4" name="Group 4">
            <a:extLst>
              <a:ext uri="{FF2B5EF4-FFF2-40B4-BE49-F238E27FC236}">
                <a16:creationId xmlns:a16="http://schemas.microsoft.com/office/drawing/2014/main" xmlns="" id="{F42FFA7A-D4CB-4630-A916-0AE940750B5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87426" y="593725"/>
            <a:ext cx="10361613" cy="6189662"/>
            <a:chOff x="622" y="374"/>
            <a:chExt cx="6527" cy="3899"/>
          </a:xfrm>
        </p:grpSpPr>
        <p:grpSp>
          <p:nvGrpSpPr>
            <p:cNvPr id="8" name="Group 205">
              <a:extLst>
                <a:ext uri="{FF2B5EF4-FFF2-40B4-BE49-F238E27FC236}">
                  <a16:creationId xmlns:a16="http://schemas.microsoft.com/office/drawing/2014/main" xmlns="" id="{3E28B9E0-EBB9-4C00-903A-A99008FE10E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8" y="374"/>
              <a:ext cx="5781" cy="3899"/>
              <a:chOff x="818" y="374"/>
              <a:chExt cx="5781" cy="3899"/>
            </a:xfrm>
          </p:grpSpPr>
          <p:sp>
            <p:nvSpPr>
              <p:cNvPr id="198" name="Freeform 5">
                <a:extLst>
                  <a:ext uri="{FF2B5EF4-FFF2-40B4-BE49-F238E27FC236}">
                    <a16:creationId xmlns:a16="http://schemas.microsoft.com/office/drawing/2014/main" xmlns="" id="{D6CE89BA-B250-4157-8F79-39C5D140D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1917"/>
                <a:ext cx="1354" cy="438"/>
              </a:xfrm>
              <a:custGeom>
                <a:avLst/>
                <a:gdLst>
                  <a:gd name="T0" fmla="*/ 0 w 2306"/>
                  <a:gd name="T1" fmla="*/ 373 h 746"/>
                  <a:gd name="T2" fmla="*/ 0 w 2306"/>
                  <a:gd name="T3" fmla="*/ 373 h 746"/>
                  <a:gd name="T4" fmla="*/ 373 w 2306"/>
                  <a:gd name="T5" fmla="*/ 0 h 746"/>
                  <a:gd name="T6" fmla="*/ 1933 w 2306"/>
                  <a:gd name="T7" fmla="*/ 0 h 746"/>
                  <a:gd name="T8" fmla="*/ 2306 w 2306"/>
                  <a:gd name="T9" fmla="*/ 373 h 746"/>
                  <a:gd name="T10" fmla="*/ 2306 w 2306"/>
                  <a:gd name="T11" fmla="*/ 373 h 746"/>
                  <a:gd name="T12" fmla="*/ 1933 w 2306"/>
                  <a:gd name="T13" fmla="*/ 746 h 746"/>
                  <a:gd name="T14" fmla="*/ 373 w 2306"/>
                  <a:gd name="T15" fmla="*/ 746 h 746"/>
                  <a:gd name="T16" fmla="*/ 0 w 2306"/>
                  <a:gd name="T17" fmla="*/ 373 h 746"/>
                  <a:gd name="T18" fmla="*/ 0 w 2306"/>
                  <a:gd name="T19" fmla="*/ 373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06" h="746">
                    <a:moveTo>
                      <a:pt x="0" y="373"/>
                    </a:moveTo>
                    <a:lnTo>
                      <a:pt x="0" y="373"/>
                    </a:lnTo>
                    <a:cubicBezTo>
                      <a:pt x="0" y="167"/>
                      <a:pt x="167" y="0"/>
                      <a:pt x="373" y="0"/>
                    </a:cubicBezTo>
                    <a:lnTo>
                      <a:pt x="1933" y="0"/>
                    </a:lnTo>
                    <a:cubicBezTo>
                      <a:pt x="2139" y="0"/>
                      <a:pt x="2306" y="167"/>
                      <a:pt x="2306" y="373"/>
                    </a:cubicBezTo>
                    <a:lnTo>
                      <a:pt x="2306" y="373"/>
                    </a:lnTo>
                    <a:cubicBezTo>
                      <a:pt x="2306" y="579"/>
                      <a:pt x="2139" y="746"/>
                      <a:pt x="1933" y="746"/>
                    </a:cubicBezTo>
                    <a:lnTo>
                      <a:pt x="373" y="746"/>
                    </a:lnTo>
                    <a:cubicBezTo>
                      <a:pt x="167" y="746"/>
                      <a:pt x="0" y="579"/>
                      <a:pt x="0" y="373"/>
                    </a:cubicBezTo>
                    <a:lnTo>
                      <a:pt x="0" y="373"/>
                    </a:lnTo>
                    <a:close/>
                  </a:path>
                </a:pathLst>
              </a:custGeom>
              <a:solidFill>
                <a:srgbClr val="1D2F58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9" name="Freeform 6">
                <a:extLst>
                  <a:ext uri="{FF2B5EF4-FFF2-40B4-BE49-F238E27FC236}">
                    <a16:creationId xmlns:a16="http://schemas.microsoft.com/office/drawing/2014/main" xmlns="" id="{C4F64B96-1EB6-4AA8-B49B-C2C192C2BA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76" y="1917"/>
                <a:ext cx="1354" cy="438"/>
              </a:xfrm>
              <a:custGeom>
                <a:avLst/>
                <a:gdLst>
                  <a:gd name="T0" fmla="*/ 0 w 2306"/>
                  <a:gd name="T1" fmla="*/ 373 h 746"/>
                  <a:gd name="T2" fmla="*/ 0 w 2306"/>
                  <a:gd name="T3" fmla="*/ 373 h 746"/>
                  <a:gd name="T4" fmla="*/ 373 w 2306"/>
                  <a:gd name="T5" fmla="*/ 0 h 746"/>
                  <a:gd name="T6" fmla="*/ 1933 w 2306"/>
                  <a:gd name="T7" fmla="*/ 0 h 746"/>
                  <a:gd name="T8" fmla="*/ 2306 w 2306"/>
                  <a:gd name="T9" fmla="*/ 373 h 746"/>
                  <a:gd name="T10" fmla="*/ 2306 w 2306"/>
                  <a:gd name="T11" fmla="*/ 373 h 746"/>
                  <a:gd name="T12" fmla="*/ 1933 w 2306"/>
                  <a:gd name="T13" fmla="*/ 746 h 746"/>
                  <a:gd name="T14" fmla="*/ 373 w 2306"/>
                  <a:gd name="T15" fmla="*/ 746 h 746"/>
                  <a:gd name="T16" fmla="*/ 0 w 2306"/>
                  <a:gd name="T17" fmla="*/ 373 h 746"/>
                  <a:gd name="T18" fmla="*/ 0 w 2306"/>
                  <a:gd name="T19" fmla="*/ 373 h 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06" h="746">
                    <a:moveTo>
                      <a:pt x="0" y="373"/>
                    </a:moveTo>
                    <a:lnTo>
                      <a:pt x="0" y="373"/>
                    </a:lnTo>
                    <a:cubicBezTo>
                      <a:pt x="0" y="167"/>
                      <a:pt x="167" y="0"/>
                      <a:pt x="373" y="0"/>
                    </a:cubicBezTo>
                    <a:lnTo>
                      <a:pt x="1933" y="0"/>
                    </a:lnTo>
                    <a:cubicBezTo>
                      <a:pt x="2139" y="0"/>
                      <a:pt x="2306" y="167"/>
                      <a:pt x="2306" y="373"/>
                    </a:cubicBezTo>
                    <a:lnTo>
                      <a:pt x="2306" y="373"/>
                    </a:lnTo>
                    <a:cubicBezTo>
                      <a:pt x="2306" y="579"/>
                      <a:pt x="2139" y="746"/>
                      <a:pt x="1933" y="746"/>
                    </a:cubicBezTo>
                    <a:lnTo>
                      <a:pt x="373" y="746"/>
                    </a:lnTo>
                    <a:cubicBezTo>
                      <a:pt x="167" y="746"/>
                      <a:pt x="0" y="579"/>
                      <a:pt x="0" y="373"/>
                    </a:cubicBezTo>
                    <a:lnTo>
                      <a:pt x="0" y="373"/>
                    </a:lnTo>
                    <a:close/>
                  </a:path>
                </a:pathLst>
              </a:custGeom>
              <a:noFill/>
              <a:ln w="12700" cap="flat">
                <a:solidFill>
                  <a:srgbClr val="00206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0" name="Rectangle 7">
                <a:extLst>
                  <a:ext uri="{FF2B5EF4-FFF2-40B4-BE49-F238E27FC236}">
                    <a16:creationId xmlns:a16="http://schemas.microsoft.com/office/drawing/2014/main" xmlns="" id="{09584734-6F48-44EB-B1F5-DA3F6282E0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0" y="2006"/>
                <a:ext cx="333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27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LP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" name="Rectangle 8">
                <a:extLst>
                  <a:ext uri="{FF2B5EF4-FFF2-40B4-BE49-F238E27FC236}">
                    <a16:creationId xmlns:a16="http://schemas.microsoft.com/office/drawing/2014/main" xmlns="" id="{48E7977C-ABD3-43F7-A31E-156A77B90A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39" y="2006"/>
                <a:ext cx="217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27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J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" name="Rectangle 9">
                <a:extLst>
                  <a:ext uri="{FF2B5EF4-FFF2-40B4-BE49-F238E27FC236}">
                    <a16:creationId xmlns:a16="http://schemas.microsoft.com/office/drawing/2014/main" xmlns="" id="{8F996C61-8A0C-4ED4-91C1-0F1D1DEAC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41" y="2006"/>
                <a:ext cx="248" cy="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27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" name="Freeform 10">
                <a:extLst>
                  <a:ext uri="{FF2B5EF4-FFF2-40B4-BE49-F238E27FC236}">
                    <a16:creationId xmlns:a16="http://schemas.microsoft.com/office/drawing/2014/main" xmlns="" id="{87D8D225-2FE1-4603-A5E5-53F30E04B4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" y="1576"/>
                <a:ext cx="1050" cy="447"/>
              </a:xfrm>
              <a:custGeom>
                <a:avLst/>
                <a:gdLst>
                  <a:gd name="T0" fmla="*/ 0 w 1787"/>
                  <a:gd name="T1" fmla="*/ 380 h 760"/>
                  <a:gd name="T2" fmla="*/ 0 w 1787"/>
                  <a:gd name="T3" fmla="*/ 380 h 760"/>
                  <a:gd name="T4" fmla="*/ 381 w 1787"/>
                  <a:gd name="T5" fmla="*/ 0 h 760"/>
                  <a:gd name="T6" fmla="*/ 1407 w 1787"/>
                  <a:gd name="T7" fmla="*/ 0 h 760"/>
                  <a:gd name="T8" fmla="*/ 1787 w 1787"/>
                  <a:gd name="T9" fmla="*/ 380 h 760"/>
                  <a:gd name="T10" fmla="*/ 1787 w 1787"/>
                  <a:gd name="T11" fmla="*/ 380 h 760"/>
                  <a:gd name="T12" fmla="*/ 1407 w 1787"/>
                  <a:gd name="T13" fmla="*/ 760 h 760"/>
                  <a:gd name="T14" fmla="*/ 381 w 1787"/>
                  <a:gd name="T15" fmla="*/ 760 h 760"/>
                  <a:gd name="T16" fmla="*/ 0 w 1787"/>
                  <a:gd name="T17" fmla="*/ 379 h 760"/>
                  <a:gd name="T18" fmla="*/ 0 w 1787"/>
                  <a:gd name="T19" fmla="*/ 38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87" h="760"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170"/>
                      <a:pt x="171" y="0"/>
                      <a:pt x="381" y="0"/>
                    </a:cubicBezTo>
                    <a:lnTo>
                      <a:pt x="1407" y="0"/>
                    </a:lnTo>
                    <a:cubicBezTo>
                      <a:pt x="1617" y="0"/>
                      <a:pt x="1787" y="170"/>
                      <a:pt x="1787" y="380"/>
                    </a:cubicBezTo>
                    <a:lnTo>
                      <a:pt x="1787" y="380"/>
                    </a:lnTo>
                    <a:cubicBezTo>
                      <a:pt x="1787" y="589"/>
                      <a:pt x="1617" y="760"/>
                      <a:pt x="1407" y="760"/>
                    </a:cubicBezTo>
                    <a:lnTo>
                      <a:pt x="381" y="760"/>
                    </a:lnTo>
                    <a:cubicBezTo>
                      <a:pt x="171" y="760"/>
                      <a:pt x="0" y="589"/>
                      <a:pt x="0" y="379"/>
                    </a:cubicBezTo>
                    <a:lnTo>
                      <a:pt x="0" y="380"/>
                    </a:lnTo>
                    <a:close/>
                  </a:path>
                </a:pathLst>
              </a:custGeom>
              <a:solidFill>
                <a:srgbClr val="FAB11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4" name="Freeform 11">
                <a:extLst>
                  <a:ext uri="{FF2B5EF4-FFF2-40B4-BE49-F238E27FC236}">
                    <a16:creationId xmlns:a16="http://schemas.microsoft.com/office/drawing/2014/main" xmlns="" id="{55B527E2-485A-4678-80AA-FB92E6C8E7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4" y="1576"/>
                <a:ext cx="1050" cy="447"/>
              </a:xfrm>
              <a:custGeom>
                <a:avLst/>
                <a:gdLst>
                  <a:gd name="T0" fmla="*/ 0 w 1787"/>
                  <a:gd name="T1" fmla="*/ 380 h 760"/>
                  <a:gd name="T2" fmla="*/ 0 w 1787"/>
                  <a:gd name="T3" fmla="*/ 380 h 760"/>
                  <a:gd name="T4" fmla="*/ 381 w 1787"/>
                  <a:gd name="T5" fmla="*/ 0 h 760"/>
                  <a:gd name="T6" fmla="*/ 1407 w 1787"/>
                  <a:gd name="T7" fmla="*/ 0 h 760"/>
                  <a:gd name="T8" fmla="*/ 1787 w 1787"/>
                  <a:gd name="T9" fmla="*/ 380 h 760"/>
                  <a:gd name="T10" fmla="*/ 1787 w 1787"/>
                  <a:gd name="T11" fmla="*/ 380 h 760"/>
                  <a:gd name="T12" fmla="*/ 1407 w 1787"/>
                  <a:gd name="T13" fmla="*/ 760 h 760"/>
                  <a:gd name="T14" fmla="*/ 381 w 1787"/>
                  <a:gd name="T15" fmla="*/ 760 h 760"/>
                  <a:gd name="T16" fmla="*/ 0 w 1787"/>
                  <a:gd name="T17" fmla="*/ 379 h 760"/>
                  <a:gd name="T18" fmla="*/ 0 w 1787"/>
                  <a:gd name="T19" fmla="*/ 38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87" h="760"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170"/>
                      <a:pt x="171" y="0"/>
                      <a:pt x="381" y="0"/>
                    </a:cubicBezTo>
                    <a:lnTo>
                      <a:pt x="1407" y="0"/>
                    </a:lnTo>
                    <a:cubicBezTo>
                      <a:pt x="1617" y="0"/>
                      <a:pt x="1787" y="170"/>
                      <a:pt x="1787" y="380"/>
                    </a:cubicBezTo>
                    <a:lnTo>
                      <a:pt x="1787" y="380"/>
                    </a:lnTo>
                    <a:cubicBezTo>
                      <a:pt x="1787" y="589"/>
                      <a:pt x="1617" y="760"/>
                      <a:pt x="1407" y="760"/>
                    </a:cubicBezTo>
                    <a:lnTo>
                      <a:pt x="381" y="760"/>
                    </a:lnTo>
                    <a:cubicBezTo>
                      <a:pt x="171" y="760"/>
                      <a:pt x="0" y="589"/>
                      <a:pt x="0" y="379"/>
                    </a:cubicBezTo>
                    <a:lnTo>
                      <a:pt x="0" y="380"/>
                    </a:lnTo>
                    <a:close/>
                  </a:path>
                </a:pathLst>
              </a:custGeom>
              <a:noFill/>
              <a:ln w="23813" cap="flat">
                <a:solidFill>
                  <a:srgbClr val="FFC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5" name="Rectangle 12">
                <a:extLst>
                  <a:ext uri="{FF2B5EF4-FFF2-40B4-BE49-F238E27FC236}">
                    <a16:creationId xmlns:a16="http://schemas.microsoft.com/office/drawing/2014/main" xmlns="" id="{C0885ADE-5310-4828-8BD0-84215B70AF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02" y="1726"/>
                <a:ext cx="203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R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6" name="Rectangle 13">
                <a:extLst>
                  <a:ext uri="{FF2B5EF4-FFF2-40B4-BE49-F238E27FC236}">
                    <a16:creationId xmlns:a16="http://schemas.microsoft.com/office/drawing/2014/main" xmlns="" id="{94322358-C873-4032-BD56-D3D53CFD63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6" y="1726"/>
                <a:ext cx="170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G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7" name="Rectangle 14">
                <a:extLst>
                  <a:ext uri="{FF2B5EF4-FFF2-40B4-BE49-F238E27FC236}">
                    <a16:creationId xmlns:a16="http://schemas.microsoft.com/office/drawing/2014/main" xmlns="" id="{AEFAEB90-76FE-4D4E-AF4A-391EB589CF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7" y="1726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8" name="Rectangle 15">
                <a:extLst>
                  <a:ext uri="{FF2B5EF4-FFF2-40B4-BE49-F238E27FC236}">
                    <a16:creationId xmlns:a16="http://schemas.microsoft.com/office/drawing/2014/main" xmlns="" id="{38041A3E-D870-4B62-BF28-54D8F7D11B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69" y="1726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9" name="Rectangle 16">
                <a:extLst>
                  <a:ext uri="{FF2B5EF4-FFF2-40B4-BE49-F238E27FC236}">
                    <a16:creationId xmlns:a16="http://schemas.microsoft.com/office/drawing/2014/main" xmlns="" id="{C2E5F01A-D3BE-49D3-AEAC-37E7446899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1" y="1726"/>
                <a:ext cx="11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T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0" name="Rectangle 17">
                <a:extLst>
                  <a:ext uri="{FF2B5EF4-FFF2-40B4-BE49-F238E27FC236}">
                    <a16:creationId xmlns:a16="http://schemas.microsoft.com/office/drawing/2014/main" xmlns="" id="{846FFACA-8465-4941-AEDA-082600BBB8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86" y="1726"/>
                <a:ext cx="231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R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1" name="Rectangle 18">
                <a:extLst>
                  <a:ext uri="{FF2B5EF4-FFF2-40B4-BE49-F238E27FC236}">
                    <a16:creationId xmlns:a16="http://schemas.microsoft.com/office/drawing/2014/main" xmlns="" id="{815138C6-247F-49C7-BD2A-B21988337F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1" y="1726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" name="Rectangle 19">
                <a:extLst>
                  <a:ext uri="{FF2B5EF4-FFF2-40B4-BE49-F238E27FC236}">
                    <a16:creationId xmlns:a16="http://schemas.microsoft.com/office/drawing/2014/main" xmlns="" id="{6D0675A0-7908-4C9F-BB77-0892B2FA1C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13" y="1726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3" name="Freeform 20">
                <a:extLst>
                  <a:ext uri="{FF2B5EF4-FFF2-40B4-BE49-F238E27FC236}">
                    <a16:creationId xmlns:a16="http://schemas.microsoft.com/office/drawing/2014/main" xmlns="" id="{4BB6BE63-AAB7-46A7-BD39-3EB60A8595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2" y="1145"/>
                <a:ext cx="1434" cy="447"/>
              </a:xfrm>
              <a:custGeom>
                <a:avLst/>
                <a:gdLst>
                  <a:gd name="T0" fmla="*/ 0 w 2441"/>
                  <a:gd name="T1" fmla="*/ 380 h 760"/>
                  <a:gd name="T2" fmla="*/ 0 w 2441"/>
                  <a:gd name="T3" fmla="*/ 380 h 760"/>
                  <a:gd name="T4" fmla="*/ 381 w 2441"/>
                  <a:gd name="T5" fmla="*/ 0 h 760"/>
                  <a:gd name="T6" fmla="*/ 2061 w 2441"/>
                  <a:gd name="T7" fmla="*/ 0 h 760"/>
                  <a:gd name="T8" fmla="*/ 2441 w 2441"/>
                  <a:gd name="T9" fmla="*/ 380 h 760"/>
                  <a:gd name="T10" fmla="*/ 2440 w 2441"/>
                  <a:gd name="T11" fmla="*/ 380 h 760"/>
                  <a:gd name="T12" fmla="*/ 2060 w 2441"/>
                  <a:gd name="T13" fmla="*/ 760 h 760"/>
                  <a:gd name="T14" fmla="*/ 381 w 2441"/>
                  <a:gd name="T15" fmla="*/ 760 h 760"/>
                  <a:gd name="T16" fmla="*/ 0 w 2441"/>
                  <a:gd name="T17" fmla="*/ 380 h 760"/>
                  <a:gd name="T18" fmla="*/ 0 w 2441"/>
                  <a:gd name="T19" fmla="*/ 38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1" h="760"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170"/>
                      <a:pt x="171" y="0"/>
                      <a:pt x="381" y="0"/>
                    </a:cubicBezTo>
                    <a:lnTo>
                      <a:pt x="2061" y="0"/>
                    </a:lnTo>
                    <a:cubicBezTo>
                      <a:pt x="2270" y="0"/>
                      <a:pt x="2441" y="170"/>
                      <a:pt x="2441" y="380"/>
                    </a:cubicBezTo>
                    <a:lnTo>
                      <a:pt x="2440" y="380"/>
                    </a:lnTo>
                    <a:cubicBezTo>
                      <a:pt x="2440" y="590"/>
                      <a:pt x="2270" y="760"/>
                      <a:pt x="2060" y="760"/>
                    </a:cubicBezTo>
                    <a:lnTo>
                      <a:pt x="381" y="760"/>
                    </a:lnTo>
                    <a:cubicBezTo>
                      <a:pt x="171" y="760"/>
                      <a:pt x="0" y="590"/>
                      <a:pt x="0" y="380"/>
                    </a:cubicBezTo>
                    <a:lnTo>
                      <a:pt x="0" y="380"/>
                    </a:lnTo>
                    <a:close/>
                  </a:path>
                </a:pathLst>
              </a:custGeom>
              <a:solidFill>
                <a:srgbClr val="FFF2CC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4" name="Freeform 21">
                <a:extLst>
                  <a:ext uri="{FF2B5EF4-FFF2-40B4-BE49-F238E27FC236}">
                    <a16:creationId xmlns:a16="http://schemas.microsoft.com/office/drawing/2014/main" xmlns="" id="{F342298A-1D9C-457A-9736-13D66C66F5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2" y="1145"/>
                <a:ext cx="1434" cy="447"/>
              </a:xfrm>
              <a:custGeom>
                <a:avLst/>
                <a:gdLst>
                  <a:gd name="T0" fmla="*/ 0 w 2441"/>
                  <a:gd name="T1" fmla="*/ 380 h 760"/>
                  <a:gd name="T2" fmla="*/ 0 w 2441"/>
                  <a:gd name="T3" fmla="*/ 380 h 760"/>
                  <a:gd name="T4" fmla="*/ 381 w 2441"/>
                  <a:gd name="T5" fmla="*/ 0 h 760"/>
                  <a:gd name="T6" fmla="*/ 2061 w 2441"/>
                  <a:gd name="T7" fmla="*/ 0 h 760"/>
                  <a:gd name="T8" fmla="*/ 2441 w 2441"/>
                  <a:gd name="T9" fmla="*/ 380 h 760"/>
                  <a:gd name="T10" fmla="*/ 2440 w 2441"/>
                  <a:gd name="T11" fmla="*/ 380 h 760"/>
                  <a:gd name="T12" fmla="*/ 2060 w 2441"/>
                  <a:gd name="T13" fmla="*/ 760 h 760"/>
                  <a:gd name="T14" fmla="*/ 381 w 2441"/>
                  <a:gd name="T15" fmla="*/ 760 h 760"/>
                  <a:gd name="T16" fmla="*/ 0 w 2441"/>
                  <a:gd name="T17" fmla="*/ 380 h 760"/>
                  <a:gd name="T18" fmla="*/ 0 w 2441"/>
                  <a:gd name="T19" fmla="*/ 38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41" h="760"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170"/>
                      <a:pt x="171" y="0"/>
                      <a:pt x="381" y="0"/>
                    </a:cubicBezTo>
                    <a:lnTo>
                      <a:pt x="2061" y="0"/>
                    </a:lnTo>
                    <a:cubicBezTo>
                      <a:pt x="2270" y="0"/>
                      <a:pt x="2441" y="170"/>
                      <a:pt x="2441" y="380"/>
                    </a:cubicBezTo>
                    <a:lnTo>
                      <a:pt x="2440" y="380"/>
                    </a:lnTo>
                    <a:cubicBezTo>
                      <a:pt x="2440" y="590"/>
                      <a:pt x="2270" y="760"/>
                      <a:pt x="2060" y="760"/>
                    </a:cubicBezTo>
                    <a:lnTo>
                      <a:pt x="381" y="760"/>
                    </a:lnTo>
                    <a:cubicBezTo>
                      <a:pt x="171" y="760"/>
                      <a:pt x="0" y="590"/>
                      <a:pt x="0" y="380"/>
                    </a:cubicBezTo>
                    <a:lnTo>
                      <a:pt x="0" y="380"/>
                    </a:lnTo>
                    <a:close/>
                  </a:path>
                </a:pathLst>
              </a:custGeom>
              <a:solidFill>
                <a:srgbClr val="FAB11B"/>
              </a:solidFill>
              <a:ln w="23813" cap="flat">
                <a:solidFill>
                  <a:srgbClr val="FFC000"/>
                </a:solidFill>
                <a:prstDash val="solid"/>
                <a:miter lim="800000"/>
                <a:headEnd/>
                <a:tailEnd/>
              </a:ln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5" name="Rectangle 22">
                <a:extLst>
                  <a:ext uri="{FF2B5EF4-FFF2-40B4-BE49-F238E27FC236}">
                    <a16:creationId xmlns:a16="http://schemas.microsoft.com/office/drawing/2014/main" xmlns="" id="{D72A3646-5B60-4FD4-A2A1-4C1CBE7B5A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2" y="1299"/>
                <a:ext cx="23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" name="Rectangle 23">
                <a:extLst>
                  <a:ext uri="{FF2B5EF4-FFF2-40B4-BE49-F238E27FC236}">
                    <a16:creationId xmlns:a16="http://schemas.microsoft.com/office/drawing/2014/main" xmlns="" id="{D0B6D827-4F51-420C-9E04-6D2094345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4" y="1299"/>
                <a:ext cx="13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R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7" name="Rectangle 24">
                <a:extLst>
                  <a:ext uri="{FF2B5EF4-FFF2-40B4-BE49-F238E27FC236}">
                    <a16:creationId xmlns:a16="http://schemas.microsoft.com/office/drawing/2014/main" xmlns="" id="{D34DB806-8A03-4763-8A10-B6A8C7B714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4" y="1299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8" name="Rectangle 25">
                <a:extLst>
                  <a:ext uri="{FF2B5EF4-FFF2-40B4-BE49-F238E27FC236}">
                    <a16:creationId xmlns:a16="http://schemas.microsoft.com/office/drawing/2014/main" xmlns="" id="{4EA76D1C-AD93-4304-9608-D7312AE928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17" y="1299"/>
                <a:ext cx="152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D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9" name="Rectangle 26">
                <a:extLst>
                  <a:ext uri="{FF2B5EF4-FFF2-40B4-BE49-F238E27FC236}">
                    <a16:creationId xmlns:a16="http://schemas.microsoft.com/office/drawing/2014/main" xmlns="" id="{FD2AF40F-D6E2-4518-BFC2-43C10E988B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3" y="1299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0" name="Rectangle 27">
                <a:extLst>
                  <a:ext uri="{FF2B5EF4-FFF2-40B4-BE49-F238E27FC236}">
                    <a16:creationId xmlns:a16="http://schemas.microsoft.com/office/drawing/2014/main" xmlns="" id="{15F374D9-1367-48FB-8C08-6D18E61DBE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35" y="1299"/>
                <a:ext cx="11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T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1" name="Rectangle 28">
                <a:extLst>
                  <a:ext uri="{FF2B5EF4-FFF2-40B4-BE49-F238E27FC236}">
                    <a16:creationId xmlns:a16="http://schemas.microsoft.com/office/drawing/2014/main" xmlns="" id="{24AE7B83-BD35-4FE3-AF37-E71D9CDDB6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89" y="1299"/>
                <a:ext cx="224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S</a:t>
                </a:r>
                <a:endParaRPr kumimoji="0" lang="en-US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2" name="Rectangle 29">
                <a:extLst>
                  <a:ext uri="{FF2B5EF4-FFF2-40B4-BE49-F238E27FC236}">
                    <a16:creationId xmlns:a16="http://schemas.microsoft.com/office/drawing/2014/main" xmlns="" id="{8F7829BF-08A3-4EF5-9797-54DB838D1B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46" y="1299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3" name="Freeform 30">
                <a:extLst>
                  <a:ext uri="{FF2B5EF4-FFF2-40B4-BE49-F238E27FC236}">
                    <a16:creationId xmlns:a16="http://schemas.microsoft.com/office/drawing/2014/main" xmlns="" id="{DED73C01-44B7-4EBB-A43B-837B812D78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0" y="1380"/>
                <a:ext cx="1441" cy="455"/>
              </a:xfrm>
              <a:custGeom>
                <a:avLst/>
                <a:gdLst>
                  <a:gd name="T0" fmla="*/ 0 w 2453"/>
                  <a:gd name="T1" fmla="*/ 367 h 774"/>
                  <a:gd name="T2" fmla="*/ 0 w 2453"/>
                  <a:gd name="T3" fmla="*/ 367 h 774"/>
                  <a:gd name="T4" fmla="*/ 367 w 2453"/>
                  <a:gd name="T5" fmla="*/ 0 h 774"/>
                  <a:gd name="T6" fmla="*/ 2086 w 2453"/>
                  <a:gd name="T7" fmla="*/ 0 h 774"/>
                  <a:gd name="T8" fmla="*/ 2453 w 2453"/>
                  <a:gd name="T9" fmla="*/ 367 h 774"/>
                  <a:gd name="T10" fmla="*/ 2453 w 2453"/>
                  <a:gd name="T11" fmla="*/ 406 h 774"/>
                  <a:gd name="T12" fmla="*/ 2086 w 2453"/>
                  <a:gd name="T13" fmla="*/ 774 h 774"/>
                  <a:gd name="T14" fmla="*/ 367 w 2453"/>
                  <a:gd name="T15" fmla="*/ 774 h 774"/>
                  <a:gd name="T16" fmla="*/ 0 w 2453"/>
                  <a:gd name="T17" fmla="*/ 406 h 774"/>
                  <a:gd name="T18" fmla="*/ 0 w 2453"/>
                  <a:gd name="T19" fmla="*/ 367 h 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53" h="774">
                    <a:moveTo>
                      <a:pt x="0" y="367"/>
                    </a:moveTo>
                    <a:lnTo>
                      <a:pt x="0" y="367"/>
                    </a:lnTo>
                    <a:cubicBezTo>
                      <a:pt x="0" y="165"/>
                      <a:pt x="165" y="0"/>
                      <a:pt x="367" y="0"/>
                    </a:cubicBezTo>
                    <a:lnTo>
                      <a:pt x="2086" y="0"/>
                    </a:lnTo>
                    <a:cubicBezTo>
                      <a:pt x="2289" y="0"/>
                      <a:pt x="2453" y="165"/>
                      <a:pt x="2453" y="367"/>
                    </a:cubicBezTo>
                    <a:lnTo>
                      <a:pt x="2453" y="406"/>
                    </a:lnTo>
                    <a:cubicBezTo>
                      <a:pt x="2453" y="609"/>
                      <a:pt x="2289" y="774"/>
                      <a:pt x="2086" y="774"/>
                    </a:cubicBezTo>
                    <a:lnTo>
                      <a:pt x="367" y="774"/>
                    </a:lnTo>
                    <a:cubicBezTo>
                      <a:pt x="165" y="774"/>
                      <a:pt x="0" y="609"/>
                      <a:pt x="0" y="406"/>
                    </a:cubicBezTo>
                    <a:lnTo>
                      <a:pt x="0" y="367"/>
                    </a:lnTo>
                    <a:close/>
                  </a:path>
                </a:pathLst>
              </a:custGeom>
              <a:solidFill>
                <a:srgbClr val="FAB11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4" name="Freeform 31">
                <a:extLst>
                  <a:ext uri="{FF2B5EF4-FFF2-40B4-BE49-F238E27FC236}">
                    <a16:creationId xmlns:a16="http://schemas.microsoft.com/office/drawing/2014/main" xmlns="" id="{9FEBC541-9751-4462-8CEA-3C59DC2CB1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0" y="1380"/>
                <a:ext cx="1441" cy="455"/>
              </a:xfrm>
              <a:custGeom>
                <a:avLst/>
                <a:gdLst>
                  <a:gd name="T0" fmla="*/ 0 w 2453"/>
                  <a:gd name="T1" fmla="*/ 367 h 774"/>
                  <a:gd name="T2" fmla="*/ 0 w 2453"/>
                  <a:gd name="T3" fmla="*/ 367 h 774"/>
                  <a:gd name="T4" fmla="*/ 367 w 2453"/>
                  <a:gd name="T5" fmla="*/ 0 h 774"/>
                  <a:gd name="T6" fmla="*/ 2086 w 2453"/>
                  <a:gd name="T7" fmla="*/ 0 h 774"/>
                  <a:gd name="T8" fmla="*/ 2453 w 2453"/>
                  <a:gd name="T9" fmla="*/ 367 h 774"/>
                  <a:gd name="T10" fmla="*/ 2453 w 2453"/>
                  <a:gd name="T11" fmla="*/ 406 h 774"/>
                  <a:gd name="T12" fmla="*/ 2086 w 2453"/>
                  <a:gd name="T13" fmla="*/ 774 h 774"/>
                  <a:gd name="T14" fmla="*/ 367 w 2453"/>
                  <a:gd name="T15" fmla="*/ 774 h 774"/>
                  <a:gd name="T16" fmla="*/ 0 w 2453"/>
                  <a:gd name="T17" fmla="*/ 406 h 774"/>
                  <a:gd name="T18" fmla="*/ 0 w 2453"/>
                  <a:gd name="T19" fmla="*/ 367 h 7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53" h="774">
                    <a:moveTo>
                      <a:pt x="0" y="367"/>
                    </a:moveTo>
                    <a:lnTo>
                      <a:pt x="0" y="367"/>
                    </a:lnTo>
                    <a:cubicBezTo>
                      <a:pt x="0" y="165"/>
                      <a:pt x="165" y="0"/>
                      <a:pt x="367" y="0"/>
                    </a:cubicBezTo>
                    <a:lnTo>
                      <a:pt x="2086" y="0"/>
                    </a:lnTo>
                    <a:cubicBezTo>
                      <a:pt x="2289" y="0"/>
                      <a:pt x="2453" y="165"/>
                      <a:pt x="2453" y="367"/>
                    </a:cubicBezTo>
                    <a:lnTo>
                      <a:pt x="2453" y="406"/>
                    </a:lnTo>
                    <a:cubicBezTo>
                      <a:pt x="2453" y="609"/>
                      <a:pt x="2289" y="774"/>
                      <a:pt x="2086" y="774"/>
                    </a:cubicBezTo>
                    <a:lnTo>
                      <a:pt x="367" y="774"/>
                    </a:lnTo>
                    <a:cubicBezTo>
                      <a:pt x="165" y="774"/>
                      <a:pt x="0" y="609"/>
                      <a:pt x="0" y="406"/>
                    </a:cubicBezTo>
                    <a:lnTo>
                      <a:pt x="0" y="367"/>
                    </a:lnTo>
                    <a:close/>
                  </a:path>
                </a:pathLst>
              </a:custGeom>
              <a:noFill/>
              <a:ln w="23813" cap="flat">
                <a:solidFill>
                  <a:srgbClr val="FFC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25" name="Rectangle 32">
                <a:extLst>
                  <a:ext uri="{FF2B5EF4-FFF2-40B4-BE49-F238E27FC236}">
                    <a16:creationId xmlns:a16="http://schemas.microsoft.com/office/drawing/2014/main" xmlns="" id="{3111ED99-15FA-4651-A3BD-A28DBEC181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9" y="1536"/>
                <a:ext cx="155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L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6" name="Rectangle 33">
                <a:extLst>
                  <a:ext uri="{FF2B5EF4-FFF2-40B4-BE49-F238E27FC236}">
                    <a16:creationId xmlns:a16="http://schemas.microsoft.com/office/drawing/2014/main" xmlns="" id="{B028AFDC-52E6-407C-B73C-5108355C59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5" y="1536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7" name="Rectangle 34">
                <a:extLst>
                  <a:ext uri="{FF2B5EF4-FFF2-40B4-BE49-F238E27FC236}">
                    <a16:creationId xmlns:a16="http://schemas.microsoft.com/office/drawing/2014/main" xmlns="" id="{8F3B0588-E2F0-470E-8A22-0488B7201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08" y="1536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8" name="Rectangle 35">
                <a:extLst>
                  <a:ext uri="{FF2B5EF4-FFF2-40B4-BE49-F238E27FC236}">
                    <a16:creationId xmlns:a16="http://schemas.microsoft.com/office/drawing/2014/main" xmlns="" id="{92C4DBF3-3F76-426A-8FF0-7BA908FD90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1" y="1536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9" name="Rectangle 36">
                <a:extLst>
                  <a:ext uri="{FF2B5EF4-FFF2-40B4-BE49-F238E27FC236}">
                    <a16:creationId xmlns:a16="http://schemas.microsoft.com/office/drawing/2014/main" xmlns="" id="{485BEBBF-F463-45B3-9CEE-BC45133FED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65" y="1536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0" name="Rectangle 37">
                <a:extLst>
                  <a:ext uri="{FF2B5EF4-FFF2-40B4-BE49-F238E27FC236}">
                    <a16:creationId xmlns:a16="http://schemas.microsoft.com/office/drawing/2014/main" xmlns="" id="{B9058A89-0C49-450D-B878-D3E9B6433D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27" y="1536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1" name="Freeform 38">
                <a:extLst>
                  <a:ext uri="{FF2B5EF4-FFF2-40B4-BE49-F238E27FC236}">
                    <a16:creationId xmlns:a16="http://schemas.microsoft.com/office/drawing/2014/main" xmlns="" id="{E33E6658-B9F7-4A68-8BF9-27615A142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2" y="2790"/>
                <a:ext cx="1677" cy="447"/>
              </a:xfrm>
              <a:custGeom>
                <a:avLst/>
                <a:gdLst>
                  <a:gd name="T0" fmla="*/ 0 w 2854"/>
                  <a:gd name="T1" fmla="*/ 380 h 760"/>
                  <a:gd name="T2" fmla="*/ 0 w 2854"/>
                  <a:gd name="T3" fmla="*/ 380 h 760"/>
                  <a:gd name="T4" fmla="*/ 380 w 2854"/>
                  <a:gd name="T5" fmla="*/ 0 h 760"/>
                  <a:gd name="T6" fmla="*/ 2474 w 2854"/>
                  <a:gd name="T7" fmla="*/ 0 h 760"/>
                  <a:gd name="T8" fmla="*/ 2854 w 2854"/>
                  <a:gd name="T9" fmla="*/ 380 h 760"/>
                  <a:gd name="T10" fmla="*/ 2853 w 2854"/>
                  <a:gd name="T11" fmla="*/ 380 h 760"/>
                  <a:gd name="T12" fmla="*/ 2473 w 2854"/>
                  <a:gd name="T13" fmla="*/ 760 h 760"/>
                  <a:gd name="T14" fmla="*/ 380 w 2854"/>
                  <a:gd name="T15" fmla="*/ 760 h 760"/>
                  <a:gd name="T16" fmla="*/ 0 w 2854"/>
                  <a:gd name="T17" fmla="*/ 380 h 760"/>
                  <a:gd name="T18" fmla="*/ 0 w 2854"/>
                  <a:gd name="T19" fmla="*/ 38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54" h="760"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170"/>
                      <a:pt x="170" y="0"/>
                      <a:pt x="380" y="0"/>
                    </a:cubicBezTo>
                    <a:lnTo>
                      <a:pt x="2474" y="0"/>
                    </a:lnTo>
                    <a:cubicBezTo>
                      <a:pt x="2683" y="0"/>
                      <a:pt x="2854" y="170"/>
                      <a:pt x="2854" y="380"/>
                    </a:cubicBezTo>
                    <a:lnTo>
                      <a:pt x="2853" y="380"/>
                    </a:lnTo>
                    <a:cubicBezTo>
                      <a:pt x="2853" y="590"/>
                      <a:pt x="2683" y="760"/>
                      <a:pt x="2473" y="760"/>
                    </a:cubicBezTo>
                    <a:lnTo>
                      <a:pt x="380" y="760"/>
                    </a:lnTo>
                    <a:cubicBezTo>
                      <a:pt x="170" y="760"/>
                      <a:pt x="0" y="590"/>
                      <a:pt x="0" y="380"/>
                    </a:cubicBezTo>
                    <a:lnTo>
                      <a:pt x="0" y="380"/>
                    </a:lnTo>
                    <a:close/>
                  </a:path>
                </a:pathLst>
              </a:custGeom>
              <a:solidFill>
                <a:srgbClr val="FAB11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2" name="Freeform 39">
                <a:extLst>
                  <a:ext uri="{FF2B5EF4-FFF2-40B4-BE49-F238E27FC236}">
                    <a16:creationId xmlns:a16="http://schemas.microsoft.com/office/drawing/2014/main" xmlns="" id="{DF92A00F-AF1B-4D5B-8371-640E8AEDA8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2" y="2790"/>
                <a:ext cx="1677" cy="447"/>
              </a:xfrm>
              <a:custGeom>
                <a:avLst/>
                <a:gdLst>
                  <a:gd name="T0" fmla="*/ 0 w 2854"/>
                  <a:gd name="T1" fmla="*/ 380 h 760"/>
                  <a:gd name="T2" fmla="*/ 0 w 2854"/>
                  <a:gd name="T3" fmla="*/ 380 h 760"/>
                  <a:gd name="T4" fmla="*/ 380 w 2854"/>
                  <a:gd name="T5" fmla="*/ 0 h 760"/>
                  <a:gd name="T6" fmla="*/ 2474 w 2854"/>
                  <a:gd name="T7" fmla="*/ 0 h 760"/>
                  <a:gd name="T8" fmla="*/ 2854 w 2854"/>
                  <a:gd name="T9" fmla="*/ 380 h 760"/>
                  <a:gd name="T10" fmla="*/ 2853 w 2854"/>
                  <a:gd name="T11" fmla="*/ 380 h 760"/>
                  <a:gd name="T12" fmla="*/ 2473 w 2854"/>
                  <a:gd name="T13" fmla="*/ 760 h 760"/>
                  <a:gd name="T14" fmla="*/ 380 w 2854"/>
                  <a:gd name="T15" fmla="*/ 760 h 760"/>
                  <a:gd name="T16" fmla="*/ 0 w 2854"/>
                  <a:gd name="T17" fmla="*/ 380 h 760"/>
                  <a:gd name="T18" fmla="*/ 0 w 2854"/>
                  <a:gd name="T19" fmla="*/ 38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54" h="760"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170"/>
                      <a:pt x="170" y="0"/>
                      <a:pt x="380" y="0"/>
                    </a:cubicBezTo>
                    <a:lnTo>
                      <a:pt x="2474" y="0"/>
                    </a:lnTo>
                    <a:cubicBezTo>
                      <a:pt x="2683" y="0"/>
                      <a:pt x="2854" y="170"/>
                      <a:pt x="2854" y="380"/>
                    </a:cubicBezTo>
                    <a:lnTo>
                      <a:pt x="2853" y="380"/>
                    </a:lnTo>
                    <a:cubicBezTo>
                      <a:pt x="2853" y="590"/>
                      <a:pt x="2683" y="760"/>
                      <a:pt x="2473" y="760"/>
                    </a:cubicBezTo>
                    <a:lnTo>
                      <a:pt x="380" y="760"/>
                    </a:lnTo>
                    <a:cubicBezTo>
                      <a:pt x="170" y="760"/>
                      <a:pt x="0" y="590"/>
                      <a:pt x="0" y="380"/>
                    </a:cubicBezTo>
                    <a:lnTo>
                      <a:pt x="0" y="380"/>
                    </a:lnTo>
                    <a:close/>
                  </a:path>
                </a:pathLst>
              </a:custGeom>
              <a:noFill/>
              <a:ln w="23813" cap="flat">
                <a:solidFill>
                  <a:srgbClr val="FFC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33" name="Rectangle 40">
                <a:extLst>
                  <a:ext uri="{FF2B5EF4-FFF2-40B4-BE49-F238E27FC236}">
                    <a16:creationId xmlns:a16="http://schemas.microsoft.com/office/drawing/2014/main" xmlns="" id="{E7376F71-55F4-4647-B33C-CB96D92AC60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3" y="2865"/>
                <a:ext cx="202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P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4" name="Rectangle 41">
                <a:extLst>
                  <a:ext uri="{FF2B5EF4-FFF2-40B4-BE49-F238E27FC236}">
                    <a16:creationId xmlns:a16="http://schemas.microsoft.com/office/drawing/2014/main" xmlns="" id="{47010E8B-F5EC-4CEE-A681-8C8A19FCFC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56" y="2865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5" name="Rectangle 42">
                <a:extLst>
                  <a:ext uri="{FF2B5EF4-FFF2-40B4-BE49-F238E27FC236}">
                    <a16:creationId xmlns:a16="http://schemas.microsoft.com/office/drawing/2014/main" xmlns="" id="{FCC20D79-1CB3-4121-9BE0-C62B87507E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0" y="2865"/>
                <a:ext cx="141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Y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6" name="Rectangle 43">
                <a:extLst>
                  <a:ext uri="{FF2B5EF4-FFF2-40B4-BE49-F238E27FC236}">
                    <a16:creationId xmlns:a16="http://schemas.microsoft.com/office/drawing/2014/main" xmlns="" id="{46C1B9C2-736A-4CF0-9A11-51BD0C0EF7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29" y="2865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7" name="Rectangle 44">
                <a:extLst>
                  <a:ext uri="{FF2B5EF4-FFF2-40B4-BE49-F238E27FC236}">
                    <a16:creationId xmlns:a16="http://schemas.microsoft.com/office/drawing/2014/main" xmlns="" id="{0EFED4D0-4143-4EF1-B376-73FF00C26D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1" y="2865"/>
                <a:ext cx="11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T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8" name="Rectangle 45">
                <a:extLst>
                  <a:ext uri="{FF2B5EF4-FFF2-40B4-BE49-F238E27FC236}">
                    <a16:creationId xmlns:a16="http://schemas.microsoft.com/office/drawing/2014/main" xmlns="" id="{ED38244F-8699-4795-9147-C5F013DFF6F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46" y="2865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9" name="Rectangle 46">
                <a:extLst>
                  <a:ext uri="{FF2B5EF4-FFF2-40B4-BE49-F238E27FC236}">
                    <a16:creationId xmlns:a16="http://schemas.microsoft.com/office/drawing/2014/main" xmlns="" id="{E2E28D39-E422-400F-8CBD-215CDE80B9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0" y="2865"/>
                <a:ext cx="13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R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0" name="Rectangle 47">
                <a:extLst>
                  <a:ext uri="{FF2B5EF4-FFF2-40B4-BE49-F238E27FC236}">
                    <a16:creationId xmlns:a16="http://schemas.microsoft.com/office/drawing/2014/main" xmlns="" id="{076F727B-8798-4E2F-82DC-7166F53B34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1" y="2865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1" name="Rectangle 48">
                <a:extLst>
                  <a:ext uri="{FF2B5EF4-FFF2-40B4-BE49-F238E27FC236}">
                    <a16:creationId xmlns:a16="http://schemas.microsoft.com/office/drawing/2014/main" xmlns="" id="{034EBABB-5AAF-4942-AE5F-E16C9BFC81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5" y="2865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2" name="Rectangle 49">
                <a:extLst>
                  <a:ext uri="{FF2B5EF4-FFF2-40B4-BE49-F238E27FC236}">
                    <a16:creationId xmlns:a16="http://schemas.microsoft.com/office/drawing/2014/main" xmlns="" id="{A30D5B3A-967A-4513-882A-7458854B3A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99" y="2865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3" name="Rectangle 50">
                <a:extLst>
                  <a:ext uri="{FF2B5EF4-FFF2-40B4-BE49-F238E27FC236}">
                    <a16:creationId xmlns:a16="http://schemas.microsoft.com/office/drawing/2014/main" xmlns="" id="{54507A6E-7AF6-4E92-BEF6-F1BE4CDAD8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96" y="3014"/>
                <a:ext cx="183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T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4" name="Rectangle 51">
                <a:extLst>
                  <a:ext uri="{FF2B5EF4-FFF2-40B4-BE49-F238E27FC236}">
                    <a16:creationId xmlns:a16="http://schemas.microsoft.com/office/drawing/2014/main" xmlns="" id="{955E27BB-FF62-4E71-ABF9-34AD1C85BB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14" y="3014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5" name="Rectangle 52">
                <a:extLst>
                  <a:ext uri="{FF2B5EF4-FFF2-40B4-BE49-F238E27FC236}">
                    <a16:creationId xmlns:a16="http://schemas.microsoft.com/office/drawing/2014/main" xmlns="" id="{E165C7A0-AFEC-48AD-AD62-481C9908A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08" y="3014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6" name="Rectangle 53">
                <a:extLst>
                  <a:ext uri="{FF2B5EF4-FFF2-40B4-BE49-F238E27FC236}">
                    <a16:creationId xmlns:a16="http://schemas.microsoft.com/office/drawing/2014/main" xmlns="" id="{C5CECDD8-32B4-4D36-9971-1C6228EC81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01" y="3014"/>
                <a:ext cx="170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G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7" name="Rectangle 54">
                <a:extLst>
                  <a:ext uri="{FF2B5EF4-FFF2-40B4-BE49-F238E27FC236}">
                    <a16:creationId xmlns:a16="http://schemas.microsoft.com/office/drawing/2014/main" xmlns="" id="{6ED49EC1-F0CE-487F-AC91-FD650671EC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03" y="3014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8" name="Rectangle 55">
                <a:extLst>
                  <a:ext uri="{FF2B5EF4-FFF2-40B4-BE49-F238E27FC236}">
                    <a16:creationId xmlns:a16="http://schemas.microsoft.com/office/drawing/2014/main" xmlns="" id="{0DDA898B-CF9A-495F-ADF7-77F6AF9746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7" y="3014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 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9" name="Rectangle 56">
                <a:extLst>
                  <a:ext uri="{FF2B5EF4-FFF2-40B4-BE49-F238E27FC236}">
                    <a16:creationId xmlns:a16="http://schemas.microsoft.com/office/drawing/2014/main" xmlns="" id="{2510224E-4C7E-4D02-B221-8B12612773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37" y="3014"/>
                <a:ext cx="20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K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0" name="Rectangle 57">
                <a:extLst>
                  <a:ext uri="{FF2B5EF4-FFF2-40B4-BE49-F238E27FC236}">
                    <a16:creationId xmlns:a16="http://schemas.microsoft.com/office/drawing/2014/main" xmlns="" id="{12A1245E-0E15-412D-9AA4-C6BD1D4692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78" y="3014"/>
                <a:ext cx="13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R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1" name="Rectangle 58">
                <a:extLst>
                  <a:ext uri="{FF2B5EF4-FFF2-40B4-BE49-F238E27FC236}">
                    <a16:creationId xmlns:a16="http://schemas.microsoft.com/office/drawing/2014/main" xmlns="" id="{0BEA561A-0BFC-4CB5-97C9-ED823CEDEB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48" y="3014"/>
                <a:ext cx="123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J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2" name="Rectangle 59">
                <a:extLst>
                  <a:ext uri="{FF2B5EF4-FFF2-40B4-BE49-F238E27FC236}">
                    <a16:creationId xmlns:a16="http://schemas.microsoft.com/office/drawing/2014/main" xmlns="" id="{D9D0AC38-2B0D-45D9-AB3E-E04C08999B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10" y="3014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3" name="Rectangle 60">
                <a:extLst>
                  <a:ext uri="{FF2B5EF4-FFF2-40B4-BE49-F238E27FC236}">
                    <a16:creationId xmlns:a16="http://schemas.microsoft.com/office/drawing/2014/main" xmlns="" id="{2A036D8F-E5F3-46E5-84E4-148D4CEC03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4" y="3014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 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4" name="Rectangle 61">
                <a:extLst>
                  <a:ext uri="{FF2B5EF4-FFF2-40B4-BE49-F238E27FC236}">
                    <a16:creationId xmlns:a16="http://schemas.microsoft.com/office/drawing/2014/main" xmlns="" id="{394E4434-114A-4DAA-9B73-C6B2E297AE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36" y="3014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5" name="Rectangle 62">
                <a:extLst>
                  <a:ext uri="{FF2B5EF4-FFF2-40B4-BE49-F238E27FC236}">
                    <a16:creationId xmlns:a16="http://schemas.microsoft.com/office/drawing/2014/main" xmlns="" id="{D84A3446-82C4-4E14-A9CF-6960E25406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30" y="3014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6" name="Rectangle 63">
                <a:extLst>
                  <a:ext uri="{FF2B5EF4-FFF2-40B4-BE49-F238E27FC236}">
                    <a16:creationId xmlns:a16="http://schemas.microsoft.com/office/drawing/2014/main" xmlns="" id="{C18A9221-B97E-41C4-AC45-4575D2FE01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92" y="3014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7" name="Rectangle 64">
                <a:extLst>
                  <a:ext uri="{FF2B5EF4-FFF2-40B4-BE49-F238E27FC236}">
                    <a16:creationId xmlns:a16="http://schemas.microsoft.com/office/drawing/2014/main" xmlns="" id="{488609C0-55FA-46DF-A4B1-41712918F0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24" y="3014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8" name="Rectangle 65">
                <a:extLst>
                  <a:ext uri="{FF2B5EF4-FFF2-40B4-BE49-F238E27FC236}">
                    <a16:creationId xmlns:a16="http://schemas.microsoft.com/office/drawing/2014/main" xmlns="" id="{2D76311E-3B33-435A-8BBD-2C0933B045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8" y="3014"/>
                <a:ext cx="170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G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9" name="Freeform 66">
                <a:extLst>
                  <a:ext uri="{FF2B5EF4-FFF2-40B4-BE49-F238E27FC236}">
                    <a16:creationId xmlns:a16="http://schemas.microsoft.com/office/drawing/2014/main" xmlns="" id="{034BBD9D-2668-419C-998B-9364445BDE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" y="3002"/>
                <a:ext cx="1293" cy="384"/>
              </a:xfrm>
              <a:custGeom>
                <a:avLst/>
                <a:gdLst>
                  <a:gd name="T0" fmla="*/ 0 w 2201"/>
                  <a:gd name="T1" fmla="*/ 327 h 654"/>
                  <a:gd name="T2" fmla="*/ 0 w 2201"/>
                  <a:gd name="T3" fmla="*/ 327 h 654"/>
                  <a:gd name="T4" fmla="*/ 327 w 2201"/>
                  <a:gd name="T5" fmla="*/ 0 h 654"/>
                  <a:gd name="T6" fmla="*/ 1874 w 2201"/>
                  <a:gd name="T7" fmla="*/ 0 h 654"/>
                  <a:gd name="T8" fmla="*/ 2201 w 2201"/>
                  <a:gd name="T9" fmla="*/ 327 h 654"/>
                  <a:gd name="T10" fmla="*/ 2200 w 2201"/>
                  <a:gd name="T11" fmla="*/ 327 h 654"/>
                  <a:gd name="T12" fmla="*/ 1874 w 2201"/>
                  <a:gd name="T13" fmla="*/ 654 h 654"/>
                  <a:gd name="T14" fmla="*/ 327 w 2201"/>
                  <a:gd name="T15" fmla="*/ 654 h 654"/>
                  <a:gd name="T16" fmla="*/ 0 w 2201"/>
                  <a:gd name="T17" fmla="*/ 327 h 654"/>
                  <a:gd name="T18" fmla="*/ 0 w 2201"/>
                  <a:gd name="T19" fmla="*/ 327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1" h="654">
                    <a:moveTo>
                      <a:pt x="0" y="327"/>
                    </a:moveTo>
                    <a:lnTo>
                      <a:pt x="0" y="327"/>
                    </a:lnTo>
                    <a:cubicBezTo>
                      <a:pt x="0" y="146"/>
                      <a:pt x="147" y="0"/>
                      <a:pt x="327" y="0"/>
                    </a:cubicBezTo>
                    <a:lnTo>
                      <a:pt x="1874" y="0"/>
                    </a:lnTo>
                    <a:cubicBezTo>
                      <a:pt x="2054" y="0"/>
                      <a:pt x="2201" y="146"/>
                      <a:pt x="2201" y="327"/>
                    </a:cubicBezTo>
                    <a:lnTo>
                      <a:pt x="2200" y="327"/>
                    </a:lnTo>
                    <a:cubicBezTo>
                      <a:pt x="2200" y="507"/>
                      <a:pt x="2054" y="654"/>
                      <a:pt x="1874" y="654"/>
                    </a:cubicBezTo>
                    <a:lnTo>
                      <a:pt x="327" y="654"/>
                    </a:lnTo>
                    <a:cubicBezTo>
                      <a:pt x="147" y="654"/>
                      <a:pt x="0" y="507"/>
                      <a:pt x="0" y="327"/>
                    </a:cubicBezTo>
                    <a:lnTo>
                      <a:pt x="0" y="327"/>
                    </a:lnTo>
                    <a:close/>
                  </a:path>
                </a:pathLst>
              </a:custGeom>
              <a:solidFill>
                <a:srgbClr val="FAB11B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0" name="Freeform 67">
                <a:extLst>
                  <a:ext uri="{FF2B5EF4-FFF2-40B4-BE49-F238E27FC236}">
                    <a16:creationId xmlns:a16="http://schemas.microsoft.com/office/drawing/2014/main" xmlns="" id="{5851538E-04A1-44FF-AB22-798A8EECA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" y="3002"/>
                <a:ext cx="1293" cy="384"/>
              </a:xfrm>
              <a:custGeom>
                <a:avLst/>
                <a:gdLst>
                  <a:gd name="T0" fmla="*/ 0 w 2201"/>
                  <a:gd name="T1" fmla="*/ 327 h 654"/>
                  <a:gd name="T2" fmla="*/ 0 w 2201"/>
                  <a:gd name="T3" fmla="*/ 327 h 654"/>
                  <a:gd name="T4" fmla="*/ 327 w 2201"/>
                  <a:gd name="T5" fmla="*/ 0 h 654"/>
                  <a:gd name="T6" fmla="*/ 1874 w 2201"/>
                  <a:gd name="T7" fmla="*/ 0 h 654"/>
                  <a:gd name="T8" fmla="*/ 2201 w 2201"/>
                  <a:gd name="T9" fmla="*/ 327 h 654"/>
                  <a:gd name="T10" fmla="*/ 2200 w 2201"/>
                  <a:gd name="T11" fmla="*/ 327 h 654"/>
                  <a:gd name="T12" fmla="*/ 1874 w 2201"/>
                  <a:gd name="T13" fmla="*/ 654 h 654"/>
                  <a:gd name="T14" fmla="*/ 327 w 2201"/>
                  <a:gd name="T15" fmla="*/ 654 h 654"/>
                  <a:gd name="T16" fmla="*/ 0 w 2201"/>
                  <a:gd name="T17" fmla="*/ 327 h 654"/>
                  <a:gd name="T18" fmla="*/ 0 w 2201"/>
                  <a:gd name="T19" fmla="*/ 327 h 6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01" h="654">
                    <a:moveTo>
                      <a:pt x="0" y="327"/>
                    </a:moveTo>
                    <a:lnTo>
                      <a:pt x="0" y="327"/>
                    </a:lnTo>
                    <a:cubicBezTo>
                      <a:pt x="0" y="146"/>
                      <a:pt x="147" y="0"/>
                      <a:pt x="327" y="0"/>
                    </a:cubicBezTo>
                    <a:lnTo>
                      <a:pt x="1874" y="0"/>
                    </a:lnTo>
                    <a:cubicBezTo>
                      <a:pt x="2054" y="0"/>
                      <a:pt x="2201" y="146"/>
                      <a:pt x="2201" y="327"/>
                    </a:cubicBezTo>
                    <a:lnTo>
                      <a:pt x="2200" y="327"/>
                    </a:lnTo>
                    <a:cubicBezTo>
                      <a:pt x="2200" y="507"/>
                      <a:pt x="2054" y="654"/>
                      <a:pt x="1874" y="654"/>
                    </a:cubicBezTo>
                    <a:lnTo>
                      <a:pt x="327" y="654"/>
                    </a:lnTo>
                    <a:cubicBezTo>
                      <a:pt x="147" y="654"/>
                      <a:pt x="0" y="507"/>
                      <a:pt x="0" y="327"/>
                    </a:cubicBezTo>
                    <a:lnTo>
                      <a:pt x="0" y="327"/>
                    </a:lnTo>
                    <a:close/>
                  </a:path>
                </a:pathLst>
              </a:custGeom>
              <a:noFill/>
              <a:ln w="23813" cap="flat">
                <a:solidFill>
                  <a:srgbClr val="FFC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1" name="Rectangle 68">
                <a:extLst>
                  <a:ext uri="{FF2B5EF4-FFF2-40B4-BE49-F238E27FC236}">
                    <a16:creationId xmlns:a16="http://schemas.microsoft.com/office/drawing/2014/main" xmlns="" id="{782F241C-FC53-4C81-8F8C-688D575074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0" y="3122"/>
                <a:ext cx="202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P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2" name="Rectangle 69">
                <a:extLst>
                  <a:ext uri="{FF2B5EF4-FFF2-40B4-BE49-F238E27FC236}">
                    <a16:creationId xmlns:a16="http://schemas.microsoft.com/office/drawing/2014/main" xmlns="" id="{DE9F4E17-07F2-4801-AAC1-3813194AAA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03" y="3122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3" name="Rectangle 70">
                <a:extLst>
                  <a:ext uri="{FF2B5EF4-FFF2-40B4-BE49-F238E27FC236}">
                    <a16:creationId xmlns:a16="http://schemas.microsoft.com/office/drawing/2014/main" xmlns="" id="{AEC23BAB-0307-4220-BD02-55F6EAAE0B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98" y="3122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4" name="Rectangle 71">
                <a:extLst>
                  <a:ext uri="{FF2B5EF4-FFF2-40B4-BE49-F238E27FC236}">
                    <a16:creationId xmlns:a16="http://schemas.microsoft.com/office/drawing/2014/main" xmlns="" id="{DFB30535-F7F2-4C79-AEFB-C9AB5CB0F2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29" y="3122"/>
                <a:ext cx="11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5" name="Rectangle 72">
                <a:extLst>
                  <a:ext uri="{FF2B5EF4-FFF2-40B4-BE49-F238E27FC236}">
                    <a16:creationId xmlns:a16="http://schemas.microsoft.com/office/drawing/2014/main" xmlns="" id="{9A4827CD-1A9D-4254-B6D6-55CA6448EA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84" y="3122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6" name="Rectangle 73">
                <a:extLst>
                  <a:ext uri="{FF2B5EF4-FFF2-40B4-BE49-F238E27FC236}">
                    <a16:creationId xmlns:a16="http://schemas.microsoft.com/office/drawing/2014/main" xmlns="" id="{CD4828FE-57A0-4555-923E-6036EB4A4D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78" y="3122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7" name="Rectangle 74">
                <a:extLst>
                  <a:ext uri="{FF2B5EF4-FFF2-40B4-BE49-F238E27FC236}">
                    <a16:creationId xmlns:a16="http://schemas.microsoft.com/office/drawing/2014/main" xmlns="" id="{380AD13D-ED68-4E06-8EB8-F0702E3E8B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9" y="3122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 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8" name="Rectangle 75">
                <a:extLst>
                  <a:ext uri="{FF2B5EF4-FFF2-40B4-BE49-F238E27FC236}">
                    <a16:creationId xmlns:a16="http://schemas.microsoft.com/office/drawing/2014/main" xmlns="" id="{AA2356FD-D3A9-4A47-85E0-3C19F87A15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6" y="3122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9" name="Rectangle 76">
                <a:extLst>
                  <a:ext uri="{FF2B5EF4-FFF2-40B4-BE49-F238E27FC236}">
                    <a16:creationId xmlns:a16="http://schemas.microsoft.com/office/drawing/2014/main" xmlns="" id="{4F08EA08-3191-42D8-986A-3F0E2B0DC5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50" y="3122"/>
                <a:ext cx="14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H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0" name="Rectangle 77">
                <a:extLst>
                  <a:ext uri="{FF2B5EF4-FFF2-40B4-BE49-F238E27FC236}">
                    <a16:creationId xmlns:a16="http://schemas.microsoft.com/office/drawing/2014/main" xmlns="" id="{0E575FA0-F142-49C6-BAC9-258A09FC11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6" y="3122"/>
                <a:ext cx="11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1" name="Rectangle 78">
                <a:extLst>
                  <a:ext uri="{FF2B5EF4-FFF2-40B4-BE49-F238E27FC236}">
                    <a16:creationId xmlns:a16="http://schemas.microsoft.com/office/drawing/2014/main" xmlns="" id="{E8B826D6-78DE-451F-B379-72F7A037D8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91" y="3122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2" name="Freeform 79">
                <a:extLst>
                  <a:ext uri="{FF2B5EF4-FFF2-40B4-BE49-F238E27FC236}">
                    <a16:creationId xmlns:a16="http://schemas.microsoft.com/office/drawing/2014/main" xmlns="" id="{E59C6FAD-1279-4310-A00D-BB8EFD88FD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438"/>
                <a:ext cx="1496" cy="446"/>
              </a:xfrm>
              <a:custGeom>
                <a:avLst/>
                <a:gdLst>
                  <a:gd name="T0" fmla="*/ 0 w 2547"/>
                  <a:gd name="T1" fmla="*/ 380 h 760"/>
                  <a:gd name="T2" fmla="*/ 0 w 2547"/>
                  <a:gd name="T3" fmla="*/ 380 h 760"/>
                  <a:gd name="T4" fmla="*/ 380 w 2547"/>
                  <a:gd name="T5" fmla="*/ 0 h 760"/>
                  <a:gd name="T6" fmla="*/ 2167 w 2547"/>
                  <a:gd name="T7" fmla="*/ 0 h 760"/>
                  <a:gd name="T8" fmla="*/ 2547 w 2547"/>
                  <a:gd name="T9" fmla="*/ 380 h 760"/>
                  <a:gd name="T10" fmla="*/ 2547 w 2547"/>
                  <a:gd name="T11" fmla="*/ 380 h 760"/>
                  <a:gd name="T12" fmla="*/ 2167 w 2547"/>
                  <a:gd name="T13" fmla="*/ 760 h 760"/>
                  <a:gd name="T14" fmla="*/ 380 w 2547"/>
                  <a:gd name="T15" fmla="*/ 760 h 760"/>
                  <a:gd name="T16" fmla="*/ 0 w 2547"/>
                  <a:gd name="T17" fmla="*/ 380 h 760"/>
                  <a:gd name="T18" fmla="*/ 0 w 2547"/>
                  <a:gd name="T19" fmla="*/ 38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7" h="760"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170"/>
                      <a:pt x="171" y="0"/>
                      <a:pt x="380" y="0"/>
                    </a:cubicBezTo>
                    <a:lnTo>
                      <a:pt x="2167" y="0"/>
                    </a:lnTo>
                    <a:cubicBezTo>
                      <a:pt x="2377" y="0"/>
                      <a:pt x="2547" y="170"/>
                      <a:pt x="2547" y="380"/>
                    </a:cubicBezTo>
                    <a:lnTo>
                      <a:pt x="2547" y="380"/>
                    </a:lnTo>
                    <a:cubicBezTo>
                      <a:pt x="2547" y="590"/>
                      <a:pt x="2377" y="760"/>
                      <a:pt x="2167" y="760"/>
                    </a:cubicBezTo>
                    <a:lnTo>
                      <a:pt x="380" y="760"/>
                    </a:lnTo>
                    <a:cubicBezTo>
                      <a:pt x="171" y="760"/>
                      <a:pt x="0" y="590"/>
                      <a:pt x="0" y="380"/>
                    </a:cubicBezTo>
                    <a:lnTo>
                      <a:pt x="0" y="380"/>
                    </a:lnTo>
                    <a:close/>
                  </a:path>
                </a:pathLst>
              </a:custGeom>
              <a:solidFill>
                <a:srgbClr val="FFF2CC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3" name="Freeform 80">
                <a:extLst>
                  <a:ext uri="{FF2B5EF4-FFF2-40B4-BE49-F238E27FC236}">
                    <a16:creationId xmlns:a16="http://schemas.microsoft.com/office/drawing/2014/main" xmlns="" id="{6475B36C-B7A4-44E8-9DF2-50C9320CB7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4" y="2438"/>
                <a:ext cx="1496" cy="446"/>
              </a:xfrm>
              <a:custGeom>
                <a:avLst/>
                <a:gdLst>
                  <a:gd name="T0" fmla="*/ 0 w 2547"/>
                  <a:gd name="T1" fmla="*/ 380 h 760"/>
                  <a:gd name="T2" fmla="*/ 0 w 2547"/>
                  <a:gd name="T3" fmla="*/ 380 h 760"/>
                  <a:gd name="T4" fmla="*/ 381 w 2547"/>
                  <a:gd name="T5" fmla="*/ 0 h 760"/>
                  <a:gd name="T6" fmla="*/ 2167 w 2547"/>
                  <a:gd name="T7" fmla="*/ 0 h 760"/>
                  <a:gd name="T8" fmla="*/ 2547 w 2547"/>
                  <a:gd name="T9" fmla="*/ 380 h 760"/>
                  <a:gd name="T10" fmla="*/ 2547 w 2547"/>
                  <a:gd name="T11" fmla="*/ 380 h 760"/>
                  <a:gd name="T12" fmla="*/ 2167 w 2547"/>
                  <a:gd name="T13" fmla="*/ 760 h 760"/>
                  <a:gd name="T14" fmla="*/ 381 w 2547"/>
                  <a:gd name="T15" fmla="*/ 760 h 760"/>
                  <a:gd name="T16" fmla="*/ 0 w 2547"/>
                  <a:gd name="T17" fmla="*/ 380 h 760"/>
                  <a:gd name="T18" fmla="*/ 0 w 2547"/>
                  <a:gd name="T19" fmla="*/ 380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547" h="760">
                    <a:moveTo>
                      <a:pt x="0" y="380"/>
                    </a:moveTo>
                    <a:lnTo>
                      <a:pt x="0" y="380"/>
                    </a:lnTo>
                    <a:cubicBezTo>
                      <a:pt x="0" y="170"/>
                      <a:pt x="171" y="0"/>
                      <a:pt x="381" y="0"/>
                    </a:cubicBezTo>
                    <a:lnTo>
                      <a:pt x="2167" y="0"/>
                    </a:lnTo>
                    <a:cubicBezTo>
                      <a:pt x="2377" y="0"/>
                      <a:pt x="2547" y="170"/>
                      <a:pt x="2547" y="380"/>
                    </a:cubicBezTo>
                    <a:lnTo>
                      <a:pt x="2547" y="380"/>
                    </a:lnTo>
                    <a:cubicBezTo>
                      <a:pt x="2547" y="590"/>
                      <a:pt x="2377" y="760"/>
                      <a:pt x="2167" y="760"/>
                    </a:cubicBezTo>
                    <a:lnTo>
                      <a:pt x="381" y="760"/>
                    </a:lnTo>
                    <a:cubicBezTo>
                      <a:pt x="171" y="760"/>
                      <a:pt x="0" y="590"/>
                      <a:pt x="0" y="380"/>
                    </a:cubicBezTo>
                    <a:lnTo>
                      <a:pt x="0" y="380"/>
                    </a:lnTo>
                    <a:close/>
                  </a:path>
                </a:pathLst>
              </a:custGeom>
              <a:solidFill>
                <a:srgbClr val="FAB11B"/>
              </a:solidFill>
              <a:ln w="23813" cap="flat">
                <a:solidFill>
                  <a:srgbClr val="FFC000"/>
                </a:solidFill>
                <a:prstDash val="solid"/>
                <a:miter lim="800000"/>
                <a:headEnd/>
                <a:tailEnd/>
              </a:ln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4" name="Rectangle 81">
                <a:extLst>
                  <a:ext uri="{FF2B5EF4-FFF2-40B4-BE49-F238E27FC236}">
                    <a16:creationId xmlns:a16="http://schemas.microsoft.com/office/drawing/2014/main" xmlns="" id="{71F40552-70F8-468D-B303-DD0A66821F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64" y="2588"/>
                <a:ext cx="202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P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5" name="Rectangle 82">
                <a:extLst>
                  <a:ext uri="{FF2B5EF4-FFF2-40B4-BE49-F238E27FC236}">
                    <a16:creationId xmlns:a16="http://schemas.microsoft.com/office/drawing/2014/main" xmlns="" id="{D75BC21B-1A38-403B-9BE4-E559A2C053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97" y="2588"/>
                <a:ext cx="17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M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6" name="Rectangle 83">
                <a:extLst>
                  <a:ext uri="{FF2B5EF4-FFF2-40B4-BE49-F238E27FC236}">
                    <a16:creationId xmlns:a16="http://schemas.microsoft.com/office/drawing/2014/main" xmlns="" id="{457496D4-EB95-4C13-A0C5-07AFC6BC4BB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07" y="2588"/>
                <a:ext cx="13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B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7" name="Rectangle 84">
                <a:extLst>
                  <a:ext uri="{FF2B5EF4-FFF2-40B4-BE49-F238E27FC236}">
                    <a16:creationId xmlns:a16="http://schemas.microsoft.com/office/drawing/2014/main" xmlns="" id="{CC0D6859-21A8-44F1-95F6-D6B3CC6C25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77" y="2588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8" name="Rectangle 85">
                <a:extLst>
                  <a:ext uri="{FF2B5EF4-FFF2-40B4-BE49-F238E27FC236}">
                    <a16:creationId xmlns:a16="http://schemas.microsoft.com/office/drawing/2014/main" xmlns="" id="{FD4F9E88-0CCA-444E-A652-A4764F8073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39" y="2588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9" name="Rectangle 86">
                <a:extLst>
                  <a:ext uri="{FF2B5EF4-FFF2-40B4-BE49-F238E27FC236}">
                    <a16:creationId xmlns:a16="http://schemas.microsoft.com/office/drawing/2014/main" xmlns="" id="{652F7AD9-3108-444D-BD1B-BAF70E2681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33" y="2588"/>
                <a:ext cx="116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T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0" name="Rectangle 87">
                <a:extLst>
                  <a:ext uri="{FF2B5EF4-FFF2-40B4-BE49-F238E27FC236}">
                    <a16:creationId xmlns:a16="http://schemas.microsoft.com/office/drawing/2014/main" xmlns="" id="{A0219B92-8D3E-48EB-9FC9-3B618DE094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89" y="2588"/>
                <a:ext cx="145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U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1" name="Rectangle 88">
                <a:extLst>
                  <a:ext uri="{FF2B5EF4-FFF2-40B4-BE49-F238E27FC236}">
                    <a16:creationId xmlns:a16="http://schemas.microsoft.com/office/drawing/2014/main" xmlns="" id="{A1EB9DD9-18A4-41E7-B2F7-4FD47764A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67" y="2588"/>
                <a:ext cx="141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2" name="Rectangle 89">
                <a:extLst>
                  <a:ext uri="{FF2B5EF4-FFF2-40B4-BE49-F238E27FC236}">
                    <a16:creationId xmlns:a16="http://schemas.microsoft.com/office/drawing/2014/main" xmlns="" id="{B25AA265-686F-457A-951A-5CF7D93279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45" y="2588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3" name="Rectangle 90">
                <a:extLst>
                  <a:ext uri="{FF2B5EF4-FFF2-40B4-BE49-F238E27FC236}">
                    <a16:creationId xmlns:a16="http://schemas.microsoft.com/office/drawing/2014/main" xmlns="" id="{56F51D3B-6E5D-468E-86D5-B7204C75B7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39" y="2588"/>
                <a:ext cx="157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4" name="Rectangle 91">
                <a:extLst>
                  <a:ext uri="{FF2B5EF4-FFF2-40B4-BE49-F238E27FC236}">
                    <a16:creationId xmlns:a16="http://schemas.microsoft.com/office/drawing/2014/main" xmlns="" id="{38E49151-C41F-4AA0-9215-D7F96434BA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3" y="2588"/>
                <a:ext cx="9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 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5" name="Rectangle 92">
                <a:extLst>
                  <a:ext uri="{FF2B5EF4-FFF2-40B4-BE49-F238E27FC236}">
                    <a16:creationId xmlns:a16="http://schemas.microsoft.com/office/drawing/2014/main" xmlns="" id="{019A9B8E-AC16-480D-9E3B-A2BB6E9E77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72" y="2588"/>
                <a:ext cx="118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6" name="Rectangle 93">
                <a:extLst>
                  <a:ext uri="{FF2B5EF4-FFF2-40B4-BE49-F238E27FC236}">
                    <a16:creationId xmlns:a16="http://schemas.microsoft.com/office/drawing/2014/main" xmlns="" id="{5A0D7824-DFD7-4409-ABB2-AA4EDAD367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27" y="2588"/>
                <a:ext cx="129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7" name="Rectangle 94">
                <a:extLst>
                  <a:ext uri="{FF2B5EF4-FFF2-40B4-BE49-F238E27FC236}">
                    <a16:creationId xmlns:a16="http://schemas.microsoft.com/office/drawing/2014/main" xmlns="" id="{08F78FDA-DB49-47E8-B988-62D022318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90" y="2588"/>
                <a:ext cx="135" cy="17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 Bold" panose="020B0702020202020204" pitchFamily="34" charset="0"/>
                    <a:ea typeface="+mn-ea"/>
                    <a:cs typeface="+mn-cs"/>
                  </a:rPr>
                  <a:t>P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8" name="Freeform 95">
                <a:extLst>
                  <a:ext uri="{FF2B5EF4-FFF2-40B4-BE49-F238E27FC236}">
                    <a16:creationId xmlns:a16="http://schemas.microsoft.com/office/drawing/2014/main" xmlns="" id="{D2194DA4-B6B6-40D9-A1E8-F130C5C0C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" y="1592"/>
                <a:ext cx="47" cy="320"/>
              </a:xfrm>
              <a:custGeom>
                <a:avLst/>
                <a:gdLst>
                  <a:gd name="T0" fmla="*/ 27 w 80"/>
                  <a:gd name="T1" fmla="*/ 545 h 545"/>
                  <a:gd name="T2" fmla="*/ 27 w 80"/>
                  <a:gd name="T3" fmla="*/ 545 h 545"/>
                  <a:gd name="T4" fmla="*/ 26 w 80"/>
                  <a:gd name="T5" fmla="*/ 80 h 545"/>
                  <a:gd name="T6" fmla="*/ 0 w 80"/>
                  <a:gd name="T7" fmla="*/ 80 h 545"/>
                  <a:gd name="T8" fmla="*/ 40 w 80"/>
                  <a:gd name="T9" fmla="*/ 0 h 545"/>
                  <a:gd name="T10" fmla="*/ 80 w 80"/>
                  <a:gd name="T11" fmla="*/ 80 h 545"/>
                  <a:gd name="T12" fmla="*/ 53 w 80"/>
                  <a:gd name="T13" fmla="*/ 80 h 545"/>
                  <a:gd name="T14" fmla="*/ 53 w 80"/>
                  <a:gd name="T15" fmla="*/ 545 h 545"/>
                  <a:gd name="T16" fmla="*/ 27 w 80"/>
                  <a:gd name="T17" fmla="*/ 545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0" h="545">
                    <a:moveTo>
                      <a:pt x="27" y="545"/>
                    </a:moveTo>
                    <a:lnTo>
                      <a:pt x="27" y="545"/>
                    </a:lnTo>
                    <a:lnTo>
                      <a:pt x="26" y="80"/>
                    </a:lnTo>
                    <a:lnTo>
                      <a:pt x="0" y="80"/>
                    </a:lnTo>
                    <a:lnTo>
                      <a:pt x="40" y="0"/>
                    </a:lnTo>
                    <a:lnTo>
                      <a:pt x="80" y="80"/>
                    </a:lnTo>
                    <a:lnTo>
                      <a:pt x="53" y="80"/>
                    </a:lnTo>
                    <a:lnTo>
                      <a:pt x="53" y="545"/>
                    </a:lnTo>
                    <a:lnTo>
                      <a:pt x="27" y="545"/>
                    </a:lnTo>
                    <a:close/>
                  </a:path>
                </a:pathLst>
              </a:custGeom>
              <a:solidFill>
                <a:srgbClr val="00206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9" name="Freeform 96">
                <a:extLst>
                  <a:ext uri="{FF2B5EF4-FFF2-40B4-BE49-F238E27FC236}">
                    <a16:creationId xmlns:a16="http://schemas.microsoft.com/office/drawing/2014/main" xmlns="" id="{01655FA3-9D66-4830-AF70-56E1C7755B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7" y="1584"/>
                <a:ext cx="313" cy="558"/>
              </a:xfrm>
              <a:custGeom>
                <a:avLst/>
                <a:gdLst>
                  <a:gd name="T0" fmla="*/ 0 w 533"/>
                  <a:gd name="T1" fmla="*/ 950 h 950"/>
                  <a:gd name="T2" fmla="*/ 0 w 533"/>
                  <a:gd name="T3" fmla="*/ 950 h 950"/>
                  <a:gd name="T4" fmla="*/ 280 w 533"/>
                  <a:gd name="T5" fmla="*/ 950 h 950"/>
                  <a:gd name="T6" fmla="*/ 280 w 533"/>
                  <a:gd name="T7" fmla="*/ 53 h 950"/>
                  <a:gd name="T8" fmla="*/ 453 w 533"/>
                  <a:gd name="T9" fmla="*/ 53 h 950"/>
                  <a:gd name="T10" fmla="*/ 453 w 533"/>
                  <a:gd name="T11" fmla="*/ 80 h 950"/>
                  <a:gd name="T12" fmla="*/ 533 w 533"/>
                  <a:gd name="T13" fmla="*/ 40 h 950"/>
                  <a:gd name="T14" fmla="*/ 453 w 533"/>
                  <a:gd name="T15" fmla="*/ 0 h 950"/>
                  <a:gd name="T16" fmla="*/ 453 w 533"/>
                  <a:gd name="T17" fmla="*/ 27 h 950"/>
                  <a:gd name="T18" fmla="*/ 253 w 533"/>
                  <a:gd name="T19" fmla="*/ 27 h 950"/>
                  <a:gd name="T20" fmla="*/ 253 w 533"/>
                  <a:gd name="T21" fmla="*/ 923 h 950"/>
                  <a:gd name="T22" fmla="*/ 0 w 533"/>
                  <a:gd name="T23" fmla="*/ 923 h 950"/>
                  <a:gd name="T24" fmla="*/ 0 w 533"/>
                  <a:gd name="T25" fmla="*/ 950 h 9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3" h="950">
                    <a:moveTo>
                      <a:pt x="0" y="950"/>
                    </a:moveTo>
                    <a:lnTo>
                      <a:pt x="0" y="950"/>
                    </a:lnTo>
                    <a:lnTo>
                      <a:pt x="280" y="950"/>
                    </a:lnTo>
                    <a:lnTo>
                      <a:pt x="280" y="53"/>
                    </a:lnTo>
                    <a:lnTo>
                      <a:pt x="453" y="53"/>
                    </a:lnTo>
                    <a:lnTo>
                      <a:pt x="453" y="80"/>
                    </a:lnTo>
                    <a:lnTo>
                      <a:pt x="533" y="40"/>
                    </a:lnTo>
                    <a:lnTo>
                      <a:pt x="453" y="0"/>
                    </a:lnTo>
                    <a:lnTo>
                      <a:pt x="453" y="27"/>
                    </a:lnTo>
                    <a:lnTo>
                      <a:pt x="253" y="27"/>
                    </a:lnTo>
                    <a:lnTo>
                      <a:pt x="253" y="923"/>
                    </a:lnTo>
                    <a:lnTo>
                      <a:pt x="0" y="923"/>
                    </a:lnTo>
                    <a:lnTo>
                      <a:pt x="0" y="950"/>
                    </a:lnTo>
                    <a:close/>
                  </a:path>
                </a:pathLst>
              </a:custGeom>
              <a:solidFill>
                <a:srgbClr val="00206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0" name="Freeform 97">
                <a:extLst>
                  <a:ext uri="{FF2B5EF4-FFF2-40B4-BE49-F238E27FC236}">
                    <a16:creationId xmlns:a16="http://schemas.microsoft.com/office/drawing/2014/main" xmlns="" id="{C9CC849F-A88B-4B3A-BCDE-D409A079A2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0" y="2352"/>
                <a:ext cx="895" cy="329"/>
              </a:xfrm>
              <a:custGeom>
                <a:avLst/>
                <a:gdLst>
                  <a:gd name="T0" fmla="*/ 1523 w 1523"/>
                  <a:gd name="T1" fmla="*/ 0 h 560"/>
                  <a:gd name="T2" fmla="*/ 1523 w 1523"/>
                  <a:gd name="T3" fmla="*/ 0 h 560"/>
                  <a:gd name="T4" fmla="*/ 1523 w 1523"/>
                  <a:gd name="T5" fmla="*/ 533 h 560"/>
                  <a:gd name="T6" fmla="*/ 80 w 1523"/>
                  <a:gd name="T7" fmla="*/ 533 h 560"/>
                  <a:gd name="T8" fmla="*/ 80 w 1523"/>
                  <a:gd name="T9" fmla="*/ 560 h 560"/>
                  <a:gd name="T10" fmla="*/ 0 w 1523"/>
                  <a:gd name="T11" fmla="*/ 520 h 560"/>
                  <a:gd name="T12" fmla="*/ 80 w 1523"/>
                  <a:gd name="T13" fmla="*/ 480 h 560"/>
                  <a:gd name="T14" fmla="*/ 80 w 1523"/>
                  <a:gd name="T15" fmla="*/ 506 h 560"/>
                  <a:gd name="T16" fmla="*/ 1497 w 1523"/>
                  <a:gd name="T17" fmla="*/ 506 h 560"/>
                  <a:gd name="T18" fmla="*/ 1497 w 1523"/>
                  <a:gd name="T19" fmla="*/ 0 h 560"/>
                  <a:gd name="T20" fmla="*/ 1523 w 1523"/>
                  <a:gd name="T21" fmla="*/ 0 h 5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23" h="560">
                    <a:moveTo>
                      <a:pt x="1523" y="0"/>
                    </a:moveTo>
                    <a:lnTo>
                      <a:pt x="1523" y="0"/>
                    </a:lnTo>
                    <a:lnTo>
                      <a:pt x="1523" y="533"/>
                    </a:lnTo>
                    <a:lnTo>
                      <a:pt x="80" y="533"/>
                    </a:lnTo>
                    <a:lnTo>
                      <a:pt x="80" y="560"/>
                    </a:lnTo>
                    <a:lnTo>
                      <a:pt x="0" y="520"/>
                    </a:lnTo>
                    <a:lnTo>
                      <a:pt x="80" y="480"/>
                    </a:lnTo>
                    <a:lnTo>
                      <a:pt x="80" y="506"/>
                    </a:lnTo>
                    <a:lnTo>
                      <a:pt x="1497" y="506"/>
                    </a:lnTo>
                    <a:lnTo>
                      <a:pt x="1497" y="0"/>
                    </a:lnTo>
                    <a:lnTo>
                      <a:pt x="1523" y="0"/>
                    </a:lnTo>
                    <a:close/>
                  </a:path>
                </a:pathLst>
              </a:custGeom>
              <a:solidFill>
                <a:srgbClr val="00206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1" name="Freeform 98">
                <a:extLst>
                  <a:ext uri="{FF2B5EF4-FFF2-40B4-BE49-F238E27FC236}">
                    <a16:creationId xmlns:a16="http://schemas.microsoft.com/office/drawing/2014/main" xmlns="" id="{0C7E66EC-5DF2-4E31-B522-2538E9AC6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6" y="2023"/>
                <a:ext cx="665" cy="120"/>
              </a:xfrm>
              <a:custGeom>
                <a:avLst/>
                <a:gdLst>
                  <a:gd name="T0" fmla="*/ 1133 w 1133"/>
                  <a:gd name="T1" fmla="*/ 204 h 204"/>
                  <a:gd name="T2" fmla="*/ 1133 w 1133"/>
                  <a:gd name="T3" fmla="*/ 204 h 204"/>
                  <a:gd name="T4" fmla="*/ 26 w 1133"/>
                  <a:gd name="T5" fmla="*/ 204 h 204"/>
                  <a:gd name="T6" fmla="*/ 26 w 1133"/>
                  <a:gd name="T7" fmla="*/ 80 h 204"/>
                  <a:gd name="T8" fmla="*/ 0 w 1133"/>
                  <a:gd name="T9" fmla="*/ 80 h 204"/>
                  <a:gd name="T10" fmla="*/ 40 w 1133"/>
                  <a:gd name="T11" fmla="*/ 0 h 204"/>
                  <a:gd name="T12" fmla="*/ 80 w 1133"/>
                  <a:gd name="T13" fmla="*/ 80 h 204"/>
                  <a:gd name="T14" fmla="*/ 53 w 1133"/>
                  <a:gd name="T15" fmla="*/ 80 h 204"/>
                  <a:gd name="T16" fmla="*/ 53 w 1133"/>
                  <a:gd name="T17" fmla="*/ 177 h 204"/>
                  <a:gd name="T18" fmla="*/ 1133 w 1133"/>
                  <a:gd name="T19" fmla="*/ 177 h 204"/>
                  <a:gd name="T20" fmla="*/ 1133 w 1133"/>
                  <a:gd name="T21" fmla="*/ 20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33" h="204">
                    <a:moveTo>
                      <a:pt x="1133" y="204"/>
                    </a:moveTo>
                    <a:lnTo>
                      <a:pt x="1133" y="204"/>
                    </a:lnTo>
                    <a:lnTo>
                      <a:pt x="26" y="204"/>
                    </a:lnTo>
                    <a:lnTo>
                      <a:pt x="26" y="80"/>
                    </a:lnTo>
                    <a:lnTo>
                      <a:pt x="0" y="80"/>
                    </a:lnTo>
                    <a:lnTo>
                      <a:pt x="40" y="0"/>
                    </a:lnTo>
                    <a:lnTo>
                      <a:pt x="80" y="80"/>
                    </a:lnTo>
                    <a:lnTo>
                      <a:pt x="53" y="80"/>
                    </a:lnTo>
                    <a:lnTo>
                      <a:pt x="53" y="177"/>
                    </a:lnTo>
                    <a:lnTo>
                      <a:pt x="1133" y="177"/>
                    </a:lnTo>
                    <a:lnTo>
                      <a:pt x="1133" y="204"/>
                    </a:lnTo>
                    <a:close/>
                  </a:path>
                </a:pathLst>
              </a:custGeom>
              <a:solidFill>
                <a:srgbClr val="00206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92" name="Rectangle 99">
                <a:extLst>
                  <a:ext uri="{FF2B5EF4-FFF2-40B4-BE49-F238E27FC236}">
                    <a16:creationId xmlns:a16="http://schemas.microsoft.com/office/drawing/2014/main" xmlns="" id="{B007E65A-799B-43C5-891D-5EE392019A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30" y="926"/>
                <a:ext cx="22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BU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3" name="Rectangle 100">
                <a:extLst>
                  <a:ext uri="{FF2B5EF4-FFF2-40B4-BE49-F238E27FC236}">
                    <a16:creationId xmlns:a16="http://schemas.microsoft.com/office/drawing/2014/main" xmlns="" id="{CEC884E0-ADD3-4E16-ABB1-6E950CEE04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8" y="926"/>
                <a:ext cx="125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J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4" name="Rectangle 101">
                <a:extLst>
                  <a:ext uri="{FF2B5EF4-FFF2-40B4-BE49-F238E27FC236}">
                    <a16:creationId xmlns:a16="http://schemas.microsoft.com/office/drawing/2014/main" xmlns="" id="{A0DAE818-CF55-4479-9443-7E31071759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1" y="926"/>
                <a:ext cx="13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5" name="Rectangle 102">
                <a:extLst>
                  <a:ext uri="{FF2B5EF4-FFF2-40B4-BE49-F238E27FC236}">
                    <a16:creationId xmlns:a16="http://schemas.microsoft.com/office/drawing/2014/main" xmlns="" id="{93627222-FA53-41B6-A20C-E462E4CB1A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12" y="926"/>
                <a:ext cx="9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,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6" name="Rectangle 103">
                <a:extLst>
                  <a:ext uri="{FF2B5EF4-FFF2-40B4-BE49-F238E27FC236}">
                    <a16:creationId xmlns:a16="http://schemas.microsoft.com/office/drawing/2014/main" xmlns="" id="{EA86F8C8-DAD4-4826-88B6-D7F0C9C547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" y="926"/>
                <a:ext cx="9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7" name="Rectangle 104">
                <a:extLst>
                  <a:ext uri="{FF2B5EF4-FFF2-40B4-BE49-F238E27FC236}">
                    <a16:creationId xmlns:a16="http://schemas.microsoft.com/office/drawing/2014/main" xmlns="" id="{12B978C9-16C7-4E35-9E1E-3DF81CDC2D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0" y="926"/>
                <a:ext cx="22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8" name="Rectangle 105">
                <a:extLst>
                  <a:ext uri="{FF2B5EF4-FFF2-40B4-BE49-F238E27FC236}">
                    <a16:creationId xmlns:a16="http://schemas.microsoft.com/office/drawing/2014/main" xmlns="" id="{8951F247-910C-4DE9-81D6-4BA2C6A288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8" y="926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9" name="Rectangle 106">
                <a:extLst>
                  <a:ext uri="{FF2B5EF4-FFF2-40B4-BE49-F238E27FC236}">
                    <a16:creationId xmlns:a16="http://schemas.microsoft.com/office/drawing/2014/main" xmlns="" id="{C7D59B46-03F9-4E6C-8A69-BA05B56336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17" y="926"/>
                <a:ext cx="14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g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0" name="Rectangle 107">
                <a:extLst>
                  <a:ext uri="{FF2B5EF4-FFF2-40B4-BE49-F238E27FC236}">
                    <a16:creationId xmlns:a16="http://schemas.microsoft.com/office/drawing/2014/main" xmlns="" id="{8C3AE018-AB17-4DA5-B70C-F42F2D543F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03" y="926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1" name="Rectangle 108">
                <a:extLst>
                  <a:ext uri="{FF2B5EF4-FFF2-40B4-BE49-F238E27FC236}">
                    <a16:creationId xmlns:a16="http://schemas.microsoft.com/office/drawing/2014/main" xmlns="" id="{E105C651-13E7-4807-8B22-068821275E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89" y="926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2" name="Rectangle 109">
                <a:extLst>
                  <a:ext uri="{FF2B5EF4-FFF2-40B4-BE49-F238E27FC236}">
                    <a16:creationId xmlns:a16="http://schemas.microsoft.com/office/drawing/2014/main" xmlns="" id="{A8341D2A-CF05-4536-A418-FCD77445A6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3" y="926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3" name="Rectangle 110">
                <a:extLst>
                  <a:ext uri="{FF2B5EF4-FFF2-40B4-BE49-F238E27FC236}">
                    <a16:creationId xmlns:a16="http://schemas.microsoft.com/office/drawing/2014/main" xmlns="" id="{763C7D69-A8A3-4358-843D-AE030E8E43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99" y="926"/>
                <a:ext cx="18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m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4" name="Rectangle 111">
                <a:extLst>
                  <a:ext uri="{FF2B5EF4-FFF2-40B4-BE49-F238E27FC236}">
                    <a16:creationId xmlns:a16="http://schemas.microsoft.com/office/drawing/2014/main" xmlns="" id="{945EE807-38AB-404B-B989-E1CCACDB4B1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17" y="926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5" name="Rectangle 112">
                <a:extLst>
                  <a:ext uri="{FF2B5EF4-FFF2-40B4-BE49-F238E27FC236}">
                    <a16:creationId xmlns:a16="http://schemas.microsoft.com/office/drawing/2014/main" xmlns="" id="{8B661D42-3862-4F3F-9856-D05B65978B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2" y="926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6" name="Rectangle 113">
                <a:extLst>
                  <a:ext uri="{FF2B5EF4-FFF2-40B4-BE49-F238E27FC236}">
                    <a16:creationId xmlns:a16="http://schemas.microsoft.com/office/drawing/2014/main" xmlns="" id="{1759CA59-BB40-4088-8BC0-D8D822E07C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2" y="926"/>
                <a:ext cx="22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BU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7" name="Rectangle 114">
                <a:extLst>
                  <a:ext uri="{FF2B5EF4-FFF2-40B4-BE49-F238E27FC236}">
                    <a16:creationId xmlns:a16="http://schemas.microsoft.com/office/drawing/2014/main" xmlns="" id="{3363B5FC-C305-4FDF-A231-E64CD9FFFF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61" y="926"/>
                <a:ext cx="125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J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8" name="Rectangle 115">
                <a:extLst>
                  <a:ext uri="{FF2B5EF4-FFF2-40B4-BE49-F238E27FC236}">
                    <a16:creationId xmlns:a16="http://schemas.microsoft.com/office/drawing/2014/main" xmlns="" id="{2D744F6E-3E07-4327-8C90-EFB3176D49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24" y="926"/>
                <a:ext cx="13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9" name="Rectangle 116">
                <a:extLst>
                  <a:ext uri="{FF2B5EF4-FFF2-40B4-BE49-F238E27FC236}">
                    <a16:creationId xmlns:a16="http://schemas.microsoft.com/office/drawing/2014/main" xmlns="" id="{7E1D06D0-59BD-4AAA-A6D0-8E7D40DEF7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18" y="1120"/>
                <a:ext cx="193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T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0" name="Rectangle 117">
                <a:extLst>
                  <a:ext uri="{FF2B5EF4-FFF2-40B4-BE49-F238E27FC236}">
                    <a16:creationId xmlns:a16="http://schemas.microsoft.com/office/drawing/2014/main" xmlns="" id="{AFBD95BF-30B8-4AD8-8639-99837AB4A27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3" y="1120"/>
                <a:ext cx="13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1" name="Rectangle 118">
                <a:extLst>
                  <a:ext uri="{FF2B5EF4-FFF2-40B4-BE49-F238E27FC236}">
                    <a16:creationId xmlns:a16="http://schemas.microsoft.com/office/drawing/2014/main" xmlns="" id="{C25C04EA-E5F1-4B59-AD46-B8454745ED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14" y="1120"/>
                <a:ext cx="9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,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2" name="Rectangle 119">
                <a:extLst>
                  <a:ext uri="{FF2B5EF4-FFF2-40B4-BE49-F238E27FC236}">
                    <a16:creationId xmlns:a16="http://schemas.microsoft.com/office/drawing/2014/main" xmlns="" id="{EEBB78E1-43D5-4FBE-8F30-641DD8552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45" y="1120"/>
                <a:ext cx="9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3" name="Rectangle 120">
                <a:extLst>
                  <a:ext uri="{FF2B5EF4-FFF2-40B4-BE49-F238E27FC236}">
                    <a16:creationId xmlns:a16="http://schemas.microsoft.com/office/drawing/2014/main" xmlns="" id="{6A4B3DCB-CA3C-483E-8E3F-636513135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92" y="1120"/>
                <a:ext cx="22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4" name="Rectangle 121">
                <a:extLst>
                  <a:ext uri="{FF2B5EF4-FFF2-40B4-BE49-F238E27FC236}">
                    <a16:creationId xmlns:a16="http://schemas.microsoft.com/office/drawing/2014/main" xmlns="" id="{08224D60-F2D7-4911-82AC-461435F6B6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41" y="1120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5" name="Rectangle 122">
                <a:extLst>
                  <a:ext uri="{FF2B5EF4-FFF2-40B4-BE49-F238E27FC236}">
                    <a16:creationId xmlns:a16="http://schemas.microsoft.com/office/drawing/2014/main" xmlns="" id="{76A3D714-9FE7-42F5-B824-9CF3B72AE18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0" y="1120"/>
                <a:ext cx="14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g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6" name="Rectangle 123">
                <a:extLst>
                  <a:ext uri="{FF2B5EF4-FFF2-40B4-BE49-F238E27FC236}">
                    <a16:creationId xmlns:a16="http://schemas.microsoft.com/office/drawing/2014/main" xmlns="" id="{76B39144-53C0-401C-BCB4-2B8C05A9E4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5" y="1120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7" name="Rectangle 124">
                <a:extLst>
                  <a:ext uri="{FF2B5EF4-FFF2-40B4-BE49-F238E27FC236}">
                    <a16:creationId xmlns:a16="http://schemas.microsoft.com/office/drawing/2014/main" xmlns="" id="{15D1A122-A943-44BB-AA90-6F6B85495E9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92" y="1120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8" name="Rectangle 125">
                <a:extLst>
                  <a:ext uri="{FF2B5EF4-FFF2-40B4-BE49-F238E27FC236}">
                    <a16:creationId xmlns:a16="http://schemas.microsoft.com/office/drawing/2014/main" xmlns="" id="{BD6E4CC0-D179-4B6F-B635-3821A83BD0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15" y="1120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9" name="Rectangle 126">
                <a:extLst>
                  <a:ext uri="{FF2B5EF4-FFF2-40B4-BE49-F238E27FC236}">
                    <a16:creationId xmlns:a16="http://schemas.microsoft.com/office/drawing/2014/main" xmlns="" id="{D21E5A7D-B729-429D-8171-72A3587424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2" y="1120"/>
                <a:ext cx="18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m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0" name="Rectangle 127">
                <a:extLst>
                  <a:ext uri="{FF2B5EF4-FFF2-40B4-BE49-F238E27FC236}">
                    <a16:creationId xmlns:a16="http://schemas.microsoft.com/office/drawing/2014/main" xmlns="" id="{BF62E626-235E-4DAB-BCFC-E15FBB7B39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19" y="1120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1" name="Rectangle 128">
                <a:extLst>
                  <a:ext uri="{FF2B5EF4-FFF2-40B4-BE49-F238E27FC236}">
                    <a16:creationId xmlns:a16="http://schemas.microsoft.com/office/drawing/2014/main" xmlns="" id="{A3BF3168-73C0-4EFF-A5E6-A41D2EDFD1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05" y="1120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2" name="Rectangle 129">
                <a:extLst>
                  <a:ext uri="{FF2B5EF4-FFF2-40B4-BE49-F238E27FC236}">
                    <a16:creationId xmlns:a16="http://schemas.microsoft.com/office/drawing/2014/main" xmlns="" id="{E7AF79DE-933E-4953-9383-0738BCF43A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15" y="1120"/>
                <a:ext cx="177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r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3" name="Rectangle 130">
                <a:extLst>
                  <a:ext uri="{FF2B5EF4-FFF2-40B4-BE49-F238E27FC236}">
                    <a16:creationId xmlns:a16="http://schemas.microsoft.com/office/drawing/2014/main" xmlns="" id="{1FCA4843-7A14-4C8D-AA9E-58ADC5EA66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24" y="1120"/>
                <a:ext cx="14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o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4" name="Rectangle 131">
                <a:extLst>
                  <a:ext uri="{FF2B5EF4-FFF2-40B4-BE49-F238E27FC236}">
                    <a16:creationId xmlns:a16="http://schemas.microsoft.com/office/drawing/2014/main" xmlns="" id="{D2972E1A-FBC4-4C7C-B10A-FD75B3BD28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03" y="1120"/>
                <a:ext cx="10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f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5" name="Rectangle 132">
                <a:extLst>
                  <a:ext uri="{FF2B5EF4-FFF2-40B4-BE49-F238E27FC236}">
                    <a16:creationId xmlns:a16="http://schemas.microsoft.com/office/drawing/2014/main" xmlns="" id="{9AC6292E-2765-445E-B7EC-F8463596DD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41" y="1120"/>
                <a:ext cx="145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6" name="Rectangle 133">
                <a:extLst>
                  <a:ext uri="{FF2B5EF4-FFF2-40B4-BE49-F238E27FC236}">
                    <a16:creationId xmlns:a16="http://schemas.microsoft.com/office/drawing/2014/main" xmlns="" id="{D55379F1-CEBE-4CAB-B0DF-7B7C5863A2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20" y="1120"/>
                <a:ext cx="11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7" name="Rectangle 134">
                <a:extLst>
                  <a:ext uri="{FF2B5EF4-FFF2-40B4-BE49-F238E27FC236}">
                    <a16:creationId xmlns:a16="http://schemas.microsoft.com/office/drawing/2014/main" xmlns="" id="{9D080FB1-02F2-4C52-85AF-0E94360219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67" y="1120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8" name="Rectangle 135">
                <a:extLst>
                  <a:ext uri="{FF2B5EF4-FFF2-40B4-BE49-F238E27FC236}">
                    <a16:creationId xmlns:a16="http://schemas.microsoft.com/office/drawing/2014/main" xmlns="" id="{3C23CC32-6F6A-4AF0-8C26-4651FE6FCD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1" y="1120"/>
                <a:ext cx="14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o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9" name="Rectangle 136">
                <a:extLst>
                  <a:ext uri="{FF2B5EF4-FFF2-40B4-BE49-F238E27FC236}">
                    <a16:creationId xmlns:a16="http://schemas.microsoft.com/office/drawing/2014/main" xmlns="" id="{18DB14DD-14B0-46FB-AA3D-52C032CBD6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69" y="1120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0" name="Rectangle 137">
                <a:extLst>
                  <a:ext uri="{FF2B5EF4-FFF2-40B4-BE49-F238E27FC236}">
                    <a16:creationId xmlns:a16="http://schemas.microsoft.com/office/drawing/2014/main" xmlns="" id="{816D50A4-E8FE-47DB-B6FD-BF1F9A0D3D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47" y="1120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1" name="Rectangle 138">
                <a:extLst>
                  <a:ext uri="{FF2B5EF4-FFF2-40B4-BE49-F238E27FC236}">
                    <a16:creationId xmlns:a16="http://schemas.microsoft.com/office/drawing/2014/main" xmlns="" id="{3CADEA99-C196-4DD2-9F86-C4F943E3CC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33" y="1120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2" name="Rectangle 139">
                <a:extLst>
                  <a:ext uri="{FF2B5EF4-FFF2-40B4-BE49-F238E27FC236}">
                    <a16:creationId xmlns:a16="http://schemas.microsoft.com/office/drawing/2014/main" xmlns="" id="{4CC54C28-383E-43FB-9367-847B1EC9D5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1" y="1120"/>
                <a:ext cx="193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T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3" name="Rectangle 140">
                <a:extLst>
                  <a:ext uri="{FF2B5EF4-FFF2-40B4-BE49-F238E27FC236}">
                    <a16:creationId xmlns:a16="http://schemas.microsoft.com/office/drawing/2014/main" xmlns="" id="{07BFD966-660E-42BC-AB9B-8EE6C33C4B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37" y="1120"/>
                <a:ext cx="13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4" name="Rectangle 141">
                <a:extLst>
                  <a:ext uri="{FF2B5EF4-FFF2-40B4-BE49-F238E27FC236}">
                    <a16:creationId xmlns:a16="http://schemas.microsoft.com/office/drawing/2014/main" xmlns="" id="{574C1890-4D19-47DC-9FB3-2A2C2FC06F6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" y="1340"/>
                <a:ext cx="197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P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5" name="Rectangle 142">
                <a:extLst>
                  <a:ext uri="{FF2B5EF4-FFF2-40B4-BE49-F238E27FC236}">
                    <a16:creationId xmlns:a16="http://schemas.microsoft.com/office/drawing/2014/main" xmlns="" id="{97C91238-63DB-42BB-BD8E-B05B5530B3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5" y="1340"/>
                <a:ext cx="13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6" name="Rectangle 143">
                <a:extLst>
                  <a:ext uri="{FF2B5EF4-FFF2-40B4-BE49-F238E27FC236}">
                    <a16:creationId xmlns:a16="http://schemas.microsoft.com/office/drawing/2014/main" xmlns="" id="{DCB75489-7626-4C49-84D1-A5A5B40A3C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5" y="1340"/>
                <a:ext cx="13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7" name="Rectangle 144">
                <a:extLst>
                  <a:ext uri="{FF2B5EF4-FFF2-40B4-BE49-F238E27FC236}">
                    <a16:creationId xmlns:a16="http://schemas.microsoft.com/office/drawing/2014/main" xmlns="" id="{7662A327-8678-4440-95ED-98A20102C0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43" y="1340"/>
                <a:ext cx="16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B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8" name="Rectangle 145">
                <a:extLst>
                  <a:ext uri="{FF2B5EF4-FFF2-40B4-BE49-F238E27FC236}">
                    <a16:creationId xmlns:a16="http://schemas.microsoft.com/office/drawing/2014/main" xmlns="" id="{AD930780-BC69-49BD-81B5-A600818D3F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37" y="1340"/>
                <a:ext cx="15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d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9" name="Rectangle 146">
                <a:extLst>
                  <a:ext uri="{FF2B5EF4-FFF2-40B4-BE49-F238E27FC236}">
                    <a16:creationId xmlns:a16="http://schemas.microsoft.com/office/drawing/2014/main" xmlns="" id="{BD1617F3-69B0-4E8E-8AAA-5E0289A26B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3" y="1340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0" name="Rectangle 147">
                <a:extLst>
                  <a:ext uri="{FF2B5EF4-FFF2-40B4-BE49-F238E27FC236}">
                    <a16:creationId xmlns:a16="http://schemas.microsoft.com/office/drawing/2014/main" xmlns="" id="{F422D510-2D5A-4937-BE06-3F4F52BD61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9" y="1340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1" name="Rectangle 148">
                <a:extLst>
                  <a:ext uri="{FF2B5EF4-FFF2-40B4-BE49-F238E27FC236}">
                    <a16:creationId xmlns:a16="http://schemas.microsoft.com/office/drawing/2014/main" xmlns="" id="{0237D1C0-E6B8-4469-826E-451BB9504F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87" y="1340"/>
                <a:ext cx="14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g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2" name="Rectangle 149">
                <a:extLst>
                  <a:ext uri="{FF2B5EF4-FFF2-40B4-BE49-F238E27FC236}">
                    <a16:creationId xmlns:a16="http://schemas.microsoft.com/office/drawing/2014/main" xmlns="" id="{24EB27B3-337F-4006-AC65-D4FFD034C8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3" y="1340"/>
                <a:ext cx="21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J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3" name="Rectangle 150">
                <a:extLst>
                  <a:ext uri="{FF2B5EF4-FFF2-40B4-BE49-F238E27FC236}">
                    <a16:creationId xmlns:a16="http://schemas.microsoft.com/office/drawing/2014/main" xmlns="" id="{79A46FC4-8686-4718-ADF5-5A0814BBFA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61" y="1340"/>
                <a:ext cx="12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4" name="Rectangle 151">
                <a:extLst>
                  <a:ext uri="{FF2B5EF4-FFF2-40B4-BE49-F238E27FC236}">
                    <a16:creationId xmlns:a16="http://schemas.microsoft.com/office/drawing/2014/main" xmlns="" id="{D810ADA4-3146-42D2-8C06-2843EB0D69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4" y="1340"/>
                <a:ext cx="14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o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5" name="Rectangle 152">
                <a:extLst>
                  <a:ext uri="{FF2B5EF4-FFF2-40B4-BE49-F238E27FC236}">
                    <a16:creationId xmlns:a16="http://schemas.microsoft.com/office/drawing/2014/main" xmlns="" id="{554DD682-75A8-4355-9902-A09C32AE7A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02" y="1340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6" name="Rectangle 153">
                <a:extLst>
                  <a:ext uri="{FF2B5EF4-FFF2-40B4-BE49-F238E27FC236}">
                    <a16:creationId xmlns:a16="http://schemas.microsoft.com/office/drawing/2014/main" xmlns="" id="{76AC7CB9-0E47-44CE-AE6A-31DC00C8D0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49" y="3794"/>
                <a:ext cx="22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7" name="Rectangle 154">
                <a:extLst>
                  <a:ext uri="{FF2B5EF4-FFF2-40B4-BE49-F238E27FC236}">
                    <a16:creationId xmlns:a16="http://schemas.microsoft.com/office/drawing/2014/main" xmlns="" id="{FD7AACF5-DFD7-4BC0-AFE1-96528604EB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98" y="3794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8" name="Rectangle 155">
                <a:extLst>
                  <a:ext uri="{FF2B5EF4-FFF2-40B4-BE49-F238E27FC236}">
                    <a16:creationId xmlns:a16="http://schemas.microsoft.com/office/drawing/2014/main" xmlns="" id="{5732CB77-6250-4016-A088-DC8B76A2B1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21" y="3794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9" name="Rectangle 156">
                <a:extLst>
                  <a:ext uri="{FF2B5EF4-FFF2-40B4-BE49-F238E27FC236}">
                    <a16:creationId xmlns:a16="http://schemas.microsoft.com/office/drawing/2014/main" xmlns="" id="{A6F47973-EA6B-47BA-9418-EA0C925C152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08" y="3794"/>
                <a:ext cx="10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t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0" name="Rectangle 157">
                <a:extLst>
                  <a:ext uri="{FF2B5EF4-FFF2-40B4-BE49-F238E27FC236}">
                    <a16:creationId xmlns:a16="http://schemas.microsoft.com/office/drawing/2014/main" xmlns="" id="{BEB85B21-A8DC-4863-921E-443E873C6F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46" y="3794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1" name="Rectangle 158">
                <a:extLst>
                  <a:ext uri="{FF2B5EF4-FFF2-40B4-BE49-F238E27FC236}">
                    <a16:creationId xmlns:a16="http://schemas.microsoft.com/office/drawing/2014/main" xmlns="" id="{BC5941EA-DB62-4A78-99B3-50781FD46B2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0" y="3794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h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2" name="Rectangle 159">
                <a:extLst>
                  <a:ext uri="{FF2B5EF4-FFF2-40B4-BE49-F238E27FC236}">
                    <a16:creationId xmlns:a16="http://schemas.microsoft.com/office/drawing/2014/main" xmlns="" id="{A0B191AE-25C1-4C58-B31C-E761EF9A92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9" y="3794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3" name="Rectangle 160">
                <a:extLst>
                  <a:ext uri="{FF2B5EF4-FFF2-40B4-BE49-F238E27FC236}">
                    <a16:creationId xmlns:a16="http://schemas.microsoft.com/office/drawing/2014/main" xmlns="" id="{9990964D-59CB-44BD-BBC4-7964225ECE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4" y="3794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4" name="Rectangle 161">
                <a:extLst>
                  <a:ext uri="{FF2B5EF4-FFF2-40B4-BE49-F238E27FC236}">
                    <a16:creationId xmlns:a16="http://schemas.microsoft.com/office/drawing/2014/main" xmlns="" id="{9754B2B0-EBD3-4E22-94A5-8156972D66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2" y="3794"/>
                <a:ext cx="13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, 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5" name="Rectangle 162">
                <a:extLst>
                  <a:ext uri="{FF2B5EF4-FFF2-40B4-BE49-F238E27FC236}">
                    <a16:creationId xmlns:a16="http://schemas.microsoft.com/office/drawing/2014/main" xmlns="" id="{5530EF3E-C2F1-455B-88E9-3F22BA53F8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1" y="3794"/>
                <a:ext cx="16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uj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6" name="Rectangle 163">
                <a:extLst>
                  <a:ext uri="{FF2B5EF4-FFF2-40B4-BE49-F238E27FC236}">
                    <a16:creationId xmlns:a16="http://schemas.microsoft.com/office/drawing/2014/main" xmlns="" id="{44F5BAAB-B635-4E8A-8F60-304E53072C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93" y="3794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7" name="Rectangle 164">
                <a:extLst>
                  <a:ext uri="{FF2B5EF4-FFF2-40B4-BE49-F238E27FC236}">
                    <a16:creationId xmlns:a16="http://schemas.microsoft.com/office/drawing/2014/main" xmlns="" id="{338E6357-513F-4466-9422-85EAD9F7D3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16" y="3943"/>
                <a:ext cx="21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o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8" name="Rectangle 165">
                <a:extLst>
                  <a:ext uri="{FF2B5EF4-FFF2-40B4-BE49-F238E27FC236}">
                    <a16:creationId xmlns:a16="http://schemas.microsoft.com/office/drawing/2014/main" xmlns="" id="{E37D60B6-3FD3-41B1-8EA7-63F67E147C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57" y="3943"/>
                <a:ext cx="18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m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9" name="Rectangle 166">
                <a:extLst>
                  <a:ext uri="{FF2B5EF4-FFF2-40B4-BE49-F238E27FC236}">
                    <a16:creationId xmlns:a16="http://schemas.microsoft.com/office/drawing/2014/main" xmlns="" id="{943067EF-DFBC-455F-9FB1-9AACF2B1C0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4" y="3943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0" name="Rectangle 167">
                <a:extLst>
                  <a:ext uri="{FF2B5EF4-FFF2-40B4-BE49-F238E27FC236}">
                    <a16:creationId xmlns:a16="http://schemas.microsoft.com/office/drawing/2014/main" xmlns="" id="{B2AFB481-9D49-40AF-9804-54D29FAC9C1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1" y="3943"/>
                <a:ext cx="145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1" name="Rectangle 168">
                <a:extLst>
                  <a:ext uri="{FF2B5EF4-FFF2-40B4-BE49-F238E27FC236}">
                    <a16:creationId xmlns:a16="http://schemas.microsoft.com/office/drawing/2014/main" xmlns="" id="{F67A2D41-B1A9-49C8-BB48-C326F1F74B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9" y="3943"/>
                <a:ext cx="10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t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2" name="Rectangle 169">
                <a:extLst>
                  <a:ext uri="{FF2B5EF4-FFF2-40B4-BE49-F238E27FC236}">
                    <a16:creationId xmlns:a16="http://schemas.microsoft.com/office/drawing/2014/main" xmlns="" id="{9A2BA1B4-BDA4-43A4-ADE4-E4CA7C5EEF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" y="3943"/>
                <a:ext cx="145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3" name="Rectangle 170">
                <a:extLst>
                  <a:ext uri="{FF2B5EF4-FFF2-40B4-BE49-F238E27FC236}">
                    <a16:creationId xmlns:a16="http://schemas.microsoft.com/office/drawing/2014/main" xmlns="" id="{42E32476-7DC9-482B-88B4-2F614F38FF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6" y="3943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4" name="Rectangle 171">
                <a:extLst>
                  <a:ext uri="{FF2B5EF4-FFF2-40B4-BE49-F238E27FC236}">
                    <a16:creationId xmlns:a16="http://schemas.microsoft.com/office/drawing/2014/main" xmlns="" id="{C07EFF13-BD98-4BB0-8FE3-A8B7133BBB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4" y="3943"/>
                <a:ext cx="11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5" name="Rectangle 172">
                <a:extLst>
                  <a:ext uri="{FF2B5EF4-FFF2-40B4-BE49-F238E27FC236}">
                    <a16:creationId xmlns:a16="http://schemas.microsoft.com/office/drawing/2014/main" xmlns="" id="{1A2FBCBD-E619-4562-8DD5-4786629003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81" y="3943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6" name="Rectangle 173">
                <a:extLst>
                  <a:ext uri="{FF2B5EF4-FFF2-40B4-BE49-F238E27FC236}">
                    <a16:creationId xmlns:a16="http://schemas.microsoft.com/office/drawing/2014/main" xmlns="" id="{F59DFE33-471C-4BA7-8B61-B07F43AED7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05" y="3943"/>
                <a:ext cx="13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, 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7" name="Rectangle 174">
                <a:extLst>
                  <a:ext uri="{FF2B5EF4-FFF2-40B4-BE49-F238E27FC236}">
                    <a16:creationId xmlns:a16="http://schemas.microsoft.com/office/drawing/2014/main" xmlns="" id="{09C8D5D2-71FC-4007-9E5E-A5F7D10682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1" y="3943"/>
                <a:ext cx="237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d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8" name="Rectangle 175">
                <a:extLst>
                  <a:ext uri="{FF2B5EF4-FFF2-40B4-BE49-F238E27FC236}">
                    <a16:creationId xmlns:a16="http://schemas.microsoft.com/office/drawing/2014/main" xmlns="" id="{4E7968CB-2B3C-4CDB-B783-6B65C0EF73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3" y="3943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9" name="Rectangle 176">
                <a:extLst>
                  <a:ext uri="{FF2B5EF4-FFF2-40B4-BE49-F238E27FC236}">
                    <a16:creationId xmlns:a16="http://schemas.microsoft.com/office/drawing/2014/main" xmlns="" id="{5AB0466C-BBBD-40D6-B478-AD3C53F1E8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74" y="4092"/>
                <a:ext cx="195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s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0" name="Rectangle 177">
                <a:extLst>
                  <a:ext uri="{FF2B5EF4-FFF2-40B4-BE49-F238E27FC236}">
                    <a16:creationId xmlns:a16="http://schemas.microsoft.com/office/drawing/2014/main" xmlns="" id="{95CC9176-2D80-4220-A8EB-24D3B28DE7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99" y="4092"/>
                <a:ext cx="10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r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1" name="Rectangle 178">
                <a:extLst>
                  <a:ext uri="{FF2B5EF4-FFF2-40B4-BE49-F238E27FC236}">
                    <a16:creationId xmlns:a16="http://schemas.microsoft.com/office/drawing/2014/main" xmlns="" id="{9F45CC7B-FE6D-42A5-8440-60B1E47B7D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9" y="4092"/>
                <a:ext cx="10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t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2" name="Rectangle 179">
                <a:extLst>
                  <a:ext uri="{FF2B5EF4-FFF2-40B4-BE49-F238E27FC236}">
                    <a16:creationId xmlns:a16="http://schemas.microsoft.com/office/drawing/2014/main" xmlns="" id="{200C01E9-8331-45D7-B83F-75B84D9569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7" y="4092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3" name="Rectangle 180">
                <a:extLst>
                  <a:ext uri="{FF2B5EF4-FFF2-40B4-BE49-F238E27FC236}">
                    <a16:creationId xmlns:a16="http://schemas.microsoft.com/office/drawing/2014/main" xmlns="" id="{20134978-9A55-4A3D-A284-244CA48374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02" y="4092"/>
                <a:ext cx="10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f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4" name="Rectangle 181">
                <a:extLst>
                  <a:ext uri="{FF2B5EF4-FFF2-40B4-BE49-F238E27FC236}">
                    <a16:creationId xmlns:a16="http://schemas.microsoft.com/office/drawing/2014/main" xmlns="" id="{3DBDCAA8-49F2-4122-8544-19859157C9B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40" y="4092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5" name="Rectangle 182">
                <a:extLst>
                  <a:ext uri="{FF2B5EF4-FFF2-40B4-BE49-F238E27FC236}">
                    <a16:creationId xmlns:a16="http://schemas.microsoft.com/office/drawing/2014/main" xmlns="" id="{797222FE-CABF-405A-A960-F17398DB297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4" y="4092"/>
                <a:ext cx="12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6" name="Rectangle 183">
                <a:extLst>
                  <a:ext uri="{FF2B5EF4-FFF2-40B4-BE49-F238E27FC236}">
                    <a16:creationId xmlns:a16="http://schemas.microsoft.com/office/drawing/2014/main" xmlns="" id="{231CDA7D-C76A-4A64-80AD-D0F1CC3B2B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7" y="4092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7" name="Rectangle 184">
                <a:extLst>
                  <a:ext uri="{FF2B5EF4-FFF2-40B4-BE49-F238E27FC236}">
                    <a16:creationId xmlns:a16="http://schemas.microsoft.com/office/drawing/2014/main" xmlns="" id="{B9B24491-D2F7-4B64-BBE3-BE69C0C355A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3" y="4092"/>
                <a:ext cx="13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s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8" name="Rectangle 185">
                <a:extLst>
                  <a:ext uri="{FF2B5EF4-FFF2-40B4-BE49-F238E27FC236}">
                    <a16:creationId xmlns:a16="http://schemas.microsoft.com/office/drawing/2014/main" xmlns="" id="{46AB6D1A-1C07-4D80-BDDA-786ACF9908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" y="1551"/>
                <a:ext cx="221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e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9" name="Rectangle 186">
                <a:extLst>
                  <a:ext uri="{FF2B5EF4-FFF2-40B4-BE49-F238E27FC236}">
                    <a16:creationId xmlns:a16="http://schemas.microsoft.com/office/drawing/2014/main" xmlns="" id="{3C29EA43-3461-4691-9D94-D9DA7B5445E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78" y="1551"/>
                <a:ext cx="14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0" name="Rectangle 187">
                <a:extLst>
                  <a:ext uri="{FF2B5EF4-FFF2-40B4-BE49-F238E27FC236}">
                    <a16:creationId xmlns:a16="http://schemas.microsoft.com/office/drawing/2014/main" xmlns="" id="{18639742-1CFC-4A1D-B38D-3E8FFAD1DA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56" y="1551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1" name="Rectangle 188">
                <a:extLst>
                  <a:ext uri="{FF2B5EF4-FFF2-40B4-BE49-F238E27FC236}">
                    <a16:creationId xmlns:a16="http://schemas.microsoft.com/office/drawing/2014/main" xmlns="" id="{FDA02F9D-EE8A-487F-9AD5-56E08625D0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0" y="1551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2" name="Rectangle 189">
                <a:extLst>
                  <a:ext uri="{FF2B5EF4-FFF2-40B4-BE49-F238E27FC236}">
                    <a16:creationId xmlns:a16="http://schemas.microsoft.com/office/drawing/2014/main" xmlns="" id="{C2F2248F-530F-4B0B-BA4D-19D7621342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03" y="1551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3" name="Rectangle 190">
                <a:extLst>
                  <a:ext uri="{FF2B5EF4-FFF2-40B4-BE49-F238E27FC236}">
                    <a16:creationId xmlns:a16="http://schemas.microsoft.com/office/drawing/2014/main" xmlns="" id="{9A264DFC-B33E-450D-94C7-9BECA9324E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190" y="1551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4" name="Rectangle 191">
                <a:extLst>
                  <a:ext uri="{FF2B5EF4-FFF2-40B4-BE49-F238E27FC236}">
                    <a16:creationId xmlns:a16="http://schemas.microsoft.com/office/drawing/2014/main" xmlns="" id="{D536E930-9E72-4FF4-811E-12BB2EDB6A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60" y="1551"/>
                <a:ext cx="23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h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5" name="Rectangle 192">
                <a:extLst>
                  <a:ext uri="{FF2B5EF4-FFF2-40B4-BE49-F238E27FC236}">
                    <a16:creationId xmlns:a16="http://schemas.microsoft.com/office/drawing/2014/main" xmlns="" id="{991DCE5E-B77A-48EA-AFAD-5FA4B56B4C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2" y="1551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l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6" name="Rectangle 193">
                <a:extLst>
                  <a:ext uri="{FF2B5EF4-FFF2-40B4-BE49-F238E27FC236}">
                    <a16:creationId xmlns:a16="http://schemas.microsoft.com/office/drawing/2014/main" xmlns="" id="{766F30C1-0D64-4CB2-AABD-8E5188F436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56" y="1551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7" name="Rectangle 194">
                <a:extLst>
                  <a:ext uri="{FF2B5EF4-FFF2-40B4-BE49-F238E27FC236}">
                    <a16:creationId xmlns:a16="http://schemas.microsoft.com/office/drawing/2014/main" xmlns="" id="{67A15EA9-751E-429C-96CC-55EECA170B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56" y="386"/>
                <a:ext cx="20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8" name="Rectangle 195">
                <a:extLst>
                  <a:ext uri="{FF2B5EF4-FFF2-40B4-BE49-F238E27FC236}">
                    <a16:creationId xmlns:a16="http://schemas.microsoft.com/office/drawing/2014/main" xmlns="" id="{4A95EB8C-1486-4E1E-BFD9-67EFDE6FC2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97" y="386"/>
                <a:ext cx="146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o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9" name="Rectangle 196">
                <a:extLst>
                  <a:ext uri="{FF2B5EF4-FFF2-40B4-BE49-F238E27FC236}">
                    <a16:creationId xmlns:a16="http://schemas.microsoft.com/office/drawing/2014/main" xmlns="" id="{6D3D2D72-DA10-47AD-BC40-FABB9DE6D9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6" y="386"/>
                <a:ext cx="11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0" name="Rectangle 197">
                <a:extLst>
                  <a:ext uri="{FF2B5EF4-FFF2-40B4-BE49-F238E27FC236}">
                    <a16:creationId xmlns:a16="http://schemas.microsoft.com/office/drawing/2014/main" xmlns="" id="{6971AB82-9143-4BBD-9CB6-CD3B0855D7C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23" y="386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1" name="Rectangle 198">
                <a:extLst>
                  <a:ext uri="{FF2B5EF4-FFF2-40B4-BE49-F238E27FC236}">
                    <a16:creationId xmlns:a16="http://schemas.microsoft.com/office/drawing/2014/main" xmlns="" id="{421CAEB5-CF1C-4F13-9544-EDC6AFD64B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6" y="386"/>
                <a:ext cx="14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2" name="Rectangle 199">
                <a:extLst>
                  <a:ext uri="{FF2B5EF4-FFF2-40B4-BE49-F238E27FC236}">
                    <a16:creationId xmlns:a16="http://schemas.microsoft.com/office/drawing/2014/main" xmlns="" id="{4E649240-C860-48FC-B8D1-F0C42ECCB6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32" y="386"/>
                <a:ext cx="112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3" name="Rectangle 200">
                <a:extLst>
                  <a:ext uri="{FF2B5EF4-FFF2-40B4-BE49-F238E27FC236}">
                    <a16:creationId xmlns:a16="http://schemas.microsoft.com/office/drawing/2014/main" xmlns="" id="{D488E7D4-4E38-4C4A-910F-2FFA8C0EDE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9" y="386"/>
                <a:ext cx="8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i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4" name="Rectangle 201">
                <a:extLst>
                  <a:ext uri="{FF2B5EF4-FFF2-40B4-BE49-F238E27FC236}">
                    <a16:creationId xmlns:a16="http://schemas.microsoft.com/office/drawing/2014/main" xmlns="" id="{5B2351CA-22E9-4DCE-91CF-9C8534195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35" y="534"/>
                <a:ext cx="220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BU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5" name="Rectangle 202">
                <a:extLst>
                  <a:ext uri="{FF2B5EF4-FFF2-40B4-BE49-F238E27FC236}">
                    <a16:creationId xmlns:a16="http://schemas.microsoft.com/office/drawing/2014/main" xmlns="" id="{B5ED2A5D-E3B5-4714-9992-B9E09FA38A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3" y="534"/>
                <a:ext cx="125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J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6" name="Rectangle 203">
                <a:extLst>
                  <a:ext uri="{FF2B5EF4-FFF2-40B4-BE49-F238E27FC236}">
                    <a16:creationId xmlns:a16="http://schemas.microsoft.com/office/drawing/2014/main" xmlns="" id="{0C0B9F84-4D2A-40BB-9EF1-8159BAF23B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6" y="534"/>
                <a:ext cx="138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7" name="Rectangle 204">
                <a:extLst>
                  <a:ext uri="{FF2B5EF4-FFF2-40B4-BE49-F238E27FC236}">
                    <a16:creationId xmlns:a16="http://schemas.microsoft.com/office/drawing/2014/main" xmlns="" id="{39F33343-5CCB-43D9-BDA6-CCE175DF4C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28" y="374"/>
                <a:ext cx="209" cy="1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As</a:t>
                </a:r>
                <a:endParaRPr kumimoji="0" lang="en-US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9" name="Rectangle 206">
              <a:extLst>
                <a:ext uri="{FF2B5EF4-FFF2-40B4-BE49-F238E27FC236}">
                  <a16:creationId xmlns:a16="http://schemas.microsoft.com/office/drawing/2014/main" xmlns="" id="{F6B6232E-77DC-458F-803A-A8BDCFDCB7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374"/>
              <a:ext cx="14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o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Rectangle 207">
              <a:extLst>
                <a:ext uri="{FF2B5EF4-FFF2-40B4-BE49-F238E27FC236}">
                  <a16:creationId xmlns:a16="http://schemas.microsoft.com/office/drawing/2014/main" xmlns="" id="{136EC4CE-6AD1-49A7-9C88-3AC9118A61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8" y="374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Rectangle 208">
              <a:extLst>
                <a:ext uri="{FF2B5EF4-FFF2-40B4-BE49-F238E27FC236}">
                  <a16:creationId xmlns:a16="http://schemas.microsoft.com/office/drawing/2014/main" xmlns="" id="{0D58CA1E-DCC4-4930-82C6-D086A9ABDD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5" y="374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Rectangle 209">
              <a:extLst>
                <a:ext uri="{FF2B5EF4-FFF2-40B4-BE49-F238E27FC236}">
                  <a16:creationId xmlns:a16="http://schemas.microsoft.com/office/drawing/2014/main" xmlns="" id="{5F0E3180-8854-4BFD-990F-766BB5B2E8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8" y="374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Rectangle 210">
              <a:extLst>
                <a:ext uri="{FF2B5EF4-FFF2-40B4-BE49-F238E27FC236}">
                  <a16:creationId xmlns:a16="http://schemas.microsoft.com/office/drawing/2014/main" xmlns="" id="{299E442A-1F74-447A-855D-A497A605A9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4" y="374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Rectangle 211">
              <a:extLst>
                <a:ext uri="{FF2B5EF4-FFF2-40B4-BE49-F238E27FC236}">
                  <a16:creationId xmlns:a16="http://schemas.microsoft.com/office/drawing/2014/main" xmlns="" id="{009C7789-C95B-40B0-84FB-2DA066EDB2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1" y="374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Rectangle 212">
              <a:extLst>
                <a:ext uri="{FF2B5EF4-FFF2-40B4-BE49-F238E27FC236}">
                  <a16:creationId xmlns:a16="http://schemas.microsoft.com/office/drawing/2014/main" xmlns="" id="{26307DF0-924A-4BFB-A951-712C12EB4B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0" y="523"/>
              <a:ext cx="177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r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Rectangle 213">
              <a:extLst>
                <a:ext uri="{FF2B5EF4-FFF2-40B4-BE49-F238E27FC236}">
                  <a16:creationId xmlns:a16="http://schemas.microsoft.com/office/drawing/2014/main" xmlns="" id="{00D2FFAE-398F-420C-95C1-DD7C7280E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69" y="523"/>
              <a:ext cx="14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o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1" name="Rectangle 214">
              <a:extLst>
                <a:ext uri="{FF2B5EF4-FFF2-40B4-BE49-F238E27FC236}">
                  <a16:creationId xmlns:a16="http://schemas.microsoft.com/office/drawing/2014/main" xmlns="" id="{66E01AB9-2B84-4090-B284-D814A1253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48" y="523"/>
              <a:ext cx="10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f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2" name="Rectangle 215">
              <a:extLst>
                <a:ext uri="{FF2B5EF4-FFF2-40B4-BE49-F238E27FC236}">
                  <a16:creationId xmlns:a16="http://schemas.microsoft.com/office/drawing/2014/main" xmlns="" id="{9C6F71E2-9876-46F3-973F-75B71FAA97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6" y="523"/>
              <a:ext cx="14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3" name="Rectangle 216">
              <a:extLst>
                <a:ext uri="{FF2B5EF4-FFF2-40B4-BE49-F238E27FC236}">
                  <a16:creationId xmlns:a16="http://schemas.microsoft.com/office/drawing/2014/main" xmlns="" id="{BA776121-28D2-4230-849A-C7BA1F90E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65" y="523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217">
              <a:extLst>
                <a:ext uri="{FF2B5EF4-FFF2-40B4-BE49-F238E27FC236}">
                  <a16:creationId xmlns:a16="http://schemas.microsoft.com/office/drawing/2014/main" xmlns="" id="{6E59F192-9E97-4813-99C5-FA76E79A6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2" y="523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 218">
              <a:extLst>
                <a:ext uri="{FF2B5EF4-FFF2-40B4-BE49-F238E27FC236}">
                  <a16:creationId xmlns:a16="http://schemas.microsoft.com/office/drawing/2014/main" xmlns="" id="{3784B5B6-9047-405D-9AE5-6967B598AD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5" y="374"/>
              <a:ext cx="20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6" name="Rectangle 219">
              <a:extLst>
                <a:ext uri="{FF2B5EF4-FFF2-40B4-BE49-F238E27FC236}">
                  <a16:creationId xmlns:a16="http://schemas.microsoft.com/office/drawing/2014/main" xmlns="" id="{ED9D7019-F877-4698-B460-2540BC4B20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6" y="374"/>
              <a:ext cx="14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o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7" name="Rectangle 220">
              <a:extLst>
                <a:ext uri="{FF2B5EF4-FFF2-40B4-BE49-F238E27FC236}">
                  <a16:creationId xmlns:a16="http://schemas.microsoft.com/office/drawing/2014/main" xmlns="" id="{B72AA7E6-B6B7-44D3-A4C8-DE69A17BDE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4" y="374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8" name="Rectangle 221">
              <a:extLst>
                <a:ext uri="{FF2B5EF4-FFF2-40B4-BE49-F238E27FC236}">
                  <a16:creationId xmlns:a16="http://schemas.microsoft.com/office/drawing/2014/main" xmlns="" id="{E908580E-8A35-4B49-861E-7A5E872C3A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" y="374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9" name="Rectangle 222">
              <a:extLst>
                <a:ext uri="{FF2B5EF4-FFF2-40B4-BE49-F238E27FC236}">
                  <a16:creationId xmlns:a16="http://schemas.microsoft.com/office/drawing/2014/main" xmlns="" id="{FCE4F244-28CA-4D9E-BD60-293EF0264F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5" y="374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Rectangle 223">
              <a:extLst>
                <a:ext uri="{FF2B5EF4-FFF2-40B4-BE49-F238E27FC236}">
                  <a16:creationId xmlns:a16="http://schemas.microsoft.com/office/drawing/2014/main" xmlns="" id="{D83E7150-550B-4F9C-9E7C-B914464CE2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00" y="374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1" name="Rectangle 224">
              <a:extLst>
                <a:ext uri="{FF2B5EF4-FFF2-40B4-BE49-F238E27FC236}">
                  <a16:creationId xmlns:a16="http://schemas.microsoft.com/office/drawing/2014/main" xmlns="" id="{74AE1B56-5F1A-4161-985D-A780A7D08A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7" y="374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2" name="Rectangle 225">
              <a:extLst>
                <a:ext uri="{FF2B5EF4-FFF2-40B4-BE49-F238E27FC236}">
                  <a16:creationId xmlns:a16="http://schemas.microsoft.com/office/drawing/2014/main" xmlns="" id="{25A4CBE8-73B3-4341-9A3D-C123BF9F4F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8" y="522"/>
              <a:ext cx="227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R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3" name="Rectangle 226">
              <a:extLst>
                <a:ext uri="{FF2B5EF4-FFF2-40B4-BE49-F238E27FC236}">
                  <a16:creationId xmlns:a16="http://schemas.microsoft.com/office/drawing/2014/main" xmlns="" id="{26386E52-945F-4041-B307-EDE6AE51FF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3" y="522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4" name="Rectangle 227">
              <a:extLst>
                <a:ext uri="{FF2B5EF4-FFF2-40B4-BE49-F238E27FC236}">
                  <a16:creationId xmlns:a16="http://schemas.microsoft.com/office/drawing/2014/main" xmlns="" id="{D82BCB3C-58B3-4273-B507-5156484B6E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11" y="522"/>
              <a:ext cx="10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Rectangle 228">
              <a:extLst>
                <a:ext uri="{FF2B5EF4-FFF2-40B4-BE49-F238E27FC236}">
                  <a16:creationId xmlns:a16="http://schemas.microsoft.com/office/drawing/2014/main" xmlns="" id="{70543CE0-2D14-4F17-9F01-A0BE85E6F7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50" y="522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229">
              <a:extLst>
                <a:ext uri="{FF2B5EF4-FFF2-40B4-BE49-F238E27FC236}">
                  <a16:creationId xmlns:a16="http://schemas.microsoft.com/office/drawing/2014/main" xmlns="" id="{77047F99-AB0C-45DE-9017-FA7E8A94C1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6" y="522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230">
              <a:extLst>
                <a:ext uri="{FF2B5EF4-FFF2-40B4-BE49-F238E27FC236}">
                  <a16:creationId xmlns:a16="http://schemas.microsoft.com/office/drawing/2014/main" xmlns="" id="{65365641-4359-408C-89C7-B9472011B8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91" y="522"/>
              <a:ext cx="22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a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Rectangle 231">
              <a:extLst>
                <a:ext uri="{FF2B5EF4-FFF2-40B4-BE49-F238E27FC236}">
                  <a16:creationId xmlns:a16="http://schemas.microsoft.com/office/drawing/2014/main" xmlns="" id="{64A0BBA8-4304-4D9B-A693-0C3B01335B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8" y="522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Rectangle 232">
              <a:extLst>
                <a:ext uri="{FF2B5EF4-FFF2-40B4-BE49-F238E27FC236}">
                  <a16:creationId xmlns:a16="http://schemas.microsoft.com/office/drawing/2014/main" xmlns="" id="{92C908A5-B278-4C36-BE21-AE0A4A4354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5" y="522"/>
              <a:ext cx="14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o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Rectangle 233">
              <a:extLst>
                <a:ext uri="{FF2B5EF4-FFF2-40B4-BE49-F238E27FC236}">
                  <a16:creationId xmlns:a16="http://schemas.microsoft.com/office/drawing/2014/main" xmlns="" id="{CAAD092C-CAE7-4379-8D84-8372AEB69D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73" y="522"/>
              <a:ext cx="12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</a:t>
              </a:r>
              <a:endPara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1" name="Rectangle 234">
              <a:extLst>
                <a:ext uri="{FF2B5EF4-FFF2-40B4-BE49-F238E27FC236}">
                  <a16:creationId xmlns:a16="http://schemas.microsoft.com/office/drawing/2014/main" xmlns="" id="{63ADE2C9-986F-4E51-910B-C257D4EA8B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9" y="730"/>
              <a:ext cx="147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2" name="Rectangle 235">
              <a:extLst>
                <a:ext uri="{FF2B5EF4-FFF2-40B4-BE49-F238E27FC236}">
                  <a16:creationId xmlns:a16="http://schemas.microsoft.com/office/drawing/2014/main" xmlns="" id="{47FE707B-B5ED-49A2-BBD6-275F31B1E1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67" y="730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3" name="Rectangle 236">
              <a:extLst>
                <a:ext uri="{FF2B5EF4-FFF2-40B4-BE49-F238E27FC236}">
                  <a16:creationId xmlns:a16="http://schemas.microsoft.com/office/drawing/2014/main" xmlns="" id="{94A12C00-343B-4BF2-97D0-D310FC9C95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14" y="730"/>
              <a:ext cx="14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4" name="Rectangle 237">
              <a:extLst>
                <a:ext uri="{FF2B5EF4-FFF2-40B4-BE49-F238E27FC236}">
                  <a16:creationId xmlns:a16="http://schemas.microsoft.com/office/drawing/2014/main" xmlns="" id="{C21CCEC6-7F51-4BEF-86D8-540D695F96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2" y="730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Rectangle 238">
              <a:extLst>
                <a:ext uri="{FF2B5EF4-FFF2-40B4-BE49-F238E27FC236}">
                  <a16:creationId xmlns:a16="http://schemas.microsoft.com/office/drawing/2014/main" xmlns="" id="{EAEEFBB0-8436-4EF1-9425-E7936CEDE3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1" y="730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6" name="Rectangle 239">
              <a:extLst>
                <a:ext uri="{FF2B5EF4-FFF2-40B4-BE49-F238E27FC236}">
                  <a16:creationId xmlns:a16="http://schemas.microsoft.com/office/drawing/2014/main" xmlns="" id="{CF44A1B0-43CB-4C7E-885B-0BD62490CE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" y="730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7" name="Rectangle 240">
              <a:extLst>
                <a:ext uri="{FF2B5EF4-FFF2-40B4-BE49-F238E27FC236}">
                  <a16:creationId xmlns:a16="http://schemas.microsoft.com/office/drawing/2014/main" xmlns="" id="{EA643382-D97F-41D9-9A8D-676FFAAD23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8" y="730"/>
              <a:ext cx="18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Rectangle 241">
              <a:extLst>
                <a:ext uri="{FF2B5EF4-FFF2-40B4-BE49-F238E27FC236}">
                  <a16:creationId xmlns:a16="http://schemas.microsoft.com/office/drawing/2014/main" xmlns="" id="{A9C01369-C73B-4C5B-8F1F-5CC231E52E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6" y="730"/>
              <a:ext cx="13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B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Rectangle 242">
              <a:extLst>
                <a:ext uri="{FF2B5EF4-FFF2-40B4-BE49-F238E27FC236}">
                  <a16:creationId xmlns:a16="http://schemas.microsoft.com/office/drawing/2014/main" xmlns="" id="{833AE237-31D1-4CEC-AE38-D3B7B16AF2A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6" y="730"/>
              <a:ext cx="14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U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0" name="Rectangle 243">
              <a:extLst>
                <a:ext uri="{FF2B5EF4-FFF2-40B4-BE49-F238E27FC236}">
                  <a16:creationId xmlns:a16="http://schemas.microsoft.com/office/drawing/2014/main" xmlns="" id="{31A198F6-4358-4CC8-B9C9-74B3180D94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0" y="946"/>
              <a:ext cx="223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R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Rectangle 244">
              <a:extLst>
                <a:ext uri="{FF2B5EF4-FFF2-40B4-BE49-F238E27FC236}">
                  <a16:creationId xmlns:a16="http://schemas.microsoft.com/office/drawing/2014/main" xmlns="" id="{FDC68425-67EC-4507-9650-FF1452FFC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7" y="946"/>
              <a:ext cx="12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245">
              <a:extLst>
                <a:ext uri="{FF2B5EF4-FFF2-40B4-BE49-F238E27FC236}">
                  <a16:creationId xmlns:a16="http://schemas.microsoft.com/office/drawing/2014/main" xmlns="" id="{E5E0E9E7-564E-47C1-9061-BDAC68000E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0" y="946"/>
              <a:ext cx="14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o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246">
              <a:extLst>
                <a:ext uri="{FF2B5EF4-FFF2-40B4-BE49-F238E27FC236}">
                  <a16:creationId xmlns:a16="http://schemas.microsoft.com/office/drawing/2014/main" xmlns="" id="{3366E46E-EB58-4D15-9847-CFEE2CC5A4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8" y="946"/>
              <a:ext cx="18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4" name="Rectangle 247">
              <a:extLst>
                <a:ext uri="{FF2B5EF4-FFF2-40B4-BE49-F238E27FC236}">
                  <a16:creationId xmlns:a16="http://schemas.microsoft.com/office/drawing/2014/main" xmlns="" id="{B9677898-ED9E-4145-ACCB-0D3C3FDA05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5" y="946"/>
              <a:ext cx="14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5" name="Rectangle 248">
              <a:extLst>
                <a:ext uri="{FF2B5EF4-FFF2-40B4-BE49-F238E27FC236}">
                  <a16:creationId xmlns:a16="http://schemas.microsoft.com/office/drawing/2014/main" xmlns="" id="{5E59C402-9F29-43A0-A868-8F3A1A7988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3" y="946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6" name="Rectangle 249">
              <a:extLst>
                <a:ext uri="{FF2B5EF4-FFF2-40B4-BE49-F238E27FC236}">
                  <a16:creationId xmlns:a16="http://schemas.microsoft.com/office/drawing/2014/main" xmlns="" id="{EC50E4EB-ED33-46E4-AAC4-AA209E271B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42" y="946"/>
              <a:ext cx="15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d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Rectangle 250">
              <a:extLst>
                <a:ext uri="{FF2B5EF4-FFF2-40B4-BE49-F238E27FC236}">
                  <a16:creationId xmlns:a16="http://schemas.microsoft.com/office/drawing/2014/main" xmlns="" id="{C8C4348E-D19D-4127-85F2-E4E9EC482B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8" y="946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8" name="Rectangle 251">
              <a:extLst>
                <a:ext uri="{FF2B5EF4-FFF2-40B4-BE49-F238E27FC236}">
                  <a16:creationId xmlns:a16="http://schemas.microsoft.com/office/drawing/2014/main" xmlns="" id="{6147B5BF-19F4-4DC4-AF5A-C50B83CBA7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14" y="946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59" name="Rectangle 252">
              <a:extLst>
                <a:ext uri="{FF2B5EF4-FFF2-40B4-BE49-F238E27FC236}">
                  <a16:creationId xmlns:a16="http://schemas.microsoft.com/office/drawing/2014/main" xmlns="" id="{F6596D70-8F48-4098-A3BE-CC5903E3DD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1" y="946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0" name="Rectangle 253">
              <a:extLst>
                <a:ext uri="{FF2B5EF4-FFF2-40B4-BE49-F238E27FC236}">
                  <a16:creationId xmlns:a16="http://schemas.microsoft.com/office/drawing/2014/main" xmlns="" id="{B8D8098B-C577-4C72-B1EA-C3099AE46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70" y="1095"/>
              <a:ext cx="147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Rectangle 254">
              <a:extLst>
                <a:ext uri="{FF2B5EF4-FFF2-40B4-BE49-F238E27FC236}">
                  <a16:creationId xmlns:a16="http://schemas.microsoft.com/office/drawing/2014/main" xmlns="" id="{65B84F14-8BA7-41D6-B946-9548CDBBB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49" y="1095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2" name="Rectangle 255">
              <a:extLst>
                <a:ext uri="{FF2B5EF4-FFF2-40B4-BE49-F238E27FC236}">
                  <a16:creationId xmlns:a16="http://schemas.microsoft.com/office/drawing/2014/main" xmlns="" id="{A5661500-F770-419E-B4AA-BB9E59C248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6" y="1095"/>
              <a:ext cx="14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3" name="Rectangle 256">
              <a:extLst>
                <a:ext uri="{FF2B5EF4-FFF2-40B4-BE49-F238E27FC236}">
                  <a16:creationId xmlns:a16="http://schemas.microsoft.com/office/drawing/2014/main" xmlns="" id="{0E39C3CC-5FFA-441F-9300-FA93FE2697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74" y="1095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4" name="Rectangle 257">
              <a:extLst>
                <a:ext uri="{FF2B5EF4-FFF2-40B4-BE49-F238E27FC236}">
                  <a16:creationId xmlns:a16="http://schemas.microsoft.com/office/drawing/2014/main" xmlns="" id="{6C18CAA4-1CD5-40DD-83A5-3815CD7264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2" y="1095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Rectangle 258">
              <a:extLst>
                <a:ext uri="{FF2B5EF4-FFF2-40B4-BE49-F238E27FC236}">
                  <a16:creationId xmlns:a16="http://schemas.microsoft.com/office/drawing/2014/main" xmlns="" id="{D5B092D0-7F00-45A6-BEFC-BADF8FB6C2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99" y="1095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Rectangle 259">
              <a:extLst>
                <a:ext uri="{FF2B5EF4-FFF2-40B4-BE49-F238E27FC236}">
                  <a16:creationId xmlns:a16="http://schemas.microsoft.com/office/drawing/2014/main" xmlns="" id="{6C7F5F3C-FDA5-4548-89B5-79CA8775FB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0" y="1095"/>
              <a:ext cx="18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Rectangle 260">
              <a:extLst>
                <a:ext uri="{FF2B5EF4-FFF2-40B4-BE49-F238E27FC236}">
                  <a16:creationId xmlns:a16="http://schemas.microsoft.com/office/drawing/2014/main" xmlns="" id="{2D7FF7EC-CB59-4E7A-8AEB-D6568B2DB2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87" y="1095"/>
              <a:ext cx="13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Rectangle 261">
              <a:extLst>
                <a:ext uri="{FF2B5EF4-FFF2-40B4-BE49-F238E27FC236}">
                  <a16:creationId xmlns:a16="http://schemas.microsoft.com/office/drawing/2014/main" xmlns="" id="{FF118F3F-EE24-4058-89DB-AB9D8C7512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" y="2994"/>
              <a:ext cx="26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Rectangle 262">
              <a:extLst>
                <a:ext uri="{FF2B5EF4-FFF2-40B4-BE49-F238E27FC236}">
                  <a16:creationId xmlns:a16="http://schemas.microsoft.com/office/drawing/2014/main" xmlns="" id="{82A7F57F-8610-4F2D-B63A-1D3ADD1A3E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4" y="2994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Rectangle 263">
              <a:extLst>
                <a:ext uri="{FF2B5EF4-FFF2-40B4-BE49-F238E27FC236}">
                  <a16:creationId xmlns:a16="http://schemas.microsoft.com/office/drawing/2014/main" xmlns="" id="{3B05B72E-5677-45B3-819F-3A7B933DA4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2994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Rectangle 264">
              <a:extLst>
                <a:ext uri="{FF2B5EF4-FFF2-40B4-BE49-F238E27FC236}">
                  <a16:creationId xmlns:a16="http://schemas.microsoft.com/office/drawing/2014/main" xmlns="" id="{AE8DEFB8-9BCE-4BA6-AC04-D113C851E9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4" y="2994"/>
              <a:ext cx="12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2" name="Rectangle 265">
              <a:extLst>
                <a:ext uri="{FF2B5EF4-FFF2-40B4-BE49-F238E27FC236}">
                  <a16:creationId xmlns:a16="http://schemas.microsoft.com/office/drawing/2014/main" xmlns="" id="{3CAF04B9-728D-48EB-991D-AA6BC9224D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76" y="2994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3" name="Rectangle 266">
              <a:extLst>
                <a:ext uri="{FF2B5EF4-FFF2-40B4-BE49-F238E27FC236}">
                  <a16:creationId xmlns:a16="http://schemas.microsoft.com/office/drawing/2014/main" xmlns="" id="{F589C40C-A584-4DAC-9B6A-B0632E4A19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3" y="2994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4" name="Rectangle 267">
              <a:extLst>
                <a:ext uri="{FF2B5EF4-FFF2-40B4-BE49-F238E27FC236}">
                  <a16:creationId xmlns:a16="http://schemas.microsoft.com/office/drawing/2014/main" xmlns="" id="{074CC317-7355-4954-A456-B2A9278863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9" y="2994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Rectangle 268">
              <a:extLst>
                <a:ext uri="{FF2B5EF4-FFF2-40B4-BE49-F238E27FC236}">
                  <a16:creationId xmlns:a16="http://schemas.microsoft.com/office/drawing/2014/main" xmlns="" id="{FFDED920-B92E-492D-BB26-853AEEC986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87" y="2994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6" name="Rectangle 269">
              <a:extLst>
                <a:ext uri="{FF2B5EF4-FFF2-40B4-BE49-F238E27FC236}">
                  <a16:creationId xmlns:a16="http://schemas.microsoft.com/office/drawing/2014/main" xmlns="" id="{C76C2C12-846E-4FE8-A846-B3B0EDB4DD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74" y="2994"/>
              <a:ext cx="12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Rectangle 270">
              <a:extLst>
                <a:ext uri="{FF2B5EF4-FFF2-40B4-BE49-F238E27FC236}">
                  <a16:creationId xmlns:a16="http://schemas.microsoft.com/office/drawing/2014/main" xmlns="" id="{0C57F04B-F478-415E-8931-9F39AA2086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6" y="2994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8" name="Rectangle 271">
              <a:extLst>
                <a:ext uri="{FF2B5EF4-FFF2-40B4-BE49-F238E27FC236}">
                  <a16:creationId xmlns:a16="http://schemas.microsoft.com/office/drawing/2014/main" xmlns="" id="{CE2620A3-04C0-4280-88F1-E001546C88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2" y="2994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272">
              <a:extLst>
                <a:ext uri="{FF2B5EF4-FFF2-40B4-BE49-F238E27FC236}">
                  <a16:creationId xmlns:a16="http://schemas.microsoft.com/office/drawing/2014/main" xmlns="" id="{E3A6D72E-45E3-4B0B-B796-9000D53E09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2" y="2994"/>
              <a:ext cx="184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u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273">
              <a:extLst>
                <a:ext uri="{FF2B5EF4-FFF2-40B4-BE49-F238E27FC236}">
                  <a16:creationId xmlns:a16="http://schemas.microsoft.com/office/drawing/2014/main" xmlns="" id="{28135709-CF6D-46EB-98E1-FDF45FB95A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50" y="2994"/>
              <a:ext cx="14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g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274">
              <a:extLst>
                <a:ext uri="{FF2B5EF4-FFF2-40B4-BE49-F238E27FC236}">
                  <a16:creationId xmlns:a16="http://schemas.microsoft.com/office/drawing/2014/main" xmlns="" id="{189C1D21-DE48-4AC2-A30F-DA261946F5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36" y="2994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2" name="Rectangle 275">
              <a:extLst>
                <a:ext uri="{FF2B5EF4-FFF2-40B4-BE49-F238E27FC236}">
                  <a16:creationId xmlns:a16="http://schemas.microsoft.com/office/drawing/2014/main" xmlns="" id="{479FD1F7-7FE6-4AD2-AD49-AEFF02CC71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22" y="2994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3" name="Rectangle 276">
              <a:extLst>
                <a:ext uri="{FF2B5EF4-FFF2-40B4-BE49-F238E27FC236}">
                  <a16:creationId xmlns:a16="http://schemas.microsoft.com/office/drawing/2014/main" xmlns="" id="{A7355381-4776-41B5-9340-862A2F8A1D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" y="3143"/>
              <a:ext cx="19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4" name="Rectangle 277">
              <a:extLst>
                <a:ext uri="{FF2B5EF4-FFF2-40B4-BE49-F238E27FC236}">
                  <a16:creationId xmlns:a16="http://schemas.microsoft.com/office/drawing/2014/main" xmlns="" id="{0187785A-30F1-4797-9BB3-222F8BBA8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33" y="3143"/>
              <a:ext cx="10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5" name="Rectangle 278">
              <a:extLst>
                <a:ext uri="{FF2B5EF4-FFF2-40B4-BE49-F238E27FC236}">
                  <a16:creationId xmlns:a16="http://schemas.microsoft.com/office/drawing/2014/main" xmlns="" id="{95137E93-5C5A-4D39-B12C-E4B630AB4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3" y="3143"/>
              <a:ext cx="10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6" name="Rectangle 279">
              <a:extLst>
                <a:ext uri="{FF2B5EF4-FFF2-40B4-BE49-F238E27FC236}">
                  <a16:creationId xmlns:a16="http://schemas.microsoft.com/office/drawing/2014/main" xmlns="" id="{F3D3C438-9A73-4E01-B14A-59848CDB2D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1" y="3143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7" name="Rectangle 280">
              <a:extLst>
                <a:ext uri="{FF2B5EF4-FFF2-40B4-BE49-F238E27FC236}">
                  <a16:creationId xmlns:a16="http://schemas.microsoft.com/office/drawing/2014/main" xmlns="" id="{71F2607F-6A4D-490E-9D67-50FEEFF47E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6" y="3143"/>
              <a:ext cx="10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f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8" name="Rectangle 281">
              <a:extLst>
                <a:ext uri="{FF2B5EF4-FFF2-40B4-BE49-F238E27FC236}">
                  <a16:creationId xmlns:a16="http://schemas.microsoft.com/office/drawing/2014/main" xmlns="" id="{03A54295-7CFC-4A21-8BC4-85BDA38930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74" y="3143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89" name="Rectangle 282">
              <a:extLst>
                <a:ext uri="{FF2B5EF4-FFF2-40B4-BE49-F238E27FC236}">
                  <a16:creationId xmlns:a16="http://schemas.microsoft.com/office/drawing/2014/main" xmlns="" id="{71B88DB7-7D7F-4F41-89FC-94078587A7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8" y="3143"/>
              <a:ext cx="12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0" name="Rectangle 283">
              <a:extLst>
                <a:ext uri="{FF2B5EF4-FFF2-40B4-BE49-F238E27FC236}">
                  <a16:creationId xmlns:a16="http://schemas.microsoft.com/office/drawing/2014/main" xmlns="" id="{90EEDB7A-4B2E-48F7-8E5E-3B29920FB7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1" y="3143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1" name="Rectangle 284">
              <a:extLst>
                <a:ext uri="{FF2B5EF4-FFF2-40B4-BE49-F238E27FC236}">
                  <a16:creationId xmlns:a16="http://schemas.microsoft.com/office/drawing/2014/main" xmlns="" id="{9ACA3E18-4505-4D08-8864-C3692884C9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7" y="3143"/>
              <a:ext cx="13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2" name="Rectangle 285">
              <a:extLst>
                <a:ext uri="{FF2B5EF4-FFF2-40B4-BE49-F238E27FC236}">
                  <a16:creationId xmlns:a16="http://schemas.microsoft.com/office/drawing/2014/main" xmlns="" id="{240DD60E-325D-485A-89AD-7C74C45FBB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64" y="3143"/>
              <a:ext cx="21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o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3" name="Rectangle 286">
              <a:extLst>
                <a:ext uri="{FF2B5EF4-FFF2-40B4-BE49-F238E27FC236}">
                  <a16:creationId xmlns:a16="http://schemas.microsoft.com/office/drawing/2014/main" xmlns="" id="{BCAFCAB4-477B-4036-A13D-8D79914776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05" y="3143"/>
              <a:ext cx="18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4" name="Rectangle 287">
              <a:extLst>
                <a:ext uri="{FF2B5EF4-FFF2-40B4-BE49-F238E27FC236}">
                  <a16:creationId xmlns:a16="http://schemas.microsoft.com/office/drawing/2014/main" xmlns="" id="{72134FB7-36BA-4433-889D-4F1D1E585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23" y="3143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5" name="Rectangle 288">
              <a:extLst>
                <a:ext uri="{FF2B5EF4-FFF2-40B4-BE49-F238E27FC236}">
                  <a16:creationId xmlns:a16="http://schemas.microsoft.com/office/drawing/2014/main" xmlns="" id="{91F3EFFC-9AB8-45C0-8626-B70906D50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09" y="3143"/>
              <a:ext cx="14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6" name="Rectangle 289">
              <a:extLst>
                <a:ext uri="{FF2B5EF4-FFF2-40B4-BE49-F238E27FC236}">
                  <a16:creationId xmlns:a16="http://schemas.microsoft.com/office/drawing/2014/main" xmlns="" id="{05BC76A6-D9E8-4D11-A42B-32D03648B0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87" y="3143"/>
              <a:ext cx="10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7" name="Rectangle 290">
              <a:extLst>
                <a:ext uri="{FF2B5EF4-FFF2-40B4-BE49-F238E27FC236}">
                  <a16:creationId xmlns:a16="http://schemas.microsoft.com/office/drawing/2014/main" xmlns="" id="{561C958B-59B2-4938-8574-5CA1B738AB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26" y="3143"/>
              <a:ext cx="14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8" name="Rectangle 291">
              <a:extLst>
                <a:ext uri="{FF2B5EF4-FFF2-40B4-BE49-F238E27FC236}">
                  <a16:creationId xmlns:a16="http://schemas.microsoft.com/office/drawing/2014/main" xmlns="" id="{EF3C3B3B-F389-47D9-A90C-89695ED9D2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5" y="3143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99" name="Rectangle 292">
              <a:extLst>
                <a:ext uri="{FF2B5EF4-FFF2-40B4-BE49-F238E27FC236}">
                  <a16:creationId xmlns:a16="http://schemas.microsoft.com/office/drawing/2014/main" xmlns="" id="{A3A15B71-1C19-4DA8-AEC2-9D6F4D4F7C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3" y="3143"/>
              <a:ext cx="11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Rectangle 293">
              <a:extLst>
                <a:ext uri="{FF2B5EF4-FFF2-40B4-BE49-F238E27FC236}">
                  <a16:creationId xmlns:a16="http://schemas.microsoft.com/office/drawing/2014/main" xmlns="" id="{D02B814F-44FD-41EA-9A63-F5207A1360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0" y="3143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1" name="Rectangle 294">
              <a:extLst>
                <a:ext uri="{FF2B5EF4-FFF2-40B4-BE49-F238E27FC236}">
                  <a16:creationId xmlns:a16="http://schemas.microsoft.com/office/drawing/2014/main" xmlns="" id="{06BF49DE-AC02-47A5-8663-6BDE27BBE6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" y="3291"/>
              <a:ext cx="20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2" name="Rectangle 295">
              <a:extLst>
                <a:ext uri="{FF2B5EF4-FFF2-40B4-BE49-F238E27FC236}">
                  <a16:creationId xmlns:a16="http://schemas.microsoft.com/office/drawing/2014/main" xmlns="" id="{D049A9A0-551D-4AE5-94DB-B39E0DE394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9" y="3291"/>
              <a:ext cx="10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3" name="Rectangle 296">
              <a:extLst>
                <a:ext uri="{FF2B5EF4-FFF2-40B4-BE49-F238E27FC236}">
                  <a16:creationId xmlns:a16="http://schemas.microsoft.com/office/drawing/2014/main" xmlns="" id="{A20CE764-89A3-4860-91DA-54B145C924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9" y="3291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j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Rectangle 297">
              <a:extLst>
                <a:ext uri="{FF2B5EF4-FFF2-40B4-BE49-F238E27FC236}">
                  <a16:creationId xmlns:a16="http://schemas.microsoft.com/office/drawing/2014/main" xmlns="" id="{791E225F-EA19-4329-9784-C300290A624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1" y="3291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5" name="Rectangle 298">
              <a:extLst>
                <a:ext uri="{FF2B5EF4-FFF2-40B4-BE49-F238E27FC236}">
                  <a16:creationId xmlns:a16="http://schemas.microsoft.com/office/drawing/2014/main" xmlns="" id="{BF8E2C3C-03E3-428B-BABA-3AA0325A9B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7" y="3291"/>
              <a:ext cx="217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y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Rectangle 299">
              <a:extLst>
                <a:ext uri="{FF2B5EF4-FFF2-40B4-BE49-F238E27FC236}">
                  <a16:creationId xmlns:a16="http://schemas.microsoft.com/office/drawing/2014/main" xmlns="" id="{B56734A8-0A0D-44ED-A22B-F7161EAEB1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3" y="3291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7" name="Rectangle 300">
              <a:extLst>
                <a:ext uri="{FF2B5EF4-FFF2-40B4-BE49-F238E27FC236}">
                  <a16:creationId xmlns:a16="http://schemas.microsoft.com/office/drawing/2014/main" xmlns="" id="{D69AF481-E477-43C8-97B4-C4A3D23144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72" y="3291"/>
              <a:ext cx="14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g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Rectangle 301">
              <a:extLst>
                <a:ext uri="{FF2B5EF4-FFF2-40B4-BE49-F238E27FC236}">
                  <a16:creationId xmlns:a16="http://schemas.microsoft.com/office/drawing/2014/main" xmlns="" id="{FCEFF5AE-242E-4CD2-A5DD-486E446514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58" y="3291"/>
              <a:ext cx="9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9" name="Rectangle 302">
              <a:extLst>
                <a:ext uri="{FF2B5EF4-FFF2-40B4-BE49-F238E27FC236}">
                  <a16:creationId xmlns:a16="http://schemas.microsoft.com/office/drawing/2014/main" xmlns="" id="{15F22E07-ACC0-4350-86B1-84D2A7B6D7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81" y="3291"/>
              <a:ext cx="23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b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0" name="Rectangle 303">
              <a:extLst>
                <a:ext uri="{FF2B5EF4-FFF2-40B4-BE49-F238E27FC236}">
                  <a16:creationId xmlns:a16="http://schemas.microsoft.com/office/drawing/2014/main" xmlns="" id="{41A61149-D016-47EA-B093-14B69912B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46" y="3291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1" name="Rectangle 304">
              <a:extLst>
                <a:ext uri="{FF2B5EF4-FFF2-40B4-BE49-F238E27FC236}">
                  <a16:creationId xmlns:a16="http://schemas.microsoft.com/office/drawing/2014/main" xmlns="" id="{8B58CDCD-3BE8-40E8-839C-BDF7342F8E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9" y="3291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u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2" name="Rectangle 305">
              <a:extLst>
                <a:ext uri="{FF2B5EF4-FFF2-40B4-BE49-F238E27FC236}">
                  <a16:creationId xmlns:a16="http://schemas.microsoft.com/office/drawing/2014/main" xmlns="" id="{76A42726-268E-4011-BC43-9BCA309136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48" y="3291"/>
              <a:ext cx="18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3" name="Rectangle 306">
              <a:extLst>
                <a:ext uri="{FF2B5EF4-FFF2-40B4-BE49-F238E27FC236}">
                  <a16:creationId xmlns:a16="http://schemas.microsoft.com/office/drawing/2014/main" xmlns="" id="{DF257070-35D1-431C-9F4D-9A339348F4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4" y="3291"/>
              <a:ext cx="237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d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4" name="Rectangle 307">
              <a:extLst>
                <a:ext uri="{FF2B5EF4-FFF2-40B4-BE49-F238E27FC236}">
                  <a16:creationId xmlns:a16="http://schemas.microsoft.com/office/drawing/2014/main" xmlns="" id="{3E31654B-C85F-47A3-835A-F4FCDDBAFB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7" y="3291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5" name="Rectangle 308">
              <a:extLst>
                <a:ext uri="{FF2B5EF4-FFF2-40B4-BE49-F238E27FC236}">
                  <a16:creationId xmlns:a16="http://schemas.microsoft.com/office/drawing/2014/main" xmlns="" id="{AFDBCB20-59D0-4FBB-A6C0-8B5DE72DBC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63" y="3291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6" name="Rectangle 309">
              <a:extLst>
                <a:ext uri="{FF2B5EF4-FFF2-40B4-BE49-F238E27FC236}">
                  <a16:creationId xmlns:a16="http://schemas.microsoft.com/office/drawing/2014/main" xmlns="" id="{1E231298-21BD-417E-89DC-1E7ABCCC6D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49" y="3291"/>
              <a:ext cx="10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7" name="Rectangle 310">
              <a:extLst>
                <a:ext uri="{FF2B5EF4-FFF2-40B4-BE49-F238E27FC236}">
                  <a16:creationId xmlns:a16="http://schemas.microsoft.com/office/drawing/2014/main" xmlns="" id="{C387B182-9FA6-46B4-AC36-4C36EB455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8" y="3440"/>
              <a:ext cx="17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d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Rectangle 311">
              <a:extLst>
                <a:ext uri="{FF2B5EF4-FFF2-40B4-BE49-F238E27FC236}">
                  <a16:creationId xmlns:a16="http://schemas.microsoft.com/office/drawing/2014/main" xmlns="" id="{CB609FC3-2AAC-44F3-A5F7-731A902C2C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8" y="3440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19" name="Rectangle 312">
              <a:extLst>
                <a:ext uri="{FF2B5EF4-FFF2-40B4-BE49-F238E27FC236}">
                  <a16:creationId xmlns:a16="http://schemas.microsoft.com/office/drawing/2014/main" xmlns="" id="{40021A27-B02E-4ED7-AB70-2821DCAEDE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" y="3440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0" name="Rectangle 313">
              <a:extLst>
                <a:ext uri="{FF2B5EF4-FFF2-40B4-BE49-F238E27FC236}">
                  <a16:creationId xmlns:a16="http://schemas.microsoft.com/office/drawing/2014/main" xmlns="" id="{7D478405-B671-42AA-B319-665A7A2958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27" y="3440"/>
              <a:ext cx="12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1" name="Rectangle 314">
              <a:extLst>
                <a:ext uri="{FF2B5EF4-FFF2-40B4-BE49-F238E27FC236}">
                  <a16:creationId xmlns:a16="http://schemas.microsoft.com/office/drawing/2014/main" xmlns="" id="{5EB70D71-C10B-4247-94AB-710D1B1CA8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0" y="3440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u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2" name="Rectangle 315">
              <a:extLst>
                <a:ext uri="{FF2B5EF4-FFF2-40B4-BE49-F238E27FC236}">
                  <a16:creationId xmlns:a16="http://schemas.microsoft.com/office/drawing/2014/main" xmlns="" id="{56AA647B-1169-49F0-AA1C-15C303414D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68" y="3440"/>
              <a:ext cx="12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k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3" name="Rectangle 316">
              <a:extLst>
                <a:ext uri="{FF2B5EF4-FFF2-40B4-BE49-F238E27FC236}">
                  <a16:creationId xmlns:a16="http://schemas.microsoft.com/office/drawing/2014/main" xmlns="" id="{7E2F8733-8776-481C-B288-9E303E90CE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31" y="3440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4" name="Rectangle 317">
              <a:extLst>
                <a:ext uri="{FF2B5EF4-FFF2-40B4-BE49-F238E27FC236}">
                  <a16:creationId xmlns:a16="http://schemas.microsoft.com/office/drawing/2014/main" xmlns="" id="{6C943BC1-3931-4616-82C3-343CE91A23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7" y="3440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5" name="Rectangle 318">
              <a:extLst>
                <a:ext uri="{FF2B5EF4-FFF2-40B4-BE49-F238E27FC236}">
                  <a16:creationId xmlns:a16="http://schemas.microsoft.com/office/drawing/2014/main" xmlns="" id="{5735AF0D-1B25-4DBB-B0D5-596796E5417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27" y="3440"/>
              <a:ext cx="17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o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6" name="Rectangle 319">
              <a:extLst>
                <a:ext uri="{FF2B5EF4-FFF2-40B4-BE49-F238E27FC236}">
                  <a16:creationId xmlns:a16="http://schemas.microsoft.com/office/drawing/2014/main" xmlns="" id="{1CEC9FAE-DE10-4C0C-8315-3F0802E65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29" y="3440"/>
              <a:ext cx="14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7" name="Rectangle 320">
              <a:extLst>
                <a:ext uri="{FF2B5EF4-FFF2-40B4-BE49-F238E27FC236}">
                  <a16:creationId xmlns:a16="http://schemas.microsoft.com/office/drawing/2014/main" xmlns="" id="{CDCEFF91-3ECA-474B-9B06-8691B05EAB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7" y="3440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h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8" name="Rectangle 321">
              <a:extLst>
                <a:ext uri="{FF2B5EF4-FFF2-40B4-BE49-F238E27FC236}">
                  <a16:creationId xmlns:a16="http://schemas.microsoft.com/office/drawing/2014/main" xmlns="" id="{70D9AB11-9242-46A6-9B0B-3E5D2F8CE0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25" y="3440"/>
              <a:ext cx="18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29" name="Rectangle 322">
              <a:extLst>
                <a:ext uri="{FF2B5EF4-FFF2-40B4-BE49-F238E27FC236}">
                  <a16:creationId xmlns:a16="http://schemas.microsoft.com/office/drawing/2014/main" xmlns="" id="{7FB49431-3740-420A-9E7F-D31004710D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42" y="3440"/>
              <a:ext cx="13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0" name="Freeform 323">
              <a:extLst>
                <a:ext uri="{FF2B5EF4-FFF2-40B4-BE49-F238E27FC236}">
                  <a16:creationId xmlns:a16="http://schemas.microsoft.com/office/drawing/2014/main" xmlns="" id="{3424FC13-C131-4D6F-B113-2D9956C07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18" y="2124"/>
              <a:ext cx="738" cy="196"/>
            </a:xfrm>
            <a:custGeom>
              <a:avLst/>
              <a:gdLst>
                <a:gd name="T0" fmla="*/ 0 w 1255"/>
                <a:gd name="T1" fmla="*/ 0 h 333"/>
                <a:gd name="T2" fmla="*/ 0 w 1255"/>
                <a:gd name="T3" fmla="*/ 0 h 333"/>
                <a:gd name="T4" fmla="*/ 292 w 1255"/>
                <a:gd name="T5" fmla="*/ 0 h 333"/>
                <a:gd name="T6" fmla="*/ 292 w 1255"/>
                <a:gd name="T7" fmla="*/ 279 h 333"/>
                <a:gd name="T8" fmla="*/ 1175 w 1255"/>
                <a:gd name="T9" fmla="*/ 279 h 333"/>
                <a:gd name="T10" fmla="*/ 1175 w 1255"/>
                <a:gd name="T11" fmla="*/ 253 h 333"/>
                <a:gd name="T12" fmla="*/ 1255 w 1255"/>
                <a:gd name="T13" fmla="*/ 293 h 333"/>
                <a:gd name="T14" fmla="*/ 1175 w 1255"/>
                <a:gd name="T15" fmla="*/ 333 h 333"/>
                <a:gd name="T16" fmla="*/ 1175 w 1255"/>
                <a:gd name="T17" fmla="*/ 306 h 333"/>
                <a:gd name="T18" fmla="*/ 265 w 1255"/>
                <a:gd name="T19" fmla="*/ 306 h 333"/>
                <a:gd name="T20" fmla="*/ 265 w 1255"/>
                <a:gd name="T21" fmla="*/ 27 h 333"/>
                <a:gd name="T22" fmla="*/ 0 w 1255"/>
                <a:gd name="T23" fmla="*/ 27 h 333"/>
                <a:gd name="T24" fmla="*/ 0 w 1255"/>
                <a:gd name="T2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5" h="333">
                  <a:moveTo>
                    <a:pt x="0" y="0"/>
                  </a:moveTo>
                  <a:lnTo>
                    <a:pt x="0" y="0"/>
                  </a:lnTo>
                  <a:lnTo>
                    <a:pt x="292" y="0"/>
                  </a:lnTo>
                  <a:lnTo>
                    <a:pt x="292" y="279"/>
                  </a:lnTo>
                  <a:lnTo>
                    <a:pt x="1175" y="279"/>
                  </a:lnTo>
                  <a:lnTo>
                    <a:pt x="1175" y="253"/>
                  </a:lnTo>
                  <a:lnTo>
                    <a:pt x="1255" y="293"/>
                  </a:lnTo>
                  <a:lnTo>
                    <a:pt x="1175" y="333"/>
                  </a:lnTo>
                  <a:lnTo>
                    <a:pt x="1175" y="306"/>
                  </a:lnTo>
                  <a:lnTo>
                    <a:pt x="265" y="306"/>
                  </a:lnTo>
                  <a:lnTo>
                    <a:pt x="265" y="27"/>
                  </a:lnTo>
                  <a:lnTo>
                    <a:pt x="0" y="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Rectangle 324">
              <a:extLst>
                <a:ext uri="{FF2B5EF4-FFF2-40B4-BE49-F238E27FC236}">
                  <a16:creationId xmlns:a16="http://schemas.microsoft.com/office/drawing/2014/main" xmlns="" id="{2C0F5055-9ED5-48FB-A818-E8258A7EF6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52" y="3797"/>
              <a:ext cx="221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2" name="Rectangle 325">
              <a:extLst>
                <a:ext uri="{FF2B5EF4-FFF2-40B4-BE49-F238E27FC236}">
                  <a16:creationId xmlns:a16="http://schemas.microsoft.com/office/drawing/2014/main" xmlns="" id="{3222007D-1AD1-4922-9C8A-41114980B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01" y="3797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3" name="Rectangle 326">
              <a:extLst>
                <a:ext uri="{FF2B5EF4-FFF2-40B4-BE49-F238E27FC236}">
                  <a16:creationId xmlns:a16="http://schemas.microsoft.com/office/drawing/2014/main" xmlns="" id="{96049CF3-653B-4785-8816-AE25AB88A8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80" y="3797"/>
              <a:ext cx="145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4" name="Rectangle 327">
              <a:extLst>
                <a:ext uri="{FF2B5EF4-FFF2-40B4-BE49-F238E27FC236}">
                  <a16:creationId xmlns:a16="http://schemas.microsoft.com/office/drawing/2014/main" xmlns="" id="{C8EAD6D5-5F42-4495-9673-04A3C940A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58" y="3797"/>
              <a:ext cx="106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5" name="Rectangle 328">
              <a:extLst>
                <a:ext uri="{FF2B5EF4-FFF2-40B4-BE49-F238E27FC236}">
                  <a16:creationId xmlns:a16="http://schemas.microsoft.com/office/drawing/2014/main" xmlns="" id="{11A20BC1-26FA-458B-BCEE-305128C92F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7" y="3797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6" name="Rectangle 329">
              <a:extLst>
                <a:ext uri="{FF2B5EF4-FFF2-40B4-BE49-F238E27FC236}">
                  <a16:creationId xmlns:a16="http://schemas.microsoft.com/office/drawing/2014/main" xmlns="" id="{112480C3-F2D5-4069-9613-3D00D2442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4" y="3797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7" name="Rectangle 330">
              <a:extLst>
                <a:ext uri="{FF2B5EF4-FFF2-40B4-BE49-F238E27FC236}">
                  <a16:creationId xmlns:a16="http://schemas.microsoft.com/office/drawing/2014/main" xmlns="" id="{7709285C-9416-4B21-9D40-861080EADD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9" y="3797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8" name="Rectangle 331">
              <a:extLst>
                <a:ext uri="{FF2B5EF4-FFF2-40B4-BE49-F238E27FC236}">
                  <a16:creationId xmlns:a16="http://schemas.microsoft.com/office/drawing/2014/main" xmlns="" id="{40BA9A62-A450-4CBA-99F3-F0FC3F0E65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6" y="3797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9" name="Rectangle 332">
              <a:extLst>
                <a:ext uri="{FF2B5EF4-FFF2-40B4-BE49-F238E27FC236}">
                  <a16:creationId xmlns:a16="http://schemas.microsoft.com/office/drawing/2014/main" xmlns="" id="{745B8137-48A6-4A53-9AFE-89A24E598A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3" y="3797"/>
              <a:ext cx="232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p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0" name="Rectangle 333">
              <a:extLst>
                <a:ext uri="{FF2B5EF4-FFF2-40B4-BE49-F238E27FC236}">
                  <a16:creationId xmlns:a16="http://schemas.microsoft.com/office/drawing/2014/main" xmlns="" id="{0BE2CBE7-E1DA-43D8-B414-777A282110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8" y="3797"/>
              <a:ext cx="140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1" name="Rectangle 334">
              <a:extLst>
                <a:ext uri="{FF2B5EF4-FFF2-40B4-BE49-F238E27FC236}">
                  <a16:creationId xmlns:a16="http://schemas.microsoft.com/office/drawing/2014/main" xmlns="" id="{32F2A132-246A-48D2-AAC2-6AF743064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6" y="3797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2" name="Rectangle 335">
              <a:extLst>
                <a:ext uri="{FF2B5EF4-FFF2-40B4-BE49-F238E27FC236}">
                  <a16:creationId xmlns:a16="http://schemas.microsoft.com/office/drawing/2014/main" xmlns="" id="{428CB6F3-905B-49F0-9503-93AAF5804E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39" y="3797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3" name="Rectangle 336">
              <a:extLst>
                <a:ext uri="{FF2B5EF4-FFF2-40B4-BE49-F238E27FC236}">
                  <a16:creationId xmlns:a16="http://schemas.microsoft.com/office/drawing/2014/main" xmlns="" id="{48080A89-907E-4736-B6AC-7D68D80E73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3" y="3797"/>
              <a:ext cx="149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4" name="Rectangle 337">
              <a:extLst>
                <a:ext uri="{FF2B5EF4-FFF2-40B4-BE49-F238E27FC236}">
                  <a16:creationId xmlns:a16="http://schemas.microsoft.com/office/drawing/2014/main" xmlns="" id="{30AB9BB8-F5C4-42B2-A3E2-4E76AEA58A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9" y="3797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5" name="Rectangle 338">
              <a:extLst>
                <a:ext uri="{FF2B5EF4-FFF2-40B4-BE49-F238E27FC236}">
                  <a16:creationId xmlns:a16="http://schemas.microsoft.com/office/drawing/2014/main" xmlns="" id="{3380ECA1-F94C-4F9A-BA1F-3CEC59A68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07" y="3945"/>
              <a:ext cx="227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h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6" name="Rectangle 339">
              <a:extLst>
                <a:ext uri="{FF2B5EF4-FFF2-40B4-BE49-F238E27FC236}">
                  <a16:creationId xmlns:a16="http://schemas.microsoft.com/office/drawing/2014/main" xmlns="" id="{CE31F5FE-A0E8-44E6-8AB7-DA83F07F6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1" y="3945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7" name="Rectangle 340">
              <a:extLst>
                <a:ext uri="{FF2B5EF4-FFF2-40B4-BE49-F238E27FC236}">
                  <a16:creationId xmlns:a16="http://schemas.microsoft.com/office/drawing/2014/main" xmlns="" id="{D392C699-BD8B-4E86-AA1B-6F93A2B6EE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5" y="3945"/>
              <a:ext cx="88" cy="1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8" name="Freeform 341">
              <a:extLst>
                <a:ext uri="{FF2B5EF4-FFF2-40B4-BE49-F238E27FC236}">
                  <a16:creationId xmlns:a16="http://schemas.microsoft.com/office/drawing/2014/main" xmlns="" id="{D559ECE1-943F-434E-9AC2-EC25A174FB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" y="2077"/>
              <a:ext cx="1653" cy="447"/>
            </a:xfrm>
            <a:custGeom>
              <a:avLst/>
              <a:gdLst>
                <a:gd name="T0" fmla="*/ 0 w 2813"/>
                <a:gd name="T1" fmla="*/ 380 h 760"/>
                <a:gd name="T2" fmla="*/ 0 w 2813"/>
                <a:gd name="T3" fmla="*/ 380 h 760"/>
                <a:gd name="T4" fmla="*/ 380 w 2813"/>
                <a:gd name="T5" fmla="*/ 0 h 760"/>
                <a:gd name="T6" fmla="*/ 2433 w 2813"/>
                <a:gd name="T7" fmla="*/ 0 h 760"/>
                <a:gd name="T8" fmla="*/ 2813 w 2813"/>
                <a:gd name="T9" fmla="*/ 380 h 760"/>
                <a:gd name="T10" fmla="*/ 2813 w 2813"/>
                <a:gd name="T11" fmla="*/ 380 h 760"/>
                <a:gd name="T12" fmla="*/ 2433 w 2813"/>
                <a:gd name="T13" fmla="*/ 760 h 760"/>
                <a:gd name="T14" fmla="*/ 380 w 2813"/>
                <a:gd name="T15" fmla="*/ 760 h 760"/>
                <a:gd name="T16" fmla="*/ 0 w 2813"/>
                <a:gd name="T17" fmla="*/ 380 h 760"/>
                <a:gd name="T18" fmla="*/ 0 w 2813"/>
                <a:gd name="T19" fmla="*/ 38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3" h="760">
                  <a:moveTo>
                    <a:pt x="0" y="380"/>
                  </a:moveTo>
                  <a:lnTo>
                    <a:pt x="0" y="380"/>
                  </a:lnTo>
                  <a:cubicBezTo>
                    <a:pt x="0" y="170"/>
                    <a:pt x="170" y="0"/>
                    <a:pt x="380" y="0"/>
                  </a:cubicBezTo>
                  <a:lnTo>
                    <a:pt x="2433" y="0"/>
                  </a:lnTo>
                  <a:cubicBezTo>
                    <a:pt x="2643" y="0"/>
                    <a:pt x="2813" y="170"/>
                    <a:pt x="2813" y="380"/>
                  </a:cubicBezTo>
                  <a:lnTo>
                    <a:pt x="2813" y="380"/>
                  </a:lnTo>
                  <a:cubicBezTo>
                    <a:pt x="2813" y="590"/>
                    <a:pt x="2643" y="760"/>
                    <a:pt x="2433" y="760"/>
                  </a:cubicBezTo>
                  <a:lnTo>
                    <a:pt x="380" y="760"/>
                  </a:lnTo>
                  <a:cubicBezTo>
                    <a:pt x="170" y="760"/>
                    <a:pt x="0" y="590"/>
                    <a:pt x="0" y="380"/>
                  </a:cubicBezTo>
                  <a:lnTo>
                    <a:pt x="0" y="380"/>
                  </a:lnTo>
                  <a:close/>
                </a:path>
              </a:pathLst>
            </a:custGeom>
            <a:solidFill>
              <a:srgbClr val="FAB11B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  <a:effectLst>
              <a:outerShdw blurRad="76200" dist="12700" dir="8100000" sy="-23000" kx="800400" algn="br" rotWithShape="0">
                <a:prstClr val="black">
                  <a:alpha val="20000"/>
                </a:prstClr>
              </a:outerShdw>
            </a:effec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342">
              <a:extLst>
                <a:ext uri="{FF2B5EF4-FFF2-40B4-BE49-F238E27FC236}">
                  <a16:creationId xmlns:a16="http://schemas.microsoft.com/office/drawing/2014/main" xmlns="" id="{52428A86-36BE-4CC5-8B94-C87FF55F2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5" y="2077"/>
              <a:ext cx="1653" cy="447"/>
            </a:xfrm>
            <a:custGeom>
              <a:avLst/>
              <a:gdLst>
                <a:gd name="T0" fmla="*/ 0 w 2813"/>
                <a:gd name="T1" fmla="*/ 380 h 760"/>
                <a:gd name="T2" fmla="*/ 0 w 2813"/>
                <a:gd name="T3" fmla="*/ 380 h 760"/>
                <a:gd name="T4" fmla="*/ 380 w 2813"/>
                <a:gd name="T5" fmla="*/ 0 h 760"/>
                <a:gd name="T6" fmla="*/ 2433 w 2813"/>
                <a:gd name="T7" fmla="*/ 0 h 760"/>
                <a:gd name="T8" fmla="*/ 2813 w 2813"/>
                <a:gd name="T9" fmla="*/ 380 h 760"/>
                <a:gd name="T10" fmla="*/ 2813 w 2813"/>
                <a:gd name="T11" fmla="*/ 380 h 760"/>
                <a:gd name="T12" fmla="*/ 2433 w 2813"/>
                <a:gd name="T13" fmla="*/ 760 h 760"/>
                <a:gd name="T14" fmla="*/ 380 w 2813"/>
                <a:gd name="T15" fmla="*/ 760 h 760"/>
                <a:gd name="T16" fmla="*/ 0 w 2813"/>
                <a:gd name="T17" fmla="*/ 380 h 760"/>
                <a:gd name="T18" fmla="*/ 0 w 2813"/>
                <a:gd name="T19" fmla="*/ 38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3" h="760">
                  <a:moveTo>
                    <a:pt x="0" y="380"/>
                  </a:moveTo>
                  <a:lnTo>
                    <a:pt x="0" y="380"/>
                  </a:lnTo>
                  <a:cubicBezTo>
                    <a:pt x="0" y="170"/>
                    <a:pt x="170" y="0"/>
                    <a:pt x="380" y="0"/>
                  </a:cubicBezTo>
                  <a:lnTo>
                    <a:pt x="2433" y="0"/>
                  </a:lnTo>
                  <a:cubicBezTo>
                    <a:pt x="2643" y="0"/>
                    <a:pt x="2813" y="170"/>
                    <a:pt x="2813" y="380"/>
                  </a:cubicBezTo>
                  <a:lnTo>
                    <a:pt x="2813" y="380"/>
                  </a:lnTo>
                  <a:cubicBezTo>
                    <a:pt x="2813" y="590"/>
                    <a:pt x="2643" y="760"/>
                    <a:pt x="2433" y="760"/>
                  </a:cubicBezTo>
                  <a:lnTo>
                    <a:pt x="380" y="760"/>
                  </a:lnTo>
                  <a:cubicBezTo>
                    <a:pt x="170" y="760"/>
                    <a:pt x="0" y="590"/>
                    <a:pt x="0" y="380"/>
                  </a:cubicBezTo>
                  <a:lnTo>
                    <a:pt x="0" y="380"/>
                  </a:lnTo>
                  <a:close/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Rectangle 343">
              <a:extLst>
                <a:ext uri="{FF2B5EF4-FFF2-40B4-BE49-F238E27FC236}">
                  <a16:creationId xmlns:a16="http://schemas.microsoft.com/office/drawing/2014/main" xmlns="" id="{0F2A76CE-5A0B-4F2A-95FE-6BDC1077B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56" y="2076"/>
              <a:ext cx="202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P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1" name="Rectangle 344">
              <a:extLst>
                <a:ext uri="{FF2B5EF4-FFF2-40B4-BE49-F238E27FC236}">
                  <a16:creationId xmlns:a16="http://schemas.microsoft.com/office/drawing/2014/main" xmlns="" id="{702673ED-1D49-476D-B5AF-A8E769D761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9" y="2076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2" name="Rectangle 345">
              <a:extLst>
                <a:ext uri="{FF2B5EF4-FFF2-40B4-BE49-F238E27FC236}">
                  <a16:creationId xmlns:a16="http://schemas.microsoft.com/office/drawing/2014/main" xmlns="" id="{BF0E2F7D-D105-404B-BAE3-A9CBCAED04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83" y="2076"/>
              <a:ext cx="170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G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3" name="Rectangle 346">
              <a:extLst>
                <a:ext uri="{FF2B5EF4-FFF2-40B4-BE49-F238E27FC236}">
                  <a16:creationId xmlns:a16="http://schemas.microsoft.com/office/drawing/2014/main" xmlns="" id="{A2F6D946-531A-4E6B-9B44-E7C1249E5A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85" y="2076"/>
              <a:ext cx="129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4" name="Rectangle 347">
              <a:extLst>
                <a:ext uri="{FF2B5EF4-FFF2-40B4-BE49-F238E27FC236}">
                  <a16:creationId xmlns:a16="http://schemas.microsoft.com/office/drawing/2014/main" xmlns="" id="{C142331B-DCF2-4BAB-B020-CE1C6F5C58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48" y="2076"/>
              <a:ext cx="17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M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5" name="Rectangle 348">
              <a:extLst>
                <a:ext uri="{FF2B5EF4-FFF2-40B4-BE49-F238E27FC236}">
                  <a16:creationId xmlns:a16="http://schemas.microsoft.com/office/drawing/2014/main" xmlns="" id="{1A6E9F88-FBB2-4764-A42C-74B2C20132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57" y="2076"/>
              <a:ext cx="13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B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6" name="Rectangle 349">
              <a:extLst>
                <a:ext uri="{FF2B5EF4-FFF2-40B4-BE49-F238E27FC236}">
                  <a16:creationId xmlns:a16="http://schemas.microsoft.com/office/drawing/2014/main" xmlns="" id="{B11F9469-70BF-4205-9935-E0E466CE98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" y="2076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7" name="Rectangle 350">
              <a:extLst>
                <a:ext uri="{FF2B5EF4-FFF2-40B4-BE49-F238E27FC236}">
                  <a16:creationId xmlns:a16="http://schemas.microsoft.com/office/drawing/2014/main" xmlns="" id="{89BB8C7D-27B7-449E-B201-6306356A98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1" y="2076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8" name="Rectangle 351">
              <a:extLst>
                <a:ext uri="{FF2B5EF4-FFF2-40B4-BE49-F238E27FC236}">
                  <a16:creationId xmlns:a16="http://schemas.microsoft.com/office/drawing/2014/main" xmlns="" id="{A071E3A8-FAF8-473A-BA00-02A5B6D8CC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15" y="2076"/>
              <a:ext cx="170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G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59" name="Rectangle 352">
              <a:extLst>
                <a:ext uri="{FF2B5EF4-FFF2-40B4-BE49-F238E27FC236}">
                  <a16:creationId xmlns:a16="http://schemas.microsoft.com/office/drawing/2014/main" xmlns="" id="{076A3C8C-6D34-41AD-B064-0579C1ACE7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18" y="2076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0" name="Rectangle 353">
              <a:extLst>
                <a:ext uri="{FF2B5EF4-FFF2-40B4-BE49-F238E27FC236}">
                  <a16:creationId xmlns:a16="http://schemas.microsoft.com/office/drawing/2014/main" xmlns="" id="{16803182-451B-4669-B3B1-154327CDC0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12" y="2076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1" name="Rectangle 354">
              <a:extLst>
                <a:ext uri="{FF2B5EF4-FFF2-40B4-BE49-F238E27FC236}">
                  <a16:creationId xmlns:a16="http://schemas.microsoft.com/office/drawing/2014/main" xmlns="" id="{631534A7-956E-49D7-93C2-6EBBBFC8F5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06" y="2076"/>
              <a:ext cx="98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2" name="Rectangle 355">
              <a:extLst>
                <a:ext uri="{FF2B5EF4-FFF2-40B4-BE49-F238E27FC236}">
                  <a16:creationId xmlns:a16="http://schemas.microsoft.com/office/drawing/2014/main" xmlns="" id="{89637166-DF69-4639-A499-2D1CD35CAB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81" y="2225"/>
              <a:ext cx="209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K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3" name="Rectangle 356">
              <a:extLst>
                <a:ext uri="{FF2B5EF4-FFF2-40B4-BE49-F238E27FC236}">
                  <a16:creationId xmlns:a16="http://schemas.microsoft.com/office/drawing/2014/main" xmlns="" id="{03F0697E-BEB9-441C-92BC-C5B8A2586C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22" y="2225"/>
              <a:ext cx="135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P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4" name="Rectangle 357">
              <a:extLst>
                <a:ext uri="{FF2B5EF4-FFF2-40B4-BE49-F238E27FC236}">
                  <a16:creationId xmlns:a16="http://schemas.microsoft.com/office/drawing/2014/main" xmlns="" id="{A2687F47-3DE8-4EA9-B106-985FFA944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92" y="2225"/>
              <a:ext cx="13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R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5" name="Rectangle 358">
              <a:extLst>
                <a:ext uri="{FF2B5EF4-FFF2-40B4-BE49-F238E27FC236}">
                  <a16:creationId xmlns:a16="http://schemas.microsoft.com/office/drawing/2014/main" xmlns="" id="{D4DE184B-1E38-4966-9DB5-402ED79603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3" y="2225"/>
              <a:ext cx="170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O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6" name="Rectangle 359">
              <a:extLst>
                <a:ext uri="{FF2B5EF4-FFF2-40B4-BE49-F238E27FC236}">
                  <a16:creationId xmlns:a16="http://schemas.microsoft.com/office/drawing/2014/main" xmlns="" id="{4023B2D6-52EB-43AD-B110-E3C5522F24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5" y="2225"/>
              <a:ext cx="123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F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7" name="Rectangle 360">
              <a:extLst>
                <a:ext uri="{FF2B5EF4-FFF2-40B4-BE49-F238E27FC236}">
                  <a16:creationId xmlns:a16="http://schemas.microsoft.com/office/drawing/2014/main" xmlns="" id="{F125DE00-C2FD-4EFE-991D-9C943F1B93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27" y="2225"/>
              <a:ext cx="129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8" name="Rectangle 361">
              <a:extLst>
                <a:ext uri="{FF2B5EF4-FFF2-40B4-BE49-F238E27FC236}">
                  <a16:creationId xmlns:a16="http://schemas.microsoft.com/office/drawing/2014/main" xmlns="" id="{F95C7BBF-085E-4485-874E-CB0432F449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0" y="2225"/>
              <a:ext cx="129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S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69" name="Rectangle 362">
              <a:extLst>
                <a:ext uri="{FF2B5EF4-FFF2-40B4-BE49-F238E27FC236}">
                  <a16:creationId xmlns:a16="http://schemas.microsoft.com/office/drawing/2014/main" xmlns="" id="{1283232A-27E1-4491-923F-A37E36B6966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3" y="2225"/>
              <a:ext cx="98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I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0" name="Rectangle 363">
              <a:extLst>
                <a:ext uri="{FF2B5EF4-FFF2-40B4-BE49-F238E27FC236}">
                  <a16:creationId xmlns:a16="http://schemas.microsoft.com/office/drawing/2014/main" xmlns="" id="{3D5704FE-E93E-4667-BB35-346F983273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84" y="2225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1" name="Rectangle 364">
              <a:extLst>
                <a:ext uri="{FF2B5EF4-FFF2-40B4-BE49-F238E27FC236}">
                  <a16:creationId xmlns:a16="http://schemas.microsoft.com/office/drawing/2014/main" xmlns="" id="{A7355E71-D7A1-4F2B-AF05-7C8ED312AB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8" y="2225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2" name="Rectangle 365">
              <a:extLst>
                <a:ext uri="{FF2B5EF4-FFF2-40B4-BE49-F238E27FC236}">
                  <a16:creationId xmlns:a16="http://schemas.microsoft.com/office/drawing/2014/main" xmlns="" id="{621E6993-B6EB-4028-BBED-EC245A6D86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2" y="2225"/>
              <a:ext cx="98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 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3" name="Rectangle 366">
              <a:extLst>
                <a:ext uri="{FF2B5EF4-FFF2-40B4-BE49-F238E27FC236}">
                  <a16:creationId xmlns:a16="http://schemas.microsoft.com/office/drawing/2014/main" xmlns="" id="{522731B0-EBE8-49B2-8E39-16595A0D7F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95" y="2374"/>
              <a:ext cx="203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B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4" name="Rectangle 367">
              <a:extLst>
                <a:ext uri="{FF2B5EF4-FFF2-40B4-BE49-F238E27FC236}">
                  <a16:creationId xmlns:a16="http://schemas.microsoft.com/office/drawing/2014/main" xmlns="" id="{9D71AC60-E2A4-4EA9-8A2C-A18F6F5D2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28" y="2374"/>
              <a:ext cx="215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RK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5" name="Rectangle 368">
              <a:extLst>
                <a:ext uri="{FF2B5EF4-FFF2-40B4-BE49-F238E27FC236}">
                  <a16:creationId xmlns:a16="http://schemas.microsoft.com/office/drawing/2014/main" xmlns="" id="{66E14960-7C24-41BD-A4AB-A12468F364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77" y="2374"/>
              <a:ext cx="129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E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6" name="Rectangle 369">
              <a:extLst>
                <a:ext uri="{FF2B5EF4-FFF2-40B4-BE49-F238E27FC236}">
                  <a16:creationId xmlns:a16="http://schemas.microsoft.com/office/drawing/2014/main" xmlns="" id="{02DAB568-11E7-43AC-8A25-99156B15EB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39" y="2374"/>
              <a:ext cx="118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L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7" name="Rectangle 370">
              <a:extLst>
                <a:ext uri="{FF2B5EF4-FFF2-40B4-BE49-F238E27FC236}">
                  <a16:creationId xmlns:a16="http://schemas.microsoft.com/office/drawing/2014/main" xmlns="" id="{FEB4F336-518F-46C1-ABF7-D05D59E3DF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5" y="2374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8" name="Rectangle 371">
              <a:extLst>
                <a:ext uri="{FF2B5EF4-FFF2-40B4-BE49-F238E27FC236}">
                  <a16:creationId xmlns:a16="http://schemas.microsoft.com/office/drawing/2014/main" xmlns="" id="{8E77DC93-BFC8-48E0-B3DE-D18DB0301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9" y="2374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79" name="Rectangle 372">
              <a:extLst>
                <a:ext uri="{FF2B5EF4-FFF2-40B4-BE49-F238E27FC236}">
                  <a16:creationId xmlns:a16="http://schemas.microsoft.com/office/drawing/2014/main" xmlns="" id="{A279C039-6D74-4456-B4EE-D46D5987D9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83" y="2374"/>
              <a:ext cx="123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J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0" name="Rectangle 373">
              <a:extLst>
                <a:ext uri="{FF2B5EF4-FFF2-40B4-BE49-F238E27FC236}">
                  <a16:creationId xmlns:a16="http://schemas.microsoft.com/office/drawing/2014/main" xmlns="" id="{55917A23-CD5A-495C-A73F-9795853187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5" y="2374"/>
              <a:ext cx="145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U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1" name="Rectangle 374">
              <a:extLst>
                <a:ext uri="{FF2B5EF4-FFF2-40B4-BE49-F238E27FC236}">
                  <a16:creationId xmlns:a16="http://schemas.microsoft.com/office/drawing/2014/main" xmlns="" id="{7FA221AE-43AF-4327-9531-B9A47B2102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4" y="2374"/>
              <a:ext cx="116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T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2" name="Rectangle 375">
              <a:extLst>
                <a:ext uri="{FF2B5EF4-FFF2-40B4-BE49-F238E27FC236}">
                  <a16:creationId xmlns:a16="http://schemas.microsoft.com/office/drawing/2014/main" xmlns="" id="{373B6C79-AA5E-4506-B268-64495AB076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8" y="2374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A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3" name="Rectangle 376">
              <a:extLst>
                <a:ext uri="{FF2B5EF4-FFF2-40B4-BE49-F238E27FC236}">
                  <a16:creationId xmlns:a16="http://schemas.microsoft.com/office/drawing/2014/main" xmlns="" id="{C8BEABA6-00E2-42F7-933C-ADD33E24C7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72" y="2374"/>
              <a:ext cx="157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 Bold" panose="020B0702020202020204" pitchFamily="34" charset="0"/>
                  <a:ea typeface="+mn-ea"/>
                  <a:cs typeface="+mn-cs"/>
                </a:rPr>
                <a:t>N</a:t>
              </a:r>
              <a:endParaRPr kumimoji="0" lang="en-US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84" name="Freeform 377">
              <a:extLst>
                <a:ext uri="{FF2B5EF4-FFF2-40B4-BE49-F238E27FC236}">
                  <a16:creationId xmlns:a16="http://schemas.microsoft.com/office/drawing/2014/main" xmlns="" id="{EC637886-E837-4C75-A46B-D5CA951B1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" y="1623"/>
              <a:ext cx="1578" cy="171"/>
            </a:xfrm>
            <a:custGeom>
              <a:avLst/>
              <a:gdLst>
                <a:gd name="T0" fmla="*/ 2687 w 2687"/>
                <a:gd name="T1" fmla="*/ 291 h 291"/>
                <a:gd name="T2" fmla="*/ 2687 w 2687"/>
                <a:gd name="T3" fmla="*/ 291 h 291"/>
                <a:gd name="T4" fmla="*/ 0 w 2687"/>
                <a:gd name="T5" fmla="*/ 291 h 291"/>
                <a:gd name="T6" fmla="*/ 0 w 2687"/>
                <a:gd name="T7" fmla="*/ 0 h 291"/>
                <a:gd name="T8" fmla="*/ 254 w 2687"/>
                <a:gd name="T9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7" h="291">
                  <a:moveTo>
                    <a:pt x="2687" y="291"/>
                  </a:moveTo>
                  <a:lnTo>
                    <a:pt x="2687" y="291"/>
                  </a:lnTo>
                  <a:lnTo>
                    <a:pt x="0" y="291"/>
                  </a:lnTo>
                  <a:lnTo>
                    <a:pt x="0" y="0"/>
                  </a:lnTo>
                  <a:lnTo>
                    <a:pt x="254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378">
              <a:extLst>
                <a:ext uri="{FF2B5EF4-FFF2-40B4-BE49-F238E27FC236}">
                  <a16:creationId xmlns:a16="http://schemas.microsoft.com/office/drawing/2014/main" xmlns="" id="{6EFCBDF4-A28A-4FD0-9BA2-980EE7ED03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" y="1411"/>
              <a:ext cx="1578" cy="383"/>
            </a:xfrm>
            <a:custGeom>
              <a:avLst/>
              <a:gdLst>
                <a:gd name="T0" fmla="*/ 2687 w 2687"/>
                <a:gd name="T1" fmla="*/ 651 h 651"/>
                <a:gd name="T2" fmla="*/ 2687 w 2687"/>
                <a:gd name="T3" fmla="*/ 651 h 651"/>
                <a:gd name="T4" fmla="*/ 0 w 2687"/>
                <a:gd name="T5" fmla="*/ 651 h 651"/>
                <a:gd name="T6" fmla="*/ 0 w 2687"/>
                <a:gd name="T7" fmla="*/ 0 h 651"/>
                <a:gd name="T8" fmla="*/ 255 w 2687"/>
                <a:gd name="T9" fmla="*/ 0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7" h="651">
                  <a:moveTo>
                    <a:pt x="2687" y="651"/>
                  </a:moveTo>
                  <a:lnTo>
                    <a:pt x="2687" y="651"/>
                  </a:lnTo>
                  <a:lnTo>
                    <a:pt x="0" y="651"/>
                  </a:lnTo>
                  <a:lnTo>
                    <a:pt x="0" y="0"/>
                  </a:lnTo>
                  <a:lnTo>
                    <a:pt x="255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379">
              <a:extLst>
                <a:ext uri="{FF2B5EF4-FFF2-40B4-BE49-F238E27FC236}">
                  <a16:creationId xmlns:a16="http://schemas.microsoft.com/office/drawing/2014/main" xmlns="" id="{1D6AF497-A1C7-42EC-B341-C5954667AC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" y="1192"/>
              <a:ext cx="1582" cy="603"/>
            </a:xfrm>
            <a:custGeom>
              <a:avLst/>
              <a:gdLst>
                <a:gd name="T0" fmla="*/ 2692 w 2692"/>
                <a:gd name="T1" fmla="*/ 1026 h 1026"/>
                <a:gd name="T2" fmla="*/ 2692 w 2692"/>
                <a:gd name="T3" fmla="*/ 1026 h 1026"/>
                <a:gd name="T4" fmla="*/ 0 w 2692"/>
                <a:gd name="T5" fmla="*/ 1026 h 1026"/>
                <a:gd name="T6" fmla="*/ 0 w 2692"/>
                <a:gd name="T7" fmla="*/ 0 h 1026"/>
                <a:gd name="T8" fmla="*/ 240 w 2692"/>
                <a:gd name="T9" fmla="*/ 0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2" h="1026">
                  <a:moveTo>
                    <a:pt x="2692" y="1026"/>
                  </a:moveTo>
                  <a:lnTo>
                    <a:pt x="2692" y="1026"/>
                  </a:lnTo>
                  <a:lnTo>
                    <a:pt x="0" y="1026"/>
                  </a:lnTo>
                  <a:lnTo>
                    <a:pt x="0" y="0"/>
                  </a:lnTo>
                  <a:lnTo>
                    <a:pt x="240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380">
              <a:extLst>
                <a:ext uri="{FF2B5EF4-FFF2-40B4-BE49-F238E27FC236}">
                  <a16:creationId xmlns:a16="http://schemas.microsoft.com/office/drawing/2014/main" xmlns="" id="{7F567748-8225-4114-A38A-0DC82E4ADC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" y="1004"/>
              <a:ext cx="1578" cy="796"/>
            </a:xfrm>
            <a:custGeom>
              <a:avLst/>
              <a:gdLst>
                <a:gd name="T0" fmla="*/ 2686 w 2686"/>
                <a:gd name="T1" fmla="*/ 1355 h 1355"/>
                <a:gd name="T2" fmla="*/ 2686 w 2686"/>
                <a:gd name="T3" fmla="*/ 1355 h 1355"/>
                <a:gd name="T4" fmla="*/ 0 w 2686"/>
                <a:gd name="T5" fmla="*/ 1355 h 1355"/>
                <a:gd name="T6" fmla="*/ 0 w 2686"/>
                <a:gd name="T7" fmla="*/ 0 h 1355"/>
                <a:gd name="T8" fmla="*/ 254 w 2686"/>
                <a:gd name="T9" fmla="*/ 0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86" h="1355">
                  <a:moveTo>
                    <a:pt x="2686" y="1355"/>
                  </a:moveTo>
                  <a:lnTo>
                    <a:pt x="2686" y="1355"/>
                  </a:lnTo>
                  <a:lnTo>
                    <a:pt x="0" y="1355"/>
                  </a:lnTo>
                  <a:lnTo>
                    <a:pt x="0" y="0"/>
                  </a:lnTo>
                  <a:lnTo>
                    <a:pt x="254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381">
              <a:extLst>
                <a:ext uri="{FF2B5EF4-FFF2-40B4-BE49-F238E27FC236}">
                  <a16:creationId xmlns:a16="http://schemas.microsoft.com/office/drawing/2014/main" xmlns="" id="{A60A2BC0-D9A7-4B34-B43B-49741DFC3F3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9" y="714"/>
              <a:ext cx="669" cy="429"/>
            </a:xfrm>
            <a:custGeom>
              <a:avLst/>
              <a:gdLst>
                <a:gd name="T0" fmla="*/ 1138 w 1138"/>
                <a:gd name="T1" fmla="*/ 729 h 729"/>
                <a:gd name="T2" fmla="*/ 1138 w 1138"/>
                <a:gd name="T3" fmla="*/ 729 h 729"/>
                <a:gd name="T4" fmla="*/ 1138 w 1138"/>
                <a:gd name="T5" fmla="*/ 365 h 729"/>
                <a:gd name="T6" fmla="*/ 0 w 1138"/>
                <a:gd name="T7" fmla="*/ 365 h 729"/>
                <a:gd name="T8" fmla="*/ 0 w 1138"/>
                <a:gd name="T9" fmla="*/ 0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8" h="729">
                  <a:moveTo>
                    <a:pt x="1138" y="729"/>
                  </a:moveTo>
                  <a:lnTo>
                    <a:pt x="1138" y="729"/>
                  </a:lnTo>
                  <a:lnTo>
                    <a:pt x="1138" y="365"/>
                  </a:lnTo>
                  <a:lnTo>
                    <a:pt x="0" y="365"/>
                  </a:lnTo>
                  <a:lnTo>
                    <a:pt x="0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382">
              <a:extLst>
                <a:ext uri="{FF2B5EF4-FFF2-40B4-BE49-F238E27FC236}">
                  <a16:creationId xmlns:a16="http://schemas.microsoft.com/office/drawing/2014/main" xmlns="" id="{1F4B4FC2-DB3F-43F1-972C-BC0D88E7FD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706"/>
              <a:ext cx="3" cy="440"/>
            </a:xfrm>
            <a:custGeom>
              <a:avLst/>
              <a:gdLst>
                <a:gd name="T0" fmla="*/ 0 w 4"/>
                <a:gd name="T1" fmla="*/ 749 h 749"/>
                <a:gd name="T2" fmla="*/ 0 w 4"/>
                <a:gd name="T3" fmla="*/ 749 h 749"/>
                <a:gd name="T4" fmla="*/ 0 w 4"/>
                <a:gd name="T5" fmla="*/ 375 h 749"/>
                <a:gd name="T6" fmla="*/ 4 w 4"/>
                <a:gd name="T7" fmla="*/ 375 h 749"/>
                <a:gd name="T8" fmla="*/ 4 w 4"/>
                <a:gd name="T9" fmla="*/ 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49">
                  <a:moveTo>
                    <a:pt x="0" y="749"/>
                  </a:moveTo>
                  <a:lnTo>
                    <a:pt x="0" y="749"/>
                  </a:lnTo>
                  <a:lnTo>
                    <a:pt x="0" y="375"/>
                  </a:lnTo>
                  <a:lnTo>
                    <a:pt x="4" y="375"/>
                  </a:lnTo>
                  <a:lnTo>
                    <a:pt x="4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383">
              <a:extLst>
                <a:ext uri="{FF2B5EF4-FFF2-40B4-BE49-F238E27FC236}">
                  <a16:creationId xmlns:a16="http://schemas.microsoft.com/office/drawing/2014/main" xmlns="" id="{692EB667-7611-481C-814A-2E21D73EB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706"/>
              <a:ext cx="805" cy="441"/>
            </a:xfrm>
            <a:custGeom>
              <a:avLst/>
              <a:gdLst>
                <a:gd name="T0" fmla="*/ 0 w 1370"/>
                <a:gd name="T1" fmla="*/ 750 h 750"/>
                <a:gd name="T2" fmla="*/ 0 w 1370"/>
                <a:gd name="T3" fmla="*/ 750 h 750"/>
                <a:gd name="T4" fmla="*/ 0 w 1370"/>
                <a:gd name="T5" fmla="*/ 375 h 750"/>
                <a:gd name="T6" fmla="*/ 1370 w 1370"/>
                <a:gd name="T7" fmla="*/ 375 h 750"/>
                <a:gd name="T8" fmla="*/ 1370 w 1370"/>
                <a:gd name="T9" fmla="*/ 0 h 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0" h="750">
                  <a:moveTo>
                    <a:pt x="0" y="750"/>
                  </a:moveTo>
                  <a:lnTo>
                    <a:pt x="0" y="750"/>
                  </a:lnTo>
                  <a:lnTo>
                    <a:pt x="0" y="375"/>
                  </a:lnTo>
                  <a:lnTo>
                    <a:pt x="1370" y="375"/>
                  </a:lnTo>
                  <a:lnTo>
                    <a:pt x="1370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384">
              <a:extLst>
                <a:ext uri="{FF2B5EF4-FFF2-40B4-BE49-F238E27FC236}">
                  <a16:creationId xmlns:a16="http://schemas.microsoft.com/office/drawing/2014/main" xmlns="" id="{7FE906C7-6F43-4269-899F-421CBC83FB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" y="1098"/>
              <a:ext cx="452" cy="286"/>
            </a:xfrm>
            <a:custGeom>
              <a:avLst/>
              <a:gdLst>
                <a:gd name="T0" fmla="*/ 0 w 770"/>
                <a:gd name="T1" fmla="*/ 486 h 486"/>
                <a:gd name="T2" fmla="*/ 0 w 770"/>
                <a:gd name="T3" fmla="*/ 486 h 486"/>
                <a:gd name="T4" fmla="*/ 0 w 770"/>
                <a:gd name="T5" fmla="*/ 0 h 486"/>
                <a:gd name="T6" fmla="*/ 770 w 770"/>
                <a:gd name="T7" fmla="*/ 0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70" h="486">
                  <a:moveTo>
                    <a:pt x="0" y="486"/>
                  </a:moveTo>
                  <a:lnTo>
                    <a:pt x="0" y="486"/>
                  </a:lnTo>
                  <a:lnTo>
                    <a:pt x="0" y="0"/>
                  </a:lnTo>
                  <a:lnTo>
                    <a:pt x="770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385">
              <a:extLst>
                <a:ext uri="{FF2B5EF4-FFF2-40B4-BE49-F238E27FC236}">
                  <a16:creationId xmlns:a16="http://schemas.microsoft.com/office/drawing/2014/main" xmlns="" id="{2B8D39A9-E034-4BAF-89C7-A3868F074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1" y="808"/>
              <a:ext cx="470" cy="578"/>
            </a:xfrm>
            <a:custGeom>
              <a:avLst/>
              <a:gdLst>
                <a:gd name="T0" fmla="*/ 0 w 801"/>
                <a:gd name="T1" fmla="*/ 983 h 983"/>
                <a:gd name="T2" fmla="*/ 0 w 801"/>
                <a:gd name="T3" fmla="*/ 983 h 983"/>
                <a:gd name="T4" fmla="*/ 0 w 801"/>
                <a:gd name="T5" fmla="*/ 0 h 983"/>
                <a:gd name="T6" fmla="*/ 801 w 801"/>
                <a:gd name="T7" fmla="*/ 0 h 9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01" h="983">
                  <a:moveTo>
                    <a:pt x="0" y="983"/>
                  </a:moveTo>
                  <a:lnTo>
                    <a:pt x="0" y="983"/>
                  </a:lnTo>
                  <a:lnTo>
                    <a:pt x="0" y="0"/>
                  </a:lnTo>
                  <a:lnTo>
                    <a:pt x="801" y="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386">
              <a:extLst>
                <a:ext uri="{FF2B5EF4-FFF2-40B4-BE49-F238E27FC236}">
                  <a16:creationId xmlns:a16="http://schemas.microsoft.com/office/drawing/2014/main" xmlns="" id="{9F9E1E61-E473-44B2-A44D-886729AF4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9" y="2352"/>
              <a:ext cx="47" cy="644"/>
            </a:xfrm>
            <a:custGeom>
              <a:avLst/>
              <a:gdLst>
                <a:gd name="T0" fmla="*/ 80 w 80"/>
                <a:gd name="T1" fmla="*/ 1016 h 1096"/>
                <a:gd name="T2" fmla="*/ 80 w 80"/>
                <a:gd name="T3" fmla="*/ 1016 h 1096"/>
                <a:gd name="T4" fmla="*/ 40 w 80"/>
                <a:gd name="T5" fmla="*/ 1096 h 1096"/>
                <a:gd name="T6" fmla="*/ 0 w 80"/>
                <a:gd name="T7" fmla="*/ 1016 h 1096"/>
                <a:gd name="T8" fmla="*/ 27 w 80"/>
                <a:gd name="T9" fmla="*/ 1016 h 1096"/>
                <a:gd name="T10" fmla="*/ 27 w 80"/>
                <a:gd name="T11" fmla="*/ 535 h 1096"/>
                <a:gd name="T12" fmla="*/ 29 w 80"/>
                <a:gd name="T13" fmla="*/ 535 h 1096"/>
                <a:gd name="T14" fmla="*/ 29 w 80"/>
                <a:gd name="T15" fmla="*/ 0 h 1096"/>
                <a:gd name="T16" fmla="*/ 56 w 80"/>
                <a:gd name="T17" fmla="*/ 0 h 1096"/>
                <a:gd name="T18" fmla="*/ 56 w 80"/>
                <a:gd name="T19" fmla="*/ 561 h 1096"/>
                <a:gd name="T20" fmla="*/ 53 w 80"/>
                <a:gd name="T21" fmla="*/ 561 h 1096"/>
                <a:gd name="T22" fmla="*/ 53 w 80"/>
                <a:gd name="T23" fmla="*/ 1016 h 1096"/>
                <a:gd name="T24" fmla="*/ 80 w 80"/>
                <a:gd name="T25" fmla="*/ 1016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1096">
                  <a:moveTo>
                    <a:pt x="80" y="1016"/>
                  </a:moveTo>
                  <a:lnTo>
                    <a:pt x="80" y="1016"/>
                  </a:lnTo>
                  <a:lnTo>
                    <a:pt x="40" y="1096"/>
                  </a:lnTo>
                  <a:lnTo>
                    <a:pt x="0" y="1016"/>
                  </a:lnTo>
                  <a:lnTo>
                    <a:pt x="27" y="1016"/>
                  </a:lnTo>
                  <a:lnTo>
                    <a:pt x="27" y="535"/>
                  </a:lnTo>
                  <a:lnTo>
                    <a:pt x="29" y="535"/>
                  </a:lnTo>
                  <a:lnTo>
                    <a:pt x="29" y="0"/>
                  </a:lnTo>
                  <a:lnTo>
                    <a:pt x="56" y="0"/>
                  </a:lnTo>
                  <a:lnTo>
                    <a:pt x="56" y="561"/>
                  </a:lnTo>
                  <a:lnTo>
                    <a:pt x="53" y="561"/>
                  </a:lnTo>
                  <a:lnTo>
                    <a:pt x="53" y="1016"/>
                  </a:lnTo>
                  <a:lnTo>
                    <a:pt x="80" y="1016"/>
                  </a:lnTo>
                  <a:close/>
                </a:path>
              </a:pathLst>
            </a:custGeom>
            <a:solidFill>
              <a:srgbClr val="00206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387">
              <a:extLst>
                <a:ext uri="{FF2B5EF4-FFF2-40B4-BE49-F238E27FC236}">
                  <a16:creationId xmlns:a16="http://schemas.microsoft.com/office/drawing/2014/main" xmlns="" id="{1A91F7A1-5E30-4260-8D2C-0067FE86D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7" y="2352"/>
              <a:ext cx="1745" cy="433"/>
            </a:xfrm>
            <a:custGeom>
              <a:avLst/>
              <a:gdLst>
                <a:gd name="T0" fmla="*/ 0 w 2970"/>
                <a:gd name="T1" fmla="*/ 0 h 737"/>
                <a:gd name="T2" fmla="*/ 0 w 2970"/>
                <a:gd name="T3" fmla="*/ 0 h 737"/>
                <a:gd name="T4" fmla="*/ 0 w 2970"/>
                <a:gd name="T5" fmla="*/ 527 h 737"/>
                <a:gd name="T6" fmla="*/ 2917 w 2970"/>
                <a:gd name="T7" fmla="*/ 527 h 737"/>
                <a:gd name="T8" fmla="*/ 2917 w 2970"/>
                <a:gd name="T9" fmla="*/ 657 h 737"/>
                <a:gd name="T10" fmla="*/ 2890 w 2970"/>
                <a:gd name="T11" fmla="*/ 657 h 737"/>
                <a:gd name="T12" fmla="*/ 2930 w 2970"/>
                <a:gd name="T13" fmla="*/ 737 h 737"/>
                <a:gd name="T14" fmla="*/ 2970 w 2970"/>
                <a:gd name="T15" fmla="*/ 657 h 737"/>
                <a:gd name="T16" fmla="*/ 2943 w 2970"/>
                <a:gd name="T17" fmla="*/ 657 h 737"/>
                <a:gd name="T18" fmla="*/ 2943 w 2970"/>
                <a:gd name="T19" fmla="*/ 501 h 737"/>
                <a:gd name="T20" fmla="*/ 27 w 2970"/>
                <a:gd name="T21" fmla="*/ 501 h 737"/>
                <a:gd name="T22" fmla="*/ 27 w 2970"/>
                <a:gd name="T23" fmla="*/ 0 h 737"/>
                <a:gd name="T24" fmla="*/ 0 w 2970"/>
                <a:gd name="T25" fmla="*/ 0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970" h="737">
                  <a:moveTo>
                    <a:pt x="0" y="0"/>
                  </a:moveTo>
                  <a:lnTo>
                    <a:pt x="0" y="0"/>
                  </a:lnTo>
                  <a:lnTo>
                    <a:pt x="0" y="527"/>
                  </a:lnTo>
                  <a:lnTo>
                    <a:pt x="2917" y="527"/>
                  </a:lnTo>
                  <a:lnTo>
                    <a:pt x="2917" y="657"/>
                  </a:lnTo>
                  <a:lnTo>
                    <a:pt x="2890" y="657"/>
                  </a:lnTo>
                  <a:lnTo>
                    <a:pt x="2930" y="737"/>
                  </a:lnTo>
                  <a:lnTo>
                    <a:pt x="2970" y="657"/>
                  </a:lnTo>
                  <a:lnTo>
                    <a:pt x="2943" y="657"/>
                  </a:lnTo>
                  <a:lnTo>
                    <a:pt x="2943" y="501"/>
                  </a:lnTo>
                  <a:lnTo>
                    <a:pt x="27" y="501"/>
                  </a:lnTo>
                  <a:lnTo>
                    <a:pt x="2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2060"/>
            </a:solidFill>
            <a:ln w="0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388">
              <a:extLst>
                <a:ext uri="{FF2B5EF4-FFF2-40B4-BE49-F238E27FC236}">
                  <a16:creationId xmlns:a16="http://schemas.microsoft.com/office/drawing/2014/main" xmlns="" id="{0B802818-A000-4018-8BDC-A6A75B69D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2" y="3386"/>
              <a:ext cx="714" cy="376"/>
            </a:xfrm>
            <a:custGeom>
              <a:avLst/>
              <a:gdLst>
                <a:gd name="T0" fmla="*/ 1216 w 1216"/>
                <a:gd name="T1" fmla="*/ 0 h 640"/>
                <a:gd name="T2" fmla="*/ 1216 w 1216"/>
                <a:gd name="T3" fmla="*/ 0 h 640"/>
                <a:gd name="T4" fmla="*/ 1216 w 1216"/>
                <a:gd name="T5" fmla="*/ 320 h 640"/>
                <a:gd name="T6" fmla="*/ 0 w 1216"/>
                <a:gd name="T7" fmla="*/ 320 h 640"/>
                <a:gd name="T8" fmla="*/ 0 w 1216"/>
                <a:gd name="T9" fmla="*/ 64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16" h="640">
                  <a:moveTo>
                    <a:pt x="1216" y="0"/>
                  </a:moveTo>
                  <a:lnTo>
                    <a:pt x="1216" y="0"/>
                  </a:lnTo>
                  <a:lnTo>
                    <a:pt x="1216" y="320"/>
                  </a:lnTo>
                  <a:lnTo>
                    <a:pt x="0" y="320"/>
                  </a:lnTo>
                  <a:lnTo>
                    <a:pt x="0" y="640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389">
              <a:extLst>
                <a:ext uri="{FF2B5EF4-FFF2-40B4-BE49-F238E27FC236}">
                  <a16:creationId xmlns:a16="http://schemas.microsoft.com/office/drawing/2014/main" xmlns="" id="{BDFF6AA1-03CD-42CB-A987-AB53EEFB9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5" y="3386"/>
              <a:ext cx="468" cy="378"/>
            </a:xfrm>
            <a:custGeom>
              <a:avLst/>
              <a:gdLst>
                <a:gd name="T0" fmla="*/ 0 w 797"/>
                <a:gd name="T1" fmla="*/ 0 h 644"/>
                <a:gd name="T2" fmla="*/ 0 w 797"/>
                <a:gd name="T3" fmla="*/ 0 h 644"/>
                <a:gd name="T4" fmla="*/ 0 w 797"/>
                <a:gd name="T5" fmla="*/ 322 h 644"/>
                <a:gd name="T6" fmla="*/ 797 w 797"/>
                <a:gd name="T7" fmla="*/ 322 h 644"/>
                <a:gd name="T8" fmla="*/ 797 w 797"/>
                <a:gd name="T9" fmla="*/ 644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7" h="644">
                  <a:moveTo>
                    <a:pt x="0" y="0"/>
                  </a:moveTo>
                  <a:lnTo>
                    <a:pt x="0" y="0"/>
                  </a:lnTo>
                  <a:lnTo>
                    <a:pt x="0" y="322"/>
                  </a:lnTo>
                  <a:lnTo>
                    <a:pt x="797" y="322"/>
                  </a:lnTo>
                  <a:lnTo>
                    <a:pt x="797" y="644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390">
              <a:extLst>
                <a:ext uri="{FF2B5EF4-FFF2-40B4-BE49-F238E27FC236}">
                  <a16:creationId xmlns:a16="http://schemas.microsoft.com/office/drawing/2014/main" xmlns="" id="{97A5D404-F83A-4720-AAEA-128C957C91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0" y="2657"/>
              <a:ext cx="853" cy="638"/>
            </a:xfrm>
            <a:custGeom>
              <a:avLst/>
              <a:gdLst>
                <a:gd name="T0" fmla="*/ 1451 w 1451"/>
                <a:gd name="T1" fmla="*/ 0 h 1085"/>
                <a:gd name="T2" fmla="*/ 1451 w 1451"/>
                <a:gd name="T3" fmla="*/ 0 h 1085"/>
                <a:gd name="T4" fmla="*/ 0 w 1451"/>
                <a:gd name="T5" fmla="*/ 0 h 1085"/>
                <a:gd name="T6" fmla="*/ 0 w 1451"/>
                <a:gd name="T7" fmla="*/ 1085 h 1085"/>
                <a:gd name="T8" fmla="*/ 240 w 1451"/>
                <a:gd name="T9" fmla="*/ 1085 h 1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51" h="1085">
                  <a:moveTo>
                    <a:pt x="1451" y="0"/>
                  </a:moveTo>
                  <a:lnTo>
                    <a:pt x="1451" y="0"/>
                  </a:lnTo>
                  <a:lnTo>
                    <a:pt x="0" y="0"/>
                  </a:lnTo>
                  <a:lnTo>
                    <a:pt x="0" y="1085"/>
                  </a:lnTo>
                  <a:lnTo>
                    <a:pt x="240" y="1085"/>
                  </a:lnTo>
                </a:path>
              </a:pathLst>
            </a:custGeom>
            <a:noFill/>
            <a:ln w="23813" cap="flat">
              <a:solidFill>
                <a:srgbClr val="FFC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1744193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2FDD3C4-55B9-500A-C57D-ABEB54534A2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0"/>
            <a:ext cx="12192000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-3" y="1"/>
            <a:ext cx="12192000" cy="6857999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061BCA2B-F978-6674-E88B-DB26DF61228A}"/>
              </a:ext>
            </a:extLst>
          </p:cNvPr>
          <p:cNvSpPr/>
          <p:nvPr/>
        </p:nvSpPr>
        <p:spPr>
          <a:xfrm>
            <a:off x="-3" y="2129362"/>
            <a:ext cx="9114306" cy="20332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407988" y="2478424"/>
            <a:ext cx="7958090" cy="147276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4000" dirty="0">
                <a:solidFill>
                  <a:srgbClr val="08517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ata Cara </a:t>
            </a:r>
            <a:r>
              <a:rPr lang="en-US" sz="4000" dirty="0" err="1">
                <a:solidFill>
                  <a:srgbClr val="08517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Penyelenggaraan</a:t>
            </a:r>
            <a:r>
              <a:rPr lang="en-US" sz="4000" dirty="0">
                <a:solidFill>
                  <a:srgbClr val="08517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4000" b="1" dirty="0" err="1">
                <a:solidFill>
                  <a:srgbClr val="08517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r>
              <a:rPr lang="en-US" sz="4000" b="1" dirty="0">
                <a:solidFill>
                  <a:srgbClr val="08517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PKB </a:t>
            </a:r>
            <a:r>
              <a:rPr lang="en-US" sz="4000" b="1" dirty="0" err="1">
                <a:solidFill>
                  <a:srgbClr val="08517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erverifikasi</a:t>
            </a:r>
            <a:endParaRPr lang="en-US" sz="4000" b="1" dirty="0">
              <a:solidFill>
                <a:srgbClr val="08517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345" name="Group 344">
            <a:extLst>
              <a:ext uri="{FF2B5EF4-FFF2-40B4-BE49-F238E27FC236}">
                <a16:creationId xmlns:a16="http://schemas.microsoft.com/office/drawing/2014/main" xmlns="" id="{9A658361-7754-39EC-1DE8-2C8779002679}"/>
              </a:ext>
            </a:extLst>
          </p:cNvPr>
          <p:cNvGrpSpPr/>
          <p:nvPr/>
        </p:nvGrpSpPr>
        <p:grpSpPr>
          <a:xfrm>
            <a:off x="503421" y="1712563"/>
            <a:ext cx="1170598" cy="862765"/>
            <a:chOff x="631255" y="1712563"/>
            <a:chExt cx="1170598" cy="862765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6EF115FB-F5D2-0CC9-41D9-65074D056018}"/>
                </a:ext>
              </a:extLst>
            </p:cNvPr>
            <p:cNvSpPr/>
            <p:nvPr/>
          </p:nvSpPr>
          <p:spPr>
            <a:xfrm>
              <a:off x="631255" y="1719369"/>
              <a:ext cx="855959" cy="855959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xmlns="" id="{6B2809A8-B206-0CB3-CC9E-4B3F85251C50}"/>
                </a:ext>
              </a:extLst>
            </p:cNvPr>
            <p:cNvSpPr/>
            <p:nvPr/>
          </p:nvSpPr>
          <p:spPr>
            <a:xfrm>
              <a:off x="1485486" y="1712563"/>
              <a:ext cx="316367" cy="416799"/>
            </a:xfrm>
            <a:prstGeom prst="triangle">
              <a:avLst>
                <a:gd name="adj" fmla="val 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EF89DB6-8AB5-F1B8-E999-D152C1513B28}"/>
              </a:ext>
            </a:extLst>
          </p:cNvPr>
          <p:cNvSpPr/>
          <p:nvPr/>
        </p:nvSpPr>
        <p:spPr>
          <a:xfrm>
            <a:off x="6811331" y="4080187"/>
            <a:ext cx="1782307" cy="82447"/>
          </a:xfrm>
          <a:prstGeom prst="rect">
            <a:avLst/>
          </a:prstGeom>
          <a:solidFill>
            <a:srgbClr val="D520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6AF6E8F6-7975-F213-668D-4B5E2537F31A}"/>
              </a:ext>
            </a:extLst>
          </p:cNvPr>
          <p:cNvCxnSpPr>
            <a:cxnSpLocks/>
          </p:cNvCxnSpPr>
          <p:nvPr/>
        </p:nvCxnSpPr>
        <p:spPr>
          <a:xfrm>
            <a:off x="0" y="5843432"/>
            <a:ext cx="6069223" cy="0"/>
          </a:xfrm>
          <a:prstGeom prst="line">
            <a:avLst/>
          </a:prstGeom>
          <a:ln>
            <a:solidFill>
              <a:schemeClr val="bg1"/>
            </a:solidFill>
            <a:tailEnd type="diamon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7A1EF57C-781C-FD5F-18B1-E5E92CF7EF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839" y="1860801"/>
            <a:ext cx="537121" cy="537121"/>
          </a:xfrm>
          <a:prstGeom prst="rect">
            <a:avLst/>
          </a:prstGeom>
        </p:spPr>
      </p:pic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xmlns="" id="{1CF06496-CE6D-0660-872A-2F9E87DDCEB5}"/>
              </a:ext>
            </a:extLst>
          </p:cNvPr>
          <p:cNvSpPr/>
          <p:nvPr/>
        </p:nvSpPr>
        <p:spPr>
          <a:xfrm rot="16200000">
            <a:off x="10347293" y="-634425"/>
            <a:ext cx="795131" cy="2894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87877E8-C45F-59F8-01F2-AD3C89EDAA95}"/>
              </a:ext>
            </a:extLst>
          </p:cNvPr>
          <p:cNvPicPr>
            <a:picLocks noChangeAspect="1"/>
          </p:cNvPicPr>
          <p:nvPr/>
        </p:nvPicPr>
        <p:blipFill>
          <a:blip r:embed="rId5" cstate="screen"/>
          <a:stretch>
            <a:fillRect/>
          </a:stretch>
        </p:blipFill>
        <p:spPr>
          <a:xfrm>
            <a:off x="9863738" y="415147"/>
            <a:ext cx="2220938" cy="828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6266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96AEC81B-0A8D-779C-5D00-D9D4C62BFC9B}"/>
              </a:ext>
            </a:extLst>
          </p:cNvPr>
          <p:cNvSpPr/>
          <p:nvPr/>
        </p:nvSpPr>
        <p:spPr>
          <a:xfrm>
            <a:off x="0" y="0"/>
            <a:ext cx="8112781" cy="14990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1601920" y="126798"/>
            <a:ext cx="6356709" cy="119163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32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AHAPAN PENYELENGGARAAN </a:t>
            </a:r>
          </a:p>
          <a:p>
            <a:r>
              <a:rPr lang="en-US" sz="3200" b="1" dirty="0">
                <a:solidFill>
                  <a:srgbClr val="08517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 PKB TERVERIFIKASI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B956F253-C75D-053F-0429-4D8328B334DF}"/>
              </a:ext>
            </a:extLst>
          </p:cNvPr>
          <p:cNvSpPr/>
          <p:nvPr/>
        </p:nvSpPr>
        <p:spPr>
          <a:xfrm rot="5400000">
            <a:off x="2583990" y="2086001"/>
            <a:ext cx="2169507" cy="201788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xmlns="" id="{B455485F-37B0-3E62-F936-681ABFD88F1F}"/>
              </a:ext>
            </a:extLst>
          </p:cNvPr>
          <p:cNvSpPr/>
          <p:nvPr/>
        </p:nvSpPr>
        <p:spPr>
          <a:xfrm rot="5400000">
            <a:off x="4819331" y="2086001"/>
            <a:ext cx="2169506" cy="20178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xmlns="" id="{8246C991-AA33-CD27-4536-520A6FEAE369}"/>
              </a:ext>
            </a:extLst>
          </p:cNvPr>
          <p:cNvSpPr/>
          <p:nvPr/>
        </p:nvSpPr>
        <p:spPr>
          <a:xfrm rot="5400000">
            <a:off x="7032290" y="2086004"/>
            <a:ext cx="2169507" cy="201788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xmlns="" id="{58F40FBE-938F-7C25-181F-E555DFCA4749}"/>
              </a:ext>
            </a:extLst>
          </p:cNvPr>
          <p:cNvGrpSpPr/>
          <p:nvPr/>
        </p:nvGrpSpPr>
        <p:grpSpPr>
          <a:xfrm>
            <a:off x="3363208" y="1775679"/>
            <a:ext cx="613064" cy="613064"/>
            <a:chOff x="645658" y="2456893"/>
            <a:chExt cx="613064" cy="613064"/>
          </a:xfrm>
        </p:grpSpPr>
        <p:sp>
          <p:nvSpPr>
            <p:cNvPr id="108" name="Oval 107">
              <a:extLst>
                <a:ext uri="{FF2B5EF4-FFF2-40B4-BE49-F238E27FC236}">
                  <a16:creationId xmlns:a16="http://schemas.microsoft.com/office/drawing/2014/main" xmlns="" id="{77F150C9-7B7B-2394-7179-782F3ABD87F0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accent1">
                <a:lumMod val="7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9" name="Oval 108">
              <a:extLst>
                <a:ext uri="{FF2B5EF4-FFF2-40B4-BE49-F238E27FC236}">
                  <a16:creationId xmlns:a16="http://schemas.microsoft.com/office/drawing/2014/main" xmlns="" id="{965094A6-94B2-6FAD-B959-25136ACA77C6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xmlns="" id="{56FC0951-1AEF-20A2-E3FC-042F556F06BE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128" name="Freeform 12">
                <a:extLst>
                  <a:ext uri="{FF2B5EF4-FFF2-40B4-BE49-F238E27FC236}">
                    <a16:creationId xmlns:a16="http://schemas.microsoft.com/office/drawing/2014/main" xmlns="" id="{0219BE0F-DCB6-9C79-93BE-8DF1E61C0F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29" name="Freeform 13">
                <a:extLst>
                  <a:ext uri="{FF2B5EF4-FFF2-40B4-BE49-F238E27FC236}">
                    <a16:creationId xmlns:a16="http://schemas.microsoft.com/office/drawing/2014/main" xmlns="" id="{F48CDCF0-F722-81E6-FC3C-95B27E3115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xmlns="" id="{73133520-6D87-683B-69B0-A0225983B610}"/>
              </a:ext>
            </a:extLst>
          </p:cNvPr>
          <p:cNvGrpSpPr/>
          <p:nvPr/>
        </p:nvGrpSpPr>
        <p:grpSpPr>
          <a:xfrm>
            <a:off x="5598548" y="1705487"/>
            <a:ext cx="613064" cy="613064"/>
            <a:chOff x="645658" y="2456893"/>
            <a:chExt cx="613064" cy="613064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xmlns="" id="{96BD7E03-3562-B4D6-E0DA-16F74A7F0AF0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2" name="Oval 131">
              <a:extLst>
                <a:ext uri="{FF2B5EF4-FFF2-40B4-BE49-F238E27FC236}">
                  <a16:creationId xmlns:a16="http://schemas.microsoft.com/office/drawing/2014/main" xmlns="" id="{80FD5C6C-409F-5A47-6DEB-4B9EA1A6E552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xmlns="" id="{5B21DBA8-2B56-6BDA-744A-6379A51A8ED3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134" name="Freeform 12">
                <a:extLst>
                  <a:ext uri="{FF2B5EF4-FFF2-40B4-BE49-F238E27FC236}">
                    <a16:creationId xmlns:a16="http://schemas.microsoft.com/office/drawing/2014/main" xmlns="" id="{B8425DB7-673A-6415-133B-5DD348F46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35" name="Freeform 13">
                <a:extLst>
                  <a:ext uri="{FF2B5EF4-FFF2-40B4-BE49-F238E27FC236}">
                    <a16:creationId xmlns:a16="http://schemas.microsoft.com/office/drawing/2014/main" xmlns="" id="{928E51EC-2487-A96F-8DF0-4930269780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xmlns="" id="{E14C5C04-0622-F5F1-3720-6F0B33711BA4}"/>
              </a:ext>
            </a:extLst>
          </p:cNvPr>
          <p:cNvGrpSpPr/>
          <p:nvPr/>
        </p:nvGrpSpPr>
        <p:grpSpPr>
          <a:xfrm>
            <a:off x="7811508" y="1775680"/>
            <a:ext cx="613064" cy="613064"/>
            <a:chOff x="645658" y="2456893"/>
            <a:chExt cx="613064" cy="613064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xmlns="" id="{C142209D-4EC4-CA56-F805-07E11968D3C4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accent1">
                <a:lumMod val="75000"/>
                <a:alpha val="1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8" name="Oval 137">
              <a:extLst>
                <a:ext uri="{FF2B5EF4-FFF2-40B4-BE49-F238E27FC236}">
                  <a16:creationId xmlns:a16="http://schemas.microsoft.com/office/drawing/2014/main" xmlns="" id="{B1243726-FB4E-20D2-7F17-8952BE00F6CC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xmlns="" id="{7A13147F-D179-9C68-FA8E-FA6239E71B0A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150" name="Freeform 12">
                <a:extLst>
                  <a:ext uri="{FF2B5EF4-FFF2-40B4-BE49-F238E27FC236}">
                    <a16:creationId xmlns:a16="http://schemas.microsoft.com/office/drawing/2014/main" xmlns="" id="{57417035-E44A-F517-CBB2-9B3C154B06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151" name="Freeform 13">
                <a:extLst>
                  <a:ext uri="{FF2B5EF4-FFF2-40B4-BE49-F238E27FC236}">
                    <a16:creationId xmlns:a16="http://schemas.microsoft.com/office/drawing/2014/main" xmlns="" id="{32EC5D54-91BA-943E-7033-F9DB01F52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192" name="TextBox 191">
            <a:extLst>
              <a:ext uri="{FF2B5EF4-FFF2-40B4-BE49-F238E27FC236}">
                <a16:creationId xmlns:a16="http://schemas.microsoft.com/office/drawing/2014/main" xmlns="" id="{5956A806-A980-8297-2DB4-2179C5538675}"/>
              </a:ext>
            </a:extLst>
          </p:cNvPr>
          <p:cNvSpPr txBox="1"/>
          <p:nvPr/>
        </p:nvSpPr>
        <p:spPr>
          <a:xfrm>
            <a:off x="2871655" y="3337516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Pengaju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PKB</a:t>
            </a: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xmlns="" id="{95CB107B-BACD-9BE8-F9D4-5E71A5CB55DB}"/>
              </a:ext>
            </a:extLst>
          </p:cNvPr>
          <p:cNvSpPr txBox="1"/>
          <p:nvPr/>
        </p:nvSpPr>
        <p:spPr>
          <a:xfrm>
            <a:off x="7319955" y="3337517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Pelapor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PKB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xmlns="" id="{81230D26-BB26-0A5C-E346-EE7FBEA32C52}"/>
              </a:ext>
            </a:extLst>
          </p:cNvPr>
          <p:cNvSpPr txBox="1"/>
          <p:nvPr/>
        </p:nvSpPr>
        <p:spPr>
          <a:xfrm>
            <a:off x="5106995" y="3318837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Pelaksana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PKB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188455DE-D207-A2B3-AFB1-C1CD3960FF40}"/>
              </a:ext>
            </a:extLst>
          </p:cNvPr>
          <p:cNvSpPr/>
          <p:nvPr/>
        </p:nvSpPr>
        <p:spPr>
          <a:xfrm rot="5400000">
            <a:off x="365275" y="2085998"/>
            <a:ext cx="2169506" cy="2017880"/>
          </a:xfrm>
          <a:prstGeom prst="rect">
            <a:avLst/>
          </a:prstGeom>
          <a:solidFill>
            <a:srgbClr val="08517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52A63D21-1AA0-AD65-C880-FA8832E626AD}"/>
              </a:ext>
            </a:extLst>
          </p:cNvPr>
          <p:cNvGrpSpPr/>
          <p:nvPr/>
        </p:nvGrpSpPr>
        <p:grpSpPr>
          <a:xfrm>
            <a:off x="1144492" y="1705484"/>
            <a:ext cx="613064" cy="613064"/>
            <a:chOff x="645658" y="2456893"/>
            <a:chExt cx="613064" cy="613064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xmlns="" id="{41198FA7-07AD-4E9A-36DC-F1708C1A9447}"/>
                </a:ext>
              </a:extLst>
            </p:cNvPr>
            <p:cNvSpPr/>
            <p:nvPr/>
          </p:nvSpPr>
          <p:spPr>
            <a:xfrm>
              <a:off x="645658" y="2456893"/>
              <a:ext cx="613064" cy="613064"/>
            </a:xfrm>
            <a:prstGeom prst="ellipse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xmlns="" id="{8B87980A-B487-9B4B-4F3F-C46021A9317D}"/>
                </a:ext>
              </a:extLst>
            </p:cNvPr>
            <p:cNvSpPr/>
            <p:nvPr/>
          </p:nvSpPr>
          <p:spPr>
            <a:xfrm>
              <a:off x="743910" y="2555145"/>
              <a:ext cx="416560" cy="416560"/>
            </a:xfrm>
            <a:prstGeom prst="ellipse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B8500125-5F0D-8A58-8BD6-C32A19BCF971}"/>
                </a:ext>
              </a:extLst>
            </p:cNvPr>
            <p:cNvGrpSpPr/>
            <p:nvPr/>
          </p:nvGrpSpPr>
          <p:grpSpPr>
            <a:xfrm>
              <a:off x="879870" y="2654314"/>
              <a:ext cx="195351" cy="197142"/>
              <a:chOff x="7021513" y="2890838"/>
              <a:chExt cx="346076" cy="349250"/>
            </a:xfrm>
          </p:grpSpPr>
          <p:sp>
            <p:nvSpPr>
              <p:cNvPr id="8" name="Freeform 12">
                <a:extLst>
                  <a:ext uri="{FF2B5EF4-FFF2-40B4-BE49-F238E27FC236}">
                    <a16:creationId xmlns:a16="http://schemas.microsoft.com/office/drawing/2014/main" xmlns="" id="{9AB4DBEE-B4CE-770C-09BA-0B84C535EF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73901" y="2890838"/>
                <a:ext cx="293688" cy="273050"/>
              </a:xfrm>
              <a:custGeom>
                <a:avLst/>
                <a:gdLst>
                  <a:gd name="T0" fmla="*/ 185 w 185"/>
                  <a:gd name="T1" fmla="*/ 0 h 172"/>
                  <a:gd name="T2" fmla="*/ 48 w 185"/>
                  <a:gd name="T3" fmla="*/ 172 h 172"/>
                  <a:gd name="T4" fmla="*/ 0 w 185"/>
                  <a:gd name="T5" fmla="*/ 12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5" h="172">
                    <a:moveTo>
                      <a:pt x="185" y="0"/>
                    </a:moveTo>
                    <a:lnTo>
                      <a:pt x="48" y="172"/>
                    </a:lnTo>
                    <a:lnTo>
                      <a:pt x="0" y="124"/>
                    </a:ln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9" name="Freeform 13">
                <a:extLst>
                  <a:ext uri="{FF2B5EF4-FFF2-40B4-BE49-F238E27FC236}">
                    <a16:creationId xmlns:a16="http://schemas.microsoft.com/office/drawing/2014/main" xmlns="" id="{2BD47965-53BA-1B43-19F8-E391ABF11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21513" y="2967038"/>
                <a:ext cx="271463" cy="273050"/>
              </a:xfrm>
              <a:custGeom>
                <a:avLst/>
                <a:gdLst>
                  <a:gd name="T0" fmla="*/ 71 w 72"/>
                  <a:gd name="T1" fmla="*/ 28 h 72"/>
                  <a:gd name="T2" fmla="*/ 72 w 72"/>
                  <a:gd name="T3" fmla="*/ 36 h 72"/>
                  <a:gd name="T4" fmla="*/ 36 w 72"/>
                  <a:gd name="T5" fmla="*/ 72 h 72"/>
                  <a:gd name="T6" fmla="*/ 0 w 72"/>
                  <a:gd name="T7" fmla="*/ 36 h 72"/>
                  <a:gd name="T8" fmla="*/ 36 w 72"/>
                  <a:gd name="T9" fmla="*/ 0 h 72"/>
                  <a:gd name="T10" fmla="*/ 52 w 72"/>
                  <a:gd name="T11" fmla="*/ 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2" h="72">
                    <a:moveTo>
                      <a:pt x="71" y="28"/>
                    </a:moveTo>
                    <a:cubicBezTo>
                      <a:pt x="72" y="31"/>
                      <a:pt x="72" y="33"/>
                      <a:pt x="72" y="36"/>
                    </a:cubicBezTo>
                    <a:cubicBezTo>
                      <a:pt x="72" y="56"/>
                      <a:pt x="56" y="72"/>
                      <a:pt x="36" y="72"/>
                    </a:cubicBez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42" y="0"/>
                      <a:pt x="47" y="1"/>
                      <a:pt x="52" y="4"/>
                    </a:cubicBezTo>
                  </a:path>
                </a:pathLst>
              </a:custGeom>
              <a:noFill/>
              <a:ln w="9525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2212E7B2-7F73-4E17-D21B-C1575A33453A}"/>
              </a:ext>
            </a:extLst>
          </p:cNvPr>
          <p:cNvSpPr txBox="1"/>
          <p:nvPr/>
        </p:nvSpPr>
        <p:spPr>
          <a:xfrm>
            <a:off x="586819" y="3347501"/>
            <a:ext cx="17894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Registrasi</a:t>
            </a: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Akun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nyelenggara</a:t>
            </a:r>
            <a:endParaRPr lang="en-US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3909369D-2205-9D5A-6548-152639E0E1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832" y="386345"/>
            <a:ext cx="841307" cy="841307"/>
          </a:xfrm>
          <a:prstGeom prst="rect">
            <a:avLst/>
          </a:prstGeom>
        </p:spPr>
      </p:pic>
      <p:sp>
        <p:nvSpPr>
          <p:cNvPr id="49" name="Oval 48">
            <a:extLst>
              <a:ext uri="{FF2B5EF4-FFF2-40B4-BE49-F238E27FC236}">
                <a16:creationId xmlns:a16="http://schemas.microsoft.com/office/drawing/2014/main" xmlns="" id="{611A3C4F-E9AA-8932-5101-EAA806FECBF1}"/>
              </a:ext>
            </a:extLst>
          </p:cNvPr>
          <p:cNvSpPr/>
          <p:nvPr/>
        </p:nvSpPr>
        <p:spPr>
          <a:xfrm rot="5400000">
            <a:off x="9621566" y="2012006"/>
            <a:ext cx="2169506" cy="2171262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681EA80B-A07A-8A12-B777-0259BFAE160A}"/>
              </a:ext>
            </a:extLst>
          </p:cNvPr>
          <p:cNvSpPr txBox="1"/>
          <p:nvPr/>
        </p:nvSpPr>
        <p:spPr>
          <a:xfrm>
            <a:off x="9908825" y="3254654"/>
            <a:ext cx="1596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latin typeface="Century Gothic" panose="020B0502020202020204" pitchFamily="34" charset="0"/>
              </a:rPr>
              <a:t> PKB </a:t>
            </a:r>
            <a:r>
              <a:rPr lang="en-US" sz="1600" b="1" dirty="0" err="1">
                <a:latin typeface="Century Gothic" panose="020B0502020202020204" pitchFamily="34" charset="0"/>
              </a:rPr>
              <a:t>Terverifikasi</a:t>
            </a:r>
            <a:endParaRPr lang="en-US" sz="1600" b="1" dirty="0">
              <a:latin typeface="Century Gothic" panose="020B0502020202020204" pitchFamily="34" charset="0"/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xmlns="" id="{80FE5D29-43E2-EEB5-BE64-0EADBBB3837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328" y="2484060"/>
            <a:ext cx="559861" cy="559861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xmlns="" id="{316F59EE-BEFA-F338-591F-DFDA437D33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547" y="2570163"/>
            <a:ext cx="613064" cy="613064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xmlns="" id="{9DDD5F5B-8DCA-06F4-FE86-5A08639663D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497" y="2611976"/>
            <a:ext cx="551063" cy="551063"/>
          </a:xfrm>
          <a:prstGeom prst="rect">
            <a:avLst/>
          </a:prstGeom>
        </p:spPr>
      </p:pic>
      <p:pic>
        <p:nvPicPr>
          <p:cNvPr id="83" name="Picture 82">
            <a:extLst>
              <a:ext uri="{FF2B5EF4-FFF2-40B4-BE49-F238E27FC236}">
                <a16:creationId xmlns:a16="http://schemas.microsoft.com/office/drawing/2014/main" xmlns="" id="{1AA0F698-6020-6047-1818-5FE64A4A164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907" y="2586891"/>
            <a:ext cx="576148" cy="576148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xmlns="" id="{23FCC877-DB62-FD64-BC73-730371987B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841" y="2570163"/>
            <a:ext cx="609604" cy="609604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xmlns="" id="{ECBC2450-FDE7-1984-F8F8-0911DEF05DF7}"/>
              </a:ext>
            </a:extLst>
          </p:cNvPr>
          <p:cNvSpPr txBox="1"/>
          <p:nvPr/>
        </p:nvSpPr>
        <p:spPr>
          <a:xfrm>
            <a:off x="2507955" y="5016679"/>
            <a:ext cx="54018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 err="1">
                <a:latin typeface="Century Gothic" panose="020B0502020202020204" pitchFamily="34" charset="0"/>
              </a:rPr>
              <a:t>Registrasi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akun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penyelenggara</a:t>
            </a:r>
            <a:r>
              <a:rPr lang="en-US" sz="1600" b="1" dirty="0">
                <a:latin typeface="Century Gothic" panose="020B0502020202020204" pitchFamily="34" charset="0"/>
              </a:rPr>
              <a:t>, </a:t>
            </a:r>
            <a:r>
              <a:rPr lang="en-US" sz="1600" b="1" dirty="0" err="1">
                <a:latin typeface="Century Gothic" panose="020B0502020202020204" pitchFamily="34" charset="0"/>
              </a:rPr>
              <a:t>pengajuan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latin typeface="Century Gothic" panose="020B0502020202020204" pitchFamily="34" charset="0"/>
              </a:rPr>
              <a:t> PKB, dan </a:t>
            </a:r>
            <a:r>
              <a:rPr lang="en-US" sz="1600" b="1" dirty="0" err="1">
                <a:latin typeface="Century Gothic" panose="020B0502020202020204" pitchFamily="34" charset="0"/>
              </a:rPr>
              <a:t>pelaporan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dirty="0">
                <a:latin typeface="Century Gothic" panose="020B0502020202020204" pitchFamily="34" charset="0"/>
              </a:rPr>
              <a:t> PKB </a:t>
            </a:r>
            <a:r>
              <a:rPr lang="en-US" sz="1600" b="1" dirty="0" err="1">
                <a:latin typeface="Century Gothic" panose="020B0502020202020204" pitchFamily="34" charset="0"/>
              </a:rPr>
              <a:t>melalui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sistem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 PKB LPJK (https://siki.pu.go.id/pkb-v2/)</a:t>
            </a:r>
            <a:r>
              <a:rPr lang="en-US" sz="1600" b="1" dirty="0">
                <a:latin typeface="Century Gothic" panose="020B0502020202020204" pitchFamily="34" charset="0"/>
              </a:rPr>
              <a:t>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BA7F47E0-3EE0-0AEB-AFEF-A92E19E04504}"/>
              </a:ext>
            </a:extLst>
          </p:cNvPr>
          <p:cNvGrpSpPr/>
          <p:nvPr/>
        </p:nvGrpSpPr>
        <p:grpSpPr>
          <a:xfrm>
            <a:off x="441088" y="4347425"/>
            <a:ext cx="1976172" cy="2169506"/>
            <a:chOff x="8577855" y="4419449"/>
            <a:chExt cx="1976172" cy="2169506"/>
          </a:xfrm>
        </p:grpSpPr>
        <p:sp>
          <p:nvSpPr>
            <p:cNvPr id="100" name="Rectangle: Rounded Corners 99">
              <a:extLst>
                <a:ext uri="{FF2B5EF4-FFF2-40B4-BE49-F238E27FC236}">
                  <a16:creationId xmlns:a16="http://schemas.microsoft.com/office/drawing/2014/main" xmlns="" id="{A983C71D-769C-92F3-BAA3-B42C8941C716}"/>
                </a:ext>
              </a:extLst>
            </p:cNvPr>
            <p:cNvSpPr/>
            <p:nvPr/>
          </p:nvSpPr>
          <p:spPr>
            <a:xfrm>
              <a:off x="8577855" y="4419449"/>
              <a:ext cx="1976172" cy="2169506"/>
            </a:xfrm>
            <a:prstGeom prst="roundRect">
              <a:avLst/>
            </a:prstGeom>
            <a:noFill/>
            <a:ln w="381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xmlns="" id="{8810E2A1-374C-AFB7-F6D8-ED3AC678277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00122" y="4542987"/>
              <a:ext cx="1752916" cy="1752916"/>
            </a:xfrm>
            <a:prstGeom prst="rect">
              <a:avLst/>
            </a:prstGeom>
          </p:spPr>
        </p:pic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xmlns="" id="{797A432A-5965-9590-CBBF-1727705D0AF2}"/>
                </a:ext>
              </a:extLst>
            </p:cNvPr>
            <p:cNvSpPr txBox="1"/>
            <p:nvPr/>
          </p:nvSpPr>
          <p:spPr>
            <a:xfrm>
              <a:off x="8700122" y="6227783"/>
              <a:ext cx="174388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 err="1">
                  <a:solidFill>
                    <a:srgbClr val="085171"/>
                  </a:solidFill>
                  <a:latin typeface="Century Gothic" panose="020B0502020202020204" pitchFamily="34" charset="0"/>
                </a:rPr>
                <a:t>Sistem</a:t>
              </a:r>
              <a:r>
                <a:rPr lang="en-US" sz="1400" b="1" dirty="0">
                  <a:solidFill>
                    <a:srgbClr val="085171"/>
                  </a:solidFill>
                  <a:latin typeface="Century Gothic" panose="020B0502020202020204" pitchFamily="34" charset="0"/>
                </a:rPr>
                <a:t> PKB LPJK</a:t>
              </a:r>
              <a:endParaRPr lang="en-ID" sz="1400" dirty="0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3AC4C5C-5961-38E7-DBA5-D2608ADE4C57}"/>
              </a:ext>
            </a:extLst>
          </p:cNvPr>
          <p:cNvSpPr txBox="1"/>
          <p:nvPr/>
        </p:nvSpPr>
        <p:spPr>
          <a:xfrm>
            <a:off x="9697379" y="4367257"/>
            <a:ext cx="20178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i="1" dirty="0" err="1">
                <a:latin typeface="Century Gothic" panose="020B0502020202020204" pitchFamily="34" charset="0"/>
              </a:rPr>
              <a:t>Perolehan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latin typeface="Century Gothic" panose="020B0502020202020204" pitchFamily="34" charset="0"/>
              </a:rPr>
              <a:t>angka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latin typeface="Century Gothic" panose="020B0502020202020204" pitchFamily="34" charset="0"/>
              </a:rPr>
              <a:t>kredit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latin typeface="Century Gothic" panose="020B0502020202020204" pitchFamily="34" charset="0"/>
              </a:rPr>
              <a:t>kegiatan</a:t>
            </a:r>
            <a:r>
              <a:rPr lang="en-US" sz="1600" b="1" i="1" dirty="0">
                <a:latin typeface="Century Gothic" panose="020B0502020202020204" pitchFamily="34" charset="0"/>
              </a:rPr>
              <a:t> PKB </a:t>
            </a:r>
            <a:r>
              <a:rPr lang="en-US" sz="1600" b="1" i="1" dirty="0" err="1">
                <a:latin typeface="Century Gothic" panose="020B0502020202020204" pitchFamily="34" charset="0"/>
              </a:rPr>
              <a:t>terverifikasi</a:t>
            </a:r>
            <a:r>
              <a:rPr lang="en-US" sz="1600" b="1" i="1" dirty="0"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otomatis</a:t>
            </a:r>
            <a:r>
              <a:rPr lang="en-US" sz="1600" b="1" i="1" dirty="0">
                <a:solidFill>
                  <a:srgbClr val="00B050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tercatat</a:t>
            </a:r>
            <a:r>
              <a:rPr lang="en-US" sz="1600" b="1" i="1" dirty="0">
                <a:solidFill>
                  <a:srgbClr val="00B050"/>
                </a:solidFill>
                <a:latin typeface="Century Gothic" panose="020B0502020202020204" pitchFamily="34" charset="0"/>
              </a:rPr>
              <a:t> di logbook PKB </a:t>
            </a:r>
            <a:r>
              <a:rPr lang="en-US" sz="1600" b="1" i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tenaga</a:t>
            </a:r>
            <a:r>
              <a:rPr lang="en-US" sz="1600" b="1" i="1" dirty="0">
                <a:solidFill>
                  <a:srgbClr val="00B050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i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ahli</a:t>
            </a:r>
            <a:r>
              <a:rPr lang="en-US" sz="1600" b="1" i="1" dirty="0">
                <a:latin typeface="Century Gothic" panose="020B0502020202020204" pitchFamily="34" charset="0"/>
              </a:rPr>
              <a:t>.</a:t>
            </a:r>
            <a:endParaRPr lang="en-ID" sz="1600" b="1" i="1" dirty="0">
              <a:latin typeface="Century Gothic" panose="020B0502020202020204" pitchFamily="34" charset="0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xmlns="" id="{1D6C2AF0-71ED-6E27-73C7-2C4E9F50D68C}"/>
              </a:ext>
            </a:extLst>
          </p:cNvPr>
          <p:cNvSpPr/>
          <p:nvPr/>
        </p:nvSpPr>
        <p:spPr>
          <a:xfrm>
            <a:off x="9125984" y="2830869"/>
            <a:ext cx="494704" cy="598131"/>
          </a:xfrm>
          <a:prstGeom prst="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4" name="Google Shape;590;p20" descr="lgo sigap.png">
            <a:extLst>
              <a:ext uri="{FF2B5EF4-FFF2-40B4-BE49-F238E27FC236}">
                <a16:creationId xmlns:a16="http://schemas.microsoft.com/office/drawing/2014/main" xmlns="" id="{33A0E942-6F4C-3956-9AD6-189B29BFB3B1}"/>
              </a:ext>
            </a:extLst>
          </p:cNvPr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9314121" y="0"/>
            <a:ext cx="2877879" cy="110958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86257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96AEC81B-0A8D-779C-5D00-D9D4C62BFC9B}"/>
              </a:ext>
            </a:extLst>
          </p:cNvPr>
          <p:cNvSpPr/>
          <p:nvPr/>
        </p:nvSpPr>
        <p:spPr>
          <a:xfrm>
            <a:off x="0" y="1"/>
            <a:ext cx="5555673" cy="91268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939513" y="15957"/>
            <a:ext cx="4720677" cy="84130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AMPILAN HALAMAN</a:t>
            </a:r>
          </a:p>
          <a:p>
            <a:r>
              <a:rPr lang="en-US" sz="24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(https://</a:t>
            </a:r>
            <a:r>
              <a:rPr lang="en-US" sz="2400" b="1" dirty="0" err="1">
                <a:solidFill>
                  <a:srgbClr val="085171"/>
                </a:solidFill>
                <a:latin typeface="Century Gothic" panose="020B0502020202020204" pitchFamily="34" charset="0"/>
              </a:rPr>
              <a:t>siki.pu.go.id</a:t>
            </a:r>
            <a:r>
              <a:rPr lang="en-US" sz="2400" b="1" dirty="0">
                <a:solidFill>
                  <a:srgbClr val="085171"/>
                </a:solidFill>
                <a:latin typeface="Century Gothic" panose="020B0502020202020204" pitchFamily="34" charset="0"/>
              </a:rPr>
              <a:t>/pkb-v2/)</a:t>
            </a:r>
            <a:endParaRPr lang="en-US" sz="2400" b="1" dirty="0">
              <a:solidFill>
                <a:srgbClr val="08517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3909369D-2205-9D5A-6548-152639E0E1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13" y="43667"/>
            <a:ext cx="841307" cy="841307"/>
          </a:xfrm>
          <a:prstGeom prst="rect">
            <a:avLst/>
          </a:prstGeom>
        </p:spPr>
      </p:pic>
      <p:pic>
        <p:nvPicPr>
          <p:cNvPr id="14" name="Google Shape;590;p20" descr="lgo sigap.png">
            <a:extLst>
              <a:ext uri="{FF2B5EF4-FFF2-40B4-BE49-F238E27FC236}">
                <a16:creationId xmlns:a16="http://schemas.microsoft.com/office/drawing/2014/main" xmlns="" id="{33A0E942-6F4C-3956-9AD6-189B29BFB3B1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9314121" y="0"/>
            <a:ext cx="2877879" cy="11095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3AA5FB5E-1527-714A-8F11-2B114007255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80" r="1262" b="11515"/>
          <a:stretch/>
        </p:blipFill>
        <p:spPr>
          <a:xfrm>
            <a:off x="678872" y="1000357"/>
            <a:ext cx="10834255" cy="5514109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4463E3B9-1BBC-6044-911D-FB174F2BF828}"/>
              </a:ext>
            </a:extLst>
          </p:cNvPr>
          <p:cNvSpPr/>
          <p:nvPr/>
        </p:nvSpPr>
        <p:spPr>
          <a:xfrm>
            <a:off x="1690255" y="3976254"/>
            <a:ext cx="1745672" cy="568037"/>
          </a:xfrm>
          <a:prstGeom prst="rect">
            <a:avLst/>
          </a:prstGeom>
          <a:noFill/>
          <a:ln w="38100">
            <a:solidFill>
              <a:srgbClr val="FFFF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6389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590;p20" descr="lgo sigap.png">
            <a:extLst>
              <a:ext uri="{FF2B5EF4-FFF2-40B4-BE49-F238E27FC236}">
                <a16:creationId xmlns:a16="http://schemas.microsoft.com/office/drawing/2014/main" xmlns="" id="{BE6139C3-A89E-BB9E-DEC2-CEC4B4BC0D32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14121" y="0"/>
            <a:ext cx="2877879" cy="11095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DCA36D2-EEF5-21EE-3283-F0CBB589C6A7}"/>
              </a:ext>
            </a:extLst>
          </p:cNvPr>
          <p:cNvSpPr/>
          <p:nvPr/>
        </p:nvSpPr>
        <p:spPr>
          <a:xfrm>
            <a:off x="407988" y="522183"/>
            <a:ext cx="11376024" cy="5710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566049" y="666807"/>
            <a:ext cx="5761703" cy="119163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32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Registrasi</a:t>
            </a:r>
            <a:r>
              <a:rPr lang="en-US" sz="32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Akun </a:t>
            </a:r>
            <a:r>
              <a:rPr lang="en-US" sz="32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Penyelenggara</a:t>
            </a:r>
            <a:r>
              <a:rPr lang="en-US" sz="32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PKB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23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xmlns="" id="{5B392724-1682-144B-97C0-99A655733E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2044783"/>
              </p:ext>
            </p:extLst>
          </p:nvPr>
        </p:nvGraphicFramePr>
        <p:xfrm>
          <a:off x="6485813" y="593290"/>
          <a:ext cx="5298199" cy="5372408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490259">
                  <a:extLst>
                    <a:ext uri="{9D8B030D-6E8A-4147-A177-3AD203B41FA5}">
                      <a16:colId xmlns:a16="http://schemas.microsoft.com/office/drawing/2014/main" xmlns="" val="3628169282"/>
                    </a:ext>
                  </a:extLst>
                </a:gridCol>
                <a:gridCol w="2319160">
                  <a:extLst>
                    <a:ext uri="{9D8B030D-6E8A-4147-A177-3AD203B41FA5}">
                      <a16:colId xmlns:a16="http://schemas.microsoft.com/office/drawing/2014/main" xmlns="" val="1517513163"/>
                    </a:ext>
                  </a:extLst>
                </a:gridCol>
                <a:gridCol w="1488780">
                  <a:extLst>
                    <a:ext uri="{9D8B030D-6E8A-4147-A177-3AD203B41FA5}">
                      <a16:colId xmlns:a16="http://schemas.microsoft.com/office/drawing/2014/main" xmlns="" val="3296464257"/>
                    </a:ext>
                  </a:extLst>
                </a:gridCol>
              </a:tblGrid>
              <a:tr h="878213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enis</a:t>
                      </a: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nyelenggara</a:t>
                      </a: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PKB</a:t>
                      </a:r>
                      <a:endParaRPr lang="en-ID" sz="11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1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Berkas</a:t>
                      </a: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nyelenggara</a:t>
                      </a: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PKB</a:t>
                      </a:r>
                      <a:endParaRPr lang="en-ID" sz="11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15000"/>
                        </a:lnSpc>
                      </a:pPr>
                      <a:r>
                        <a:rPr lang="en-GB" sz="11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Berkas</a:t>
                      </a: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nanggung</a:t>
                      </a: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Jawab </a:t>
                      </a:r>
                      <a:r>
                        <a:rPr lang="en-GB" sz="1100" b="1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nyelenggara</a:t>
                      </a:r>
                      <a:r>
                        <a:rPr lang="en-GB" sz="1100" b="1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PKB </a:t>
                      </a:r>
                      <a:endParaRPr lang="en-ID" sz="1100" b="1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86008620"/>
                  </a:ext>
                </a:extLst>
              </a:tr>
              <a:tr h="586200">
                <a:tc>
                  <a:txBody>
                    <a:bodyPr/>
                    <a:lstStyle/>
                    <a:p>
                      <a:pPr marL="315913" indent="-2286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GB" sz="11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K/L/</a:t>
                      </a:r>
                      <a:r>
                        <a:rPr lang="en-GB" sz="1100" b="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mProv</a:t>
                      </a:r>
                      <a:r>
                        <a:rPr lang="en-GB" sz="11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en-GB" sz="1100" b="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mKab</a:t>
                      </a:r>
                      <a:r>
                        <a:rPr lang="en-GB" sz="11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/ </a:t>
                      </a:r>
                      <a:r>
                        <a:rPr lang="en-GB" sz="1100" b="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mKot</a:t>
                      </a:r>
                      <a:endParaRPr lang="en-ID" sz="11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100" strike="sngStrike" dirty="0">
                          <a:effectLst/>
                          <a:latin typeface="Century Gothic" panose="020B0502020202020204" pitchFamily="34" charset="0"/>
                        </a:rPr>
                        <a:t>-</a:t>
                      </a:r>
                      <a:endParaRPr lang="en-ID" sz="1100" b="0" dirty="0">
                        <a:solidFill>
                          <a:srgbClr val="00B05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</a:pP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SK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penunjukan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penanggung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jawab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penyelenggara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PKB</a:t>
                      </a:r>
                      <a:endParaRPr lang="en-ID" sz="1100" b="1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70409171"/>
                  </a:ext>
                </a:extLst>
              </a:tr>
              <a:tr h="781599">
                <a:tc>
                  <a:txBody>
                    <a:bodyPr/>
                    <a:lstStyle/>
                    <a:p>
                      <a:pPr marL="315913" indent="-2286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 startAt="2"/>
                      </a:pP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sosiasi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rofesi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/ badan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usaha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/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antai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asok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asa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endParaRPr lang="en-ID" sz="11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1938" lvl="0" indent="-17462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"/>
                      </a:pP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Akta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notaris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pendirian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asosiasi</a:t>
                      </a:r>
                      <a:endParaRPr lang="en-ID" sz="1100" kern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261938" lvl="0" indent="-174625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"/>
                      </a:pP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Pengesahan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badan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hukum</a:t>
                      </a:r>
                      <a:endParaRPr lang="en-GB" sz="1100" kern="120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ID" sz="13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2023729730"/>
                  </a:ext>
                </a:extLst>
              </a:tr>
              <a:tr h="976998">
                <a:tc>
                  <a:txBody>
                    <a:bodyPr/>
                    <a:lstStyle/>
                    <a:p>
                      <a:pPr marL="315913" indent="-2286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 startAt="3"/>
                      </a:pP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Lembaga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ndidikan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an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kerja</a:t>
                      </a:r>
                      <a:endParaRPr lang="en-ID" sz="11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1938" lvl="0" indent="-174625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"/>
                      </a:pP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Lembaga Pendidikan: Data Pendidikan Tinggi (DDIKTI) </a:t>
                      </a:r>
                    </a:p>
                    <a:p>
                      <a:pPr marL="261938" lvl="0" indent="-174625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"/>
                      </a:pP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Lembaga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: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Izin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lembaga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dari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dinas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terkait</a:t>
                      </a:r>
                      <a:endParaRPr lang="en-ID" sz="1100" b="0" kern="1200" dirty="0">
                        <a:solidFill>
                          <a:srgbClr val="00B05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ID" sz="13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94706335"/>
                  </a:ext>
                </a:extLst>
              </a:tr>
              <a:tr h="781599">
                <a:tc>
                  <a:txBody>
                    <a:bodyPr/>
                    <a:lstStyle/>
                    <a:p>
                      <a:pPr marL="315913" indent="-2286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 startAt="4"/>
                      </a:pP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Konsultan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dan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kontraktor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kerjaan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endParaRPr lang="en-ID" sz="11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1938" lvl="0" indent="-174625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"/>
                      </a:pP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Akta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Pendirian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Perusahaan</a:t>
                      </a:r>
                      <a:endParaRPr lang="en-ID" sz="1100" kern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261938" lvl="0" indent="-174625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"/>
                      </a:pP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SBU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dan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/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atau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IUJK yang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masih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berlaku</a:t>
                      </a:r>
                      <a:endParaRPr lang="en-ID" sz="1100" b="0" kern="1200" dirty="0">
                        <a:solidFill>
                          <a:srgbClr val="00B05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ID" sz="13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2018980880"/>
                  </a:ext>
                </a:extLst>
              </a:tr>
              <a:tr h="781599">
                <a:tc>
                  <a:txBody>
                    <a:bodyPr/>
                    <a:lstStyle/>
                    <a:p>
                      <a:pPr marL="315913" indent="-2286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 startAt="5"/>
                      </a:pP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erakit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(fabricator), distributor,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plikator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MPK</a:t>
                      </a:r>
                      <a:endParaRPr lang="en-ID" sz="11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1938" lvl="0" indent="-174625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"/>
                      </a:pP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Akta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kern="1200" dirty="0" err="1">
                          <a:effectLst/>
                          <a:latin typeface="Century Gothic" panose="020B0502020202020204" pitchFamily="34" charset="0"/>
                        </a:rPr>
                        <a:t>Pendirian</a:t>
                      </a: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 Perusahaan</a:t>
                      </a:r>
                      <a:endParaRPr lang="en-ID" sz="1100" kern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261938" lvl="0" indent="-174625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"/>
                      </a:pPr>
                      <a:r>
                        <a:rPr lang="en-GB" sz="1100" kern="1200" dirty="0">
                          <a:effectLst/>
                          <a:latin typeface="Century Gothic" panose="020B0502020202020204" pitchFamily="34" charset="0"/>
                        </a:rPr>
                        <a:t>SIUP</a:t>
                      </a:r>
                      <a:endParaRPr lang="en-ID" sz="1100" b="0" kern="1200" dirty="0">
                        <a:solidFill>
                          <a:srgbClr val="00B05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20955">
                        <a:lnSpc>
                          <a:spcPct val="115000"/>
                        </a:lnSpc>
                      </a:pPr>
                      <a:endParaRPr lang="en-ID" sz="1300" b="1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3483780059"/>
                  </a:ext>
                </a:extLst>
              </a:tr>
              <a:tr h="586200">
                <a:tc>
                  <a:txBody>
                    <a:bodyPr/>
                    <a:lstStyle/>
                    <a:p>
                      <a:pPr marL="315913" indent="-2286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 startAt="6"/>
                      </a:pP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Lembaga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tau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b="0" kern="1200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rganisasi</a:t>
                      </a:r>
                      <a:r>
                        <a:rPr lang="en-GB" sz="1100" b="0" kern="120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lain</a:t>
                      </a:r>
                      <a:endParaRPr lang="en-ID" sz="11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Dokumen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legalitas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pendirian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lembaga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atau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organisasi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sesuai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ketentuan</a:t>
                      </a:r>
                      <a:r>
                        <a:rPr lang="en-GB" sz="1100" dirty="0">
                          <a:effectLst/>
                          <a:latin typeface="Century Gothic" panose="020B0502020202020204" pitchFamily="34" charset="0"/>
                        </a:rPr>
                        <a:t> yang </a:t>
                      </a:r>
                      <a:r>
                        <a:rPr lang="en-GB" sz="1100" dirty="0" err="1">
                          <a:effectLst/>
                          <a:latin typeface="Century Gothic" panose="020B0502020202020204" pitchFamily="34" charset="0"/>
                        </a:rPr>
                        <a:t>berlaku</a:t>
                      </a:r>
                      <a:endParaRPr lang="en-ID" sz="1100" b="0" dirty="0">
                        <a:solidFill>
                          <a:srgbClr val="00B050"/>
                        </a:solidFill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en-ID" sz="1300" dirty="0">
                        <a:effectLst/>
                        <a:latin typeface="+mj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395349284"/>
                  </a:ext>
                </a:extLst>
              </a:tr>
            </a:tbl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D26868DC-E984-4F10-8A84-F09FEADE6527}"/>
              </a:ext>
            </a:extLst>
          </p:cNvPr>
          <p:cNvCxnSpPr>
            <a:cxnSpLocks/>
          </p:cNvCxnSpPr>
          <p:nvPr/>
        </p:nvCxnSpPr>
        <p:spPr>
          <a:xfrm>
            <a:off x="1038046" y="2011339"/>
            <a:ext cx="0" cy="395435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Oval 5">
            <a:extLst>
              <a:ext uri="{FF2B5EF4-FFF2-40B4-BE49-F238E27FC236}">
                <a16:creationId xmlns:a16="http://schemas.microsoft.com/office/drawing/2014/main" xmlns="" id="{D3D5E343-43EC-7035-E16D-C528D495CE32}"/>
              </a:ext>
            </a:extLst>
          </p:cNvPr>
          <p:cNvSpPr/>
          <p:nvPr/>
        </p:nvSpPr>
        <p:spPr>
          <a:xfrm>
            <a:off x="914709" y="2054878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D6B0AB2F-212D-AE7D-C1D5-4B2D8A0FFA2C}"/>
              </a:ext>
            </a:extLst>
          </p:cNvPr>
          <p:cNvSpPr/>
          <p:nvPr/>
        </p:nvSpPr>
        <p:spPr>
          <a:xfrm>
            <a:off x="914708" y="2976259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8B216674-512A-32F9-5ACC-E885F64F85B6}"/>
              </a:ext>
            </a:extLst>
          </p:cNvPr>
          <p:cNvSpPr/>
          <p:nvPr/>
        </p:nvSpPr>
        <p:spPr>
          <a:xfrm>
            <a:off x="914707" y="4100233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4BDDCACE-7933-A72C-4C61-3BA09A2DC411}"/>
              </a:ext>
            </a:extLst>
          </p:cNvPr>
          <p:cNvSpPr txBox="1">
            <a:spLocks/>
          </p:cNvSpPr>
          <p:nvPr/>
        </p:nvSpPr>
        <p:spPr>
          <a:xfrm>
            <a:off x="1284723" y="2054878"/>
            <a:ext cx="4811277" cy="2466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milih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Jenis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endParaRPr lang="en-US" sz="1600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xmlns="" id="{B944C6F0-53DD-8D8C-F4DB-F311630BC22C}"/>
              </a:ext>
            </a:extLst>
          </p:cNvPr>
          <p:cNvSpPr txBox="1">
            <a:spLocks/>
          </p:cNvSpPr>
          <p:nvPr/>
        </p:nvSpPr>
        <p:spPr>
          <a:xfrm>
            <a:off x="1284721" y="2895332"/>
            <a:ext cx="4666132" cy="5488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ngisi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ta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dan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nggah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rkas</a:t>
            </a:r>
            <a:endParaRPr lang="en-US" sz="1600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xmlns="" id="{74FF2628-2495-A811-1FD3-7567B7E2BC84}"/>
              </a:ext>
            </a:extLst>
          </p:cNvPr>
          <p:cNvSpPr txBox="1">
            <a:spLocks/>
          </p:cNvSpPr>
          <p:nvPr/>
        </p:nvSpPr>
        <p:spPr>
          <a:xfrm>
            <a:off x="1284721" y="4029213"/>
            <a:ext cx="4666132" cy="5488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ngisi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ta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anggung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Jawab 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dan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nggah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rkas</a:t>
            </a:r>
            <a:endParaRPr lang="en-US" sz="1600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7A38A1B4-D8E7-F4DD-2521-3F82CFFFFF6F}"/>
              </a:ext>
            </a:extLst>
          </p:cNvPr>
          <p:cNvSpPr/>
          <p:nvPr/>
        </p:nvSpPr>
        <p:spPr>
          <a:xfrm>
            <a:off x="914707" y="5208460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xmlns="" id="{CEA40F11-532C-0EC5-CD25-7AE47DE666BE}"/>
              </a:ext>
            </a:extLst>
          </p:cNvPr>
          <p:cNvSpPr txBox="1">
            <a:spLocks/>
          </p:cNvSpPr>
          <p:nvPr/>
        </p:nvSpPr>
        <p:spPr>
          <a:xfrm>
            <a:off x="1284721" y="5188662"/>
            <a:ext cx="4666132" cy="2725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nyetujui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rnyata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rtanggung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Jawab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519CC155-4895-1B19-4D07-2F1B51B59263}"/>
              </a:ext>
            </a:extLst>
          </p:cNvPr>
          <p:cNvSpPr/>
          <p:nvPr/>
        </p:nvSpPr>
        <p:spPr>
          <a:xfrm>
            <a:off x="914707" y="5713508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D58FF35F-2211-C0AD-3630-3D220632C97B}"/>
              </a:ext>
            </a:extLst>
          </p:cNvPr>
          <p:cNvSpPr txBox="1">
            <a:spLocks/>
          </p:cNvSpPr>
          <p:nvPr/>
        </p:nvSpPr>
        <p:spPr>
          <a:xfrm>
            <a:off x="1284721" y="5693710"/>
            <a:ext cx="4666132" cy="2725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bmi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757B7ADA-D076-CC26-0691-AC265EEA42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8153" y="737032"/>
            <a:ext cx="1458373" cy="99585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591A1901-4904-55BC-89D8-7545E35575BB}"/>
              </a:ext>
            </a:extLst>
          </p:cNvPr>
          <p:cNvSpPr txBox="1"/>
          <p:nvPr/>
        </p:nvSpPr>
        <p:spPr>
          <a:xfrm>
            <a:off x="1369034" y="2358140"/>
            <a:ext cx="48674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Untuk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rguruan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Tinggi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pat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ipilih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Lembaga Pendidikan dan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latihan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Kerja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AEC7119D-CC79-EA4A-2B86-CE98AB40B24D}"/>
              </a:ext>
            </a:extLst>
          </p:cNvPr>
          <p:cNvSpPr txBox="1"/>
          <p:nvPr/>
        </p:nvSpPr>
        <p:spPr>
          <a:xfrm>
            <a:off x="1369034" y="3480179"/>
            <a:ext cx="48674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ta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nyelenggara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rdiri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ri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isian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Jenis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nyelenggara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, Nama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Instansi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, No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lepon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, Email, Alamat, dan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Berkas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ndukung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3989A98C-B39E-1840-2B41-6AA75ABB083A}"/>
              </a:ext>
            </a:extLst>
          </p:cNvPr>
          <p:cNvSpPr txBox="1"/>
          <p:nvPr/>
        </p:nvSpPr>
        <p:spPr>
          <a:xfrm>
            <a:off x="1369034" y="4578779"/>
            <a:ext cx="48674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ta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nanggung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jawab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rdiri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ri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isian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Nama,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Jabatan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, NIK, NPWP, Email,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Berkas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ndukung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, dan Password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F07CD82-72CD-B546-6C58-22C10724C342}"/>
              </a:ext>
            </a:extLst>
          </p:cNvPr>
          <p:cNvSpPr txBox="1"/>
          <p:nvPr/>
        </p:nvSpPr>
        <p:spPr>
          <a:xfrm>
            <a:off x="407987" y="6437781"/>
            <a:ext cx="109437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atat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: Proses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erifikas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dan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alidas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rmohon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aku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nyelenggara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paling lama 3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har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erja</a:t>
            </a:r>
            <a:endParaRPr lang="en-ID" sz="1200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75522C87-D3EF-1C4D-819B-58E37B3FE7F7}"/>
              </a:ext>
            </a:extLst>
          </p:cNvPr>
          <p:cNvSpPr txBox="1"/>
          <p:nvPr/>
        </p:nvSpPr>
        <p:spPr>
          <a:xfrm>
            <a:off x="9314121" y="5996944"/>
            <a:ext cx="28218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ermen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PUPR No. 12/2021 </a:t>
            </a:r>
            <a:r>
              <a:rPr lang="en-US" sz="1000" i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asal</a:t>
            </a:r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 10</a:t>
            </a:r>
            <a:endParaRPr lang="en-ID" sz="1000" i="1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0728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oogle Shape;590;p20" descr="lgo sigap.png">
            <a:extLst>
              <a:ext uri="{FF2B5EF4-FFF2-40B4-BE49-F238E27FC236}">
                <a16:creationId xmlns:a16="http://schemas.microsoft.com/office/drawing/2014/main" xmlns="" id="{C53E5E97-BCD8-9C2B-954F-8E74A930E1AC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14121" y="0"/>
            <a:ext cx="2877879" cy="11095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DCA36D2-EEF5-21EE-3283-F0CBB589C6A7}"/>
              </a:ext>
            </a:extLst>
          </p:cNvPr>
          <p:cNvSpPr/>
          <p:nvPr/>
        </p:nvSpPr>
        <p:spPr>
          <a:xfrm>
            <a:off x="407988" y="522183"/>
            <a:ext cx="11376024" cy="57105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566049" y="666807"/>
            <a:ext cx="5761703" cy="119163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32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Hirarki</a:t>
            </a:r>
            <a:r>
              <a:rPr lang="en-US" sz="32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Akun </a:t>
            </a:r>
          </a:p>
          <a:p>
            <a:r>
              <a:rPr lang="en-US" sz="32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Penyelenggara</a:t>
            </a:r>
            <a:r>
              <a:rPr lang="en-US" sz="32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PKB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24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4BDDCACE-7933-A72C-4C61-3BA09A2DC411}"/>
              </a:ext>
            </a:extLst>
          </p:cNvPr>
          <p:cNvSpPr txBox="1">
            <a:spLocks/>
          </p:cNvSpPr>
          <p:nvPr/>
        </p:nvSpPr>
        <p:spPr>
          <a:xfrm>
            <a:off x="566049" y="2003067"/>
            <a:ext cx="6021130" cy="393722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lalui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ku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PKB yang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sudah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iaktivasi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apat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itambahk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ku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penanggung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jawab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PKB,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eng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tahap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Akun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PKB (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ku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utama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)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apat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nambah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tau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nghapus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ku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penanggung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jawab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PKB.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xmlns="" id="{F0DEA239-8FCA-1DFE-40C2-B7EFA7EB35A7}"/>
              </a:ext>
            </a:extLst>
          </p:cNvPr>
          <p:cNvSpPr txBox="1">
            <a:spLocks/>
          </p:cNvSpPr>
          <p:nvPr/>
        </p:nvSpPr>
        <p:spPr>
          <a:xfrm>
            <a:off x="6835935" y="798286"/>
            <a:ext cx="4811277" cy="5142006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Akun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PKB dan Akun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Penanggung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Jawab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endParaRPr lang="en-US" sz="16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toh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1:</a:t>
            </a:r>
          </a:p>
          <a:p>
            <a:pPr marL="0" indent="0">
              <a:spcBef>
                <a:spcPts val="600"/>
              </a:spcBef>
              <a:buNone/>
            </a:pPr>
            <a:endParaRPr lang="en-US" sz="1600" b="1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600" b="1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600" b="1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600" b="1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600" b="1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600" b="1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1600" b="1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toh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: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8BDD7672-1898-3679-8AE2-880742B388E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11193595"/>
              </p:ext>
            </p:extLst>
          </p:nvPr>
        </p:nvGraphicFramePr>
        <p:xfrm>
          <a:off x="7054230" y="1615572"/>
          <a:ext cx="4374686" cy="18403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BDD8FC66-9B4C-C67D-6403-41086B20D8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35369865"/>
              </p:ext>
            </p:extLst>
          </p:nvPr>
        </p:nvGraphicFramePr>
        <p:xfrm>
          <a:off x="6995167" y="3785079"/>
          <a:ext cx="4810106" cy="22188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sp>
        <p:nvSpPr>
          <p:cNvPr id="10" name="Subtitle 2">
            <a:extLst>
              <a:ext uri="{FF2B5EF4-FFF2-40B4-BE49-F238E27FC236}">
                <a16:creationId xmlns:a16="http://schemas.microsoft.com/office/drawing/2014/main" xmlns="" id="{4456C95B-4DB9-5F7B-780C-16E970464082}"/>
              </a:ext>
            </a:extLst>
          </p:cNvPr>
          <p:cNvSpPr txBox="1">
            <a:spLocks/>
          </p:cNvSpPr>
          <p:nvPr/>
        </p:nvSpPr>
        <p:spPr>
          <a:xfrm>
            <a:off x="10002335" y="1878242"/>
            <a:ext cx="1494981" cy="5036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kun </a:t>
            </a:r>
            <a:r>
              <a:rPr lang="en-US" sz="1000" i="1" dirty="0" err="1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PKB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xmlns="" id="{54B8D7F9-5C8E-3F12-5B76-DBFAA1A0B1E5}"/>
              </a:ext>
            </a:extLst>
          </p:cNvPr>
          <p:cNvSpPr txBox="1">
            <a:spLocks/>
          </p:cNvSpPr>
          <p:nvPr/>
        </p:nvSpPr>
        <p:spPr>
          <a:xfrm>
            <a:off x="6865316" y="4673330"/>
            <a:ext cx="2272047" cy="3117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kun PJ </a:t>
            </a:r>
            <a:r>
              <a:rPr lang="en-US" sz="1000" i="1" dirty="0" err="1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endParaRPr lang="en-US" sz="1000" i="1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xmlns="" id="{A135CE65-D78C-CCE6-7C0F-68CB0B73B8BB}"/>
              </a:ext>
            </a:extLst>
          </p:cNvPr>
          <p:cNvCxnSpPr>
            <a:cxnSpLocks/>
          </p:cNvCxnSpPr>
          <p:nvPr/>
        </p:nvCxnSpPr>
        <p:spPr>
          <a:xfrm>
            <a:off x="1129272" y="2861658"/>
            <a:ext cx="0" cy="18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6B64368D-DE9E-E9B4-85BA-F84C000AA7B7}"/>
              </a:ext>
            </a:extLst>
          </p:cNvPr>
          <p:cNvSpPr/>
          <p:nvPr/>
        </p:nvSpPr>
        <p:spPr>
          <a:xfrm>
            <a:off x="1005935" y="2890683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EEBF35B4-4F1E-5DA0-397A-F153E85E6CC3}"/>
              </a:ext>
            </a:extLst>
          </p:cNvPr>
          <p:cNvSpPr/>
          <p:nvPr/>
        </p:nvSpPr>
        <p:spPr>
          <a:xfrm>
            <a:off x="1005934" y="3405664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xmlns="" id="{1C22E7EC-B0C6-85BB-26F5-4105257A645A}"/>
              </a:ext>
            </a:extLst>
          </p:cNvPr>
          <p:cNvSpPr txBox="1">
            <a:spLocks/>
          </p:cNvSpPr>
          <p:nvPr/>
        </p:nvSpPr>
        <p:spPr>
          <a:xfrm>
            <a:off x="1375949" y="2890683"/>
            <a:ext cx="4811277" cy="2466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Login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ku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PKB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 </a:t>
            </a: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xmlns="" id="{240F6519-8D51-1CBE-4B19-0BC842DD023E}"/>
              </a:ext>
            </a:extLst>
          </p:cNvPr>
          <p:cNvSpPr txBox="1">
            <a:spLocks/>
          </p:cNvSpPr>
          <p:nvPr/>
        </p:nvSpPr>
        <p:spPr>
          <a:xfrm>
            <a:off x="1375947" y="3324737"/>
            <a:ext cx="4666132" cy="5488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lik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tab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anggung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Jawab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dan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ambah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anggung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Jawab</a:t>
            </a:r>
            <a:endParaRPr lang="en-US" sz="1600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xmlns="" id="{CE8FA006-864C-19C1-7E80-F7EB5D5CBD4E}"/>
              </a:ext>
            </a:extLst>
          </p:cNvPr>
          <p:cNvSpPr/>
          <p:nvPr/>
        </p:nvSpPr>
        <p:spPr>
          <a:xfrm>
            <a:off x="1005933" y="4546344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xmlns="" id="{81F043F3-7944-8CA6-256B-EFDFC152C7DB}"/>
              </a:ext>
            </a:extLst>
          </p:cNvPr>
          <p:cNvSpPr txBox="1">
            <a:spLocks/>
          </p:cNvSpPr>
          <p:nvPr/>
        </p:nvSpPr>
        <p:spPr>
          <a:xfrm>
            <a:off x="1375947" y="4526546"/>
            <a:ext cx="4666132" cy="27258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bmit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CBE9882D-40B0-FCCE-57B3-60A9E34CE12A}"/>
              </a:ext>
            </a:extLst>
          </p:cNvPr>
          <p:cNvSpPr txBox="1"/>
          <p:nvPr/>
        </p:nvSpPr>
        <p:spPr>
          <a:xfrm>
            <a:off x="1460260" y="3909584"/>
            <a:ext cx="486749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ta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nanggung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jawab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rdiri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ri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Nama, Alamat,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rovinsi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, </a:t>
            </a:r>
            <a:r>
              <a:rPr lang="en-US" sz="1200" dirty="0" err="1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Nomor</a:t>
            </a:r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Handphone, Email, dan Password.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xmlns="" id="{2DB3B857-ECA9-3597-136A-925E9DC0401A}"/>
              </a:ext>
            </a:extLst>
          </p:cNvPr>
          <p:cNvSpPr txBox="1">
            <a:spLocks/>
          </p:cNvSpPr>
          <p:nvPr/>
        </p:nvSpPr>
        <p:spPr>
          <a:xfrm>
            <a:off x="10017929" y="4157106"/>
            <a:ext cx="1494981" cy="5036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kun </a:t>
            </a:r>
            <a:r>
              <a:rPr lang="en-US" sz="1000" i="1" dirty="0" err="1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PKB</a:t>
            </a: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xmlns="" id="{D27D2E51-4FEC-A1C5-BA43-909C3B78D86F}"/>
              </a:ext>
            </a:extLst>
          </p:cNvPr>
          <p:cNvSpPr txBox="1">
            <a:spLocks/>
          </p:cNvSpPr>
          <p:nvPr/>
        </p:nvSpPr>
        <p:spPr>
          <a:xfrm>
            <a:off x="6865316" y="2288578"/>
            <a:ext cx="2272047" cy="3117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000" i="1" dirty="0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kun PJ </a:t>
            </a:r>
            <a:r>
              <a:rPr lang="en-US" sz="1000" i="1" dirty="0" err="1">
                <a:solidFill>
                  <a:schemeClr val="bg1">
                    <a:lumMod val="6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endParaRPr lang="en-US" sz="1000" i="1" dirty="0">
              <a:solidFill>
                <a:schemeClr val="bg1">
                  <a:lumMod val="6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42656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9" name="Picture 808">
            <a:extLst>
              <a:ext uri="{FF2B5EF4-FFF2-40B4-BE49-F238E27FC236}">
                <a16:creationId xmlns:a16="http://schemas.microsoft.com/office/drawing/2014/main" xmlns="" id="{FF8B56F5-DD43-E219-1CE9-54DA75CF2EB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0057" y="98324"/>
            <a:ext cx="11831886" cy="6661352"/>
          </a:xfrm>
          <a:prstGeom prst="rect">
            <a:avLst/>
          </a:prstGeom>
        </p:spPr>
      </p:pic>
      <p:sp>
        <p:nvSpPr>
          <p:cNvPr id="805" name="Rectangle 804">
            <a:extLst>
              <a:ext uri="{FF2B5EF4-FFF2-40B4-BE49-F238E27FC236}">
                <a16:creationId xmlns:a16="http://schemas.microsoft.com/office/drawing/2014/main" xmlns="" id="{80431E6C-B89C-9D76-2057-DCD84CA5D46E}"/>
              </a:ext>
            </a:extLst>
          </p:cNvPr>
          <p:cNvSpPr/>
          <p:nvPr/>
        </p:nvSpPr>
        <p:spPr>
          <a:xfrm>
            <a:off x="180057" y="98324"/>
            <a:ext cx="11831886" cy="6661352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1" name="Rectangle 810">
            <a:extLst>
              <a:ext uri="{FF2B5EF4-FFF2-40B4-BE49-F238E27FC236}">
                <a16:creationId xmlns:a16="http://schemas.microsoft.com/office/drawing/2014/main" xmlns="" id="{752BB7DD-89A6-09D1-F0CA-A279C1BEC3E3}"/>
              </a:ext>
            </a:extLst>
          </p:cNvPr>
          <p:cNvSpPr/>
          <p:nvPr/>
        </p:nvSpPr>
        <p:spPr>
          <a:xfrm>
            <a:off x="-9561" y="345939"/>
            <a:ext cx="5841338" cy="945859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4" name="Rectangle 803">
            <a:extLst>
              <a:ext uri="{FF2B5EF4-FFF2-40B4-BE49-F238E27FC236}">
                <a16:creationId xmlns:a16="http://schemas.microsoft.com/office/drawing/2014/main" xmlns="" id="{A89521C1-5C52-DE51-94CC-F98A27B0FF74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808" name="Slide Number Placeholder 3">
            <a:extLst>
              <a:ext uri="{FF2B5EF4-FFF2-40B4-BE49-F238E27FC236}">
                <a16:creationId xmlns:a16="http://schemas.microsoft.com/office/drawing/2014/main" xmlns="" id="{40D5E312-7087-D9E6-6F8E-C3275859FA39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25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4216469-67A2-F272-C33B-4C2DC42F0C16}"/>
              </a:ext>
            </a:extLst>
          </p:cNvPr>
          <p:cNvSpPr/>
          <p:nvPr/>
        </p:nvSpPr>
        <p:spPr>
          <a:xfrm>
            <a:off x="334297" y="489993"/>
            <a:ext cx="5761703" cy="6117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32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Pengajuan</a:t>
            </a:r>
            <a:r>
              <a:rPr lang="en-US" sz="32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Kegiatan PKB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0708D38-B79C-DBBD-8B8B-332782619C44}"/>
              </a:ext>
            </a:extLst>
          </p:cNvPr>
          <p:cNvSpPr/>
          <p:nvPr/>
        </p:nvSpPr>
        <p:spPr>
          <a:xfrm>
            <a:off x="1122871" y="1597398"/>
            <a:ext cx="3390198" cy="50021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Login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C8E205-BCF3-D179-1671-6C629A20E741}"/>
              </a:ext>
            </a:extLst>
          </p:cNvPr>
          <p:cNvSpPr/>
          <p:nvPr/>
        </p:nvSpPr>
        <p:spPr>
          <a:xfrm>
            <a:off x="1122414" y="2122534"/>
            <a:ext cx="4537758" cy="50021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Klik</a:t>
            </a:r>
            <a:r>
              <a:rPr lang="en-US" sz="16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tab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Permohon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,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mudian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lik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Tamba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18AABF1D-2454-9E40-C106-2BE66ED3786E}"/>
              </a:ext>
            </a:extLst>
          </p:cNvPr>
          <p:cNvSpPr/>
          <p:nvPr/>
        </p:nvSpPr>
        <p:spPr>
          <a:xfrm>
            <a:off x="1144202" y="3269839"/>
            <a:ext cx="4321645" cy="285641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60363" marR="0" lvl="0" indent="-3603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olaboras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penyelenggara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360363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iis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eng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penyelenggar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lain 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yang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berkolaborasi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dalam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pelaksana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360363" marR="0" lvl="0" indent="-36036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Sasar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Utama Tenaga Ahli</a:t>
            </a:r>
          </a:p>
          <a:p>
            <a:pPr marL="630238" marR="0" lvl="0" indent="-18097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Subklasifikas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</a:p>
          <a:p>
            <a:pPr marL="630238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Subklasifikas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ipilih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berdasark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sasar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jabat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rj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pesert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pada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tersebut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630238" marR="0" lvl="0" indent="-180975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Verifikator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/validator dan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penila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</a:p>
          <a:p>
            <a:pPr marL="630238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pihak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yang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itunjuk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untuk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melakuk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verifikas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dan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validasi</a:t>
            </a: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623888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en-US" sz="1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363538" marR="0" lvl="0" indent="2603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593520ED-5020-B3D5-F648-33443E621627}"/>
              </a:ext>
            </a:extLst>
          </p:cNvPr>
          <p:cNvSpPr/>
          <p:nvPr/>
        </p:nvSpPr>
        <p:spPr>
          <a:xfrm>
            <a:off x="6400581" y="1464551"/>
            <a:ext cx="5383431" cy="2991678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lasifikas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630238" indent="-1809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Uns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 </a:t>
            </a:r>
          </a:p>
          <a:p>
            <a:pPr marL="630238">
              <a:spcAft>
                <a:spcPts val="600"/>
              </a:spcAft>
            </a:pP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U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nsur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apa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ipilih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lebih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ar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1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isesuaik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eng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yang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ak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dilaksanak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misalny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pesert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paniti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narasumber</a:t>
            </a:r>
            <a:endParaRPr lang="en-US" sz="1400" i="1" dirty="0">
              <a:solidFill>
                <a:schemeClr val="bg1"/>
              </a:solidFill>
              <a:latin typeface="Century Gothic" panose="020B0502020202020204" pitchFamily="34" charset="0"/>
              <a:ea typeface="Playfair Display" charset="0"/>
              <a:cs typeface="Segoe UI" panose="020B0502040204020203" pitchFamily="34" charset="0"/>
            </a:endParaRPr>
          </a:p>
          <a:p>
            <a:pPr marL="630238" marR="0" lvl="0" indent="-180975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Metode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terdir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ar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tatap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muk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dan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alam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jaring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630238" marR="0" lvl="0" indent="-180975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Tingkat,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terdiri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dari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nasional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dan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internasional</a:t>
            </a:r>
            <a:endParaRPr lang="en-US" sz="1400" dirty="0">
              <a:solidFill>
                <a:schemeClr val="bg1"/>
              </a:solidFill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342900" marR="0" lvl="0" indent="-342900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Data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360363">
              <a:spcAft>
                <a:spcPts val="600"/>
              </a:spcAft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iisi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deng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nam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,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tempat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, dan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waktu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.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Aft>
                <a:spcPts val="600"/>
              </a:spcAft>
              <a:buClrTx/>
              <a:buSzTx/>
              <a:tabLst/>
              <a:defRPr/>
            </a:pP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2F86A4E7-9AAE-955B-2F76-094B2323522C}"/>
              </a:ext>
            </a:extLst>
          </p:cNvPr>
          <p:cNvSpPr/>
          <p:nvPr/>
        </p:nvSpPr>
        <p:spPr>
          <a:xfrm>
            <a:off x="6429993" y="4185953"/>
            <a:ext cx="2946236" cy="1838705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160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Ungga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Berka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Persyarata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TOR/KAK (</a:t>
            </a:r>
            <a:r>
              <a:rPr lang="en-US" sz="1400" b="1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wajib</a:t>
            </a:r>
            <a: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b="1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ada</a:t>
            </a:r>
            <a:r>
              <a:rPr lang="en-US" sz="1400" b="1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)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SK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paniti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(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jik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ad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)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daftar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riwayat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hidup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narasumber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(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jik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ad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)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C340B8FC-3B6D-E171-20F8-4CD35D0A04EB}"/>
              </a:ext>
            </a:extLst>
          </p:cNvPr>
          <p:cNvCxnSpPr>
            <a:cxnSpLocks/>
          </p:cNvCxnSpPr>
          <p:nvPr/>
        </p:nvCxnSpPr>
        <p:spPr>
          <a:xfrm>
            <a:off x="780195" y="1631673"/>
            <a:ext cx="0" cy="1512000"/>
          </a:xfrm>
          <a:prstGeom prst="line">
            <a:avLst/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349CCA35-07A2-7D1F-BC73-7F19A86927BC}"/>
              </a:ext>
            </a:extLst>
          </p:cNvPr>
          <p:cNvSpPr/>
          <p:nvPr/>
        </p:nvSpPr>
        <p:spPr>
          <a:xfrm>
            <a:off x="647301" y="1631673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A28E8CB9-BA59-693E-F6AE-B04A4355A998}"/>
              </a:ext>
            </a:extLst>
          </p:cNvPr>
          <p:cNvSpPr/>
          <p:nvPr/>
        </p:nvSpPr>
        <p:spPr>
          <a:xfrm>
            <a:off x="647300" y="2146654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3A3CF556-D5B5-46D4-D8E0-78B5DE38223A}"/>
              </a:ext>
            </a:extLst>
          </p:cNvPr>
          <p:cNvSpPr/>
          <p:nvPr/>
        </p:nvSpPr>
        <p:spPr>
          <a:xfrm>
            <a:off x="647299" y="2882601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D11B53D5-0394-FD00-988D-FA083486DF2B}"/>
              </a:ext>
            </a:extLst>
          </p:cNvPr>
          <p:cNvSpPr/>
          <p:nvPr/>
        </p:nvSpPr>
        <p:spPr>
          <a:xfrm>
            <a:off x="1122414" y="2876763"/>
            <a:ext cx="4537758" cy="500216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Mengisi</a:t>
            </a:r>
            <a:r>
              <a:rPr lang="en-US" sz="1600" dirty="0">
                <a:solidFill>
                  <a:schemeClr val="bg1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Form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  <a:cs typeface="Segoe UI" panose="020B0502040204020203" pitchFamily="34" charset="0"/>
              </a:rPr>
              <a:t>Kegiata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xmlns="" id="{09FDFF32-0A90-11F8-F52A-35C4E1D0656B}"/>
              </a:ext>
            </a:extLst>
          </p:cNvPr>
          <p:cNvCxnSpPr>
            <a:cxnSpLocks/>
            <a:stCxn id="17" idx="4"/>
          </p:cNvCxnSpPr>
          <p:nvPr/>
        </p:nvCxnSpPr>
        <p:spPr>
          <a:xfrm rot="5400000" flipH="1" flipV="1">
            <a:off x="2586633" y="-308831"/>
            <a:ext cx="1622113" cy="5254105"/>
          </a:xfrm>
          <a:prstGeom prst="bentConnector4">
            <a:avLst>
              <a:gd name="adj1" fmla="val -181454"/>
              <a:gd name="adj2" fmla="val 95967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E2339C80-1ADF-15B8-B51C-F004975AD1F3}"/>
              </a:ext>
            </a:extLst>
          </p:cNvPr>
          <p:cNvSpPr/>
          <p:nvPr/>
        </p:nvSpPr>
        <p:spPr>
          <a:xfrm>
            <a:off x="6024743" y="4228760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xmlns="" id="{C873EDCD-9C60-E808-3386-CCA4F8B0936E}"/>
              </a:ext>
            </a:extLst>
          </p:cNvPr>
          <p:cNvCxnSpPr>
            <a:cxnSpLocks/>
            <a:endCxn id="26" idx="0"/>
          </p:cNvCxnSpPr>
          <p:nvPr/>
        </p:nvCxnSpPr>
        <p:spPr>
          <a:xfrm rot="16200000" flipH="1">
            <a:off x="4729405" y="2810083"/>
            <a:ext cx="2720094" cy="117260"/>
          </a:xfrm>
          <a:prstGeom prst="bentConnector3">
            <a:avLst>
              <a:gd name="adj1" fmla="val -158"/>
            </a:avLst>
          </a:prstGeom>
          <a:ln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D86BF031-4ADB-7228-4818-A751DBF9E31D}"/>
              </a:ext>
            </a:extLst>
          </p:cNvPr>
          <p:cNvGrpSpPr/>
          <p:nvPr/>
        </p:nvGrpSpPr>
        <p:grpSpPr>
          <a:xfrm>
            <a:off x="9371919" y="4283980"/>
            <a:ext cx="1976172" cy="2169506"/>
            <a:chOff x="8577855" y="4419449"/>
            <a:chExt cx="1976172" cy="2169506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xmlns="" id="{4FFA3D5B-F2BE-2C8F-DC5C-75FA6CB78106}"/>
                </a:ext>
              </a:extLst>
            </p:cNvPr>
            <p:cNvSpPr/>
            <p:nvPr/>
          </p:nvSpPr>
          <p:spPr>
            <a:xfrm>
              <a:off x="8577855" y="4419449"/>
              <a:ext cx="1976172" cy="2169506"/>
            </a:xfrm>
            <a:prstGeom prst="round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C9E21138-4E3D-6E27-662B-A4E90EB09596}"/>
                </a:ext>
              </a:extLst>
            </p:cNvPr>
            <p:cNvSpPr txBox="1"/>
            <p:nvPr/>
          </p:nvSpPr>
          <p:spPr>
            <a:xfrm>
              <a:off x="8729014" y="6018539"/>
              <a:ext cx="174388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FFFF00"/>
                  </a:solidFill>
                  <a:latin typeface="Century Gothic" panose="020B0502020202020204" pitchFamily="34" charset="0"/>
                </a:rPr>
                <a:t>Format KAK </a:t>
              </a:r>
              <a:r>
                <a:rPr lang="en-US" sz="1400" b="1" dirty="0" err="1">
                  <a:solidFill>
                    <a:srgbClr val="FFFF00"/>
                  </a:solidFill>
                  <a:latin typeface="Century Gothic" panose="020B0502020202020204" pitchFamily="34" charset="0"/>
                </a:rPr>
                <a:t>Kegiatan</a:t>
              </a:r>
              <a:r>
                <a:rPr lang="en-US" sz="1400" b="1" dirty="0">
                  <a:solidFill>
                    <a:srgbClr val="FFFF00"/>
                  </a:solidFill>
                  <a:latin typeface="Century Gothic" panose="020B0502020202020204" pitchFamily="34" charset="0"/>
                </a:rPr>
                <a:t> PKB</a:t>
              </a:r>
              <a:endParaRPr lang="en-ID" sz="1400" dirty="0">
                <a:solidFill>
                  <a:srgbClr val="FFFF00"/>
                </a:solidFill>
              </a:endParaRP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1FBD46FB-50E7-969F-6E21-8110D1B4841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6192" y="4456229"/>
            <a:ext cx="1417653" cy="1417653"/>
          </a:xfrm>
          <a:prstGeom prst="rect">
            <a:avLst/>
          </a:prstGeom>
        </p:spPr>
      </p:pic>
      <p:pic>
        <p:nvPicPr>
          <p:cNvPr id="22" name="Google Shape;590;p20" descr="lgo sigap.png">
            <a:extLst>
              <a:ext uri="{FF2B5EF4-FFF2-40B4-BE49-F238E27FC236}">
                <a16:creationId xmlns:a16="http://schemas.microsoft.com/office/drawing/2014/main" xmlns="" id="{28C1ECC0-CE31-D942-AAFB-4576C40BF807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314121" y="0"/>
            <a:ext cx="2877879" cy="110958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A25C30E-C4D3-8C30-DAA8-56B7972EC512}"/>
              </a:ext>
            </a:extLst>
          </p:cNvPr>
          <p:cNvSpPr txBox="1"/>
          <p:nvPr/>
        </p:nvSpPr>
        <p:spPr>
          <a:xfrm>
            <a:off x="471880" y="6092312"/>
            <a:ext cx="109437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atat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: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ngaju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paling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lambat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4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har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erja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ebelum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ilaksanakan</a:t>
            </a:r>
            <a:endParaRPr lang="en-US" sz="1200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Proses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erifikas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dan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alidas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rmohon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paling lama 3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har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erja</a:t>
            </a:r>
            <a:endParaRPr lang="en-US" sz="1200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03680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047999"/>
            <a:ext cx="12192000" cy="380999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4062714"/>
            <a:ext cx="12192000" cy="2795285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xmlns="" id="{A3063A23-5201-2901-EE8D-583558447315}"/>
              </a:ext>
            </a:extLst>
          </p:cNvPr>
          <p:cNvSpPr/>
          <p:nvPr/>
        </p:nvSpPr>
        <p:spPr>
          <a:xfrm>
            <a:off x="0" y="1412111"/>
            <a:ext cx="12192000" cy="471722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E841A69D-B280-ACD7-3847-931403CC561C}"/>
              </a:ext>
            </a:extLst>
          </p:cNvPr>
          <p:cNvSpPr/>
          <p:nvPr/>
        </p:nvSpPr>
        <p:spPr>
          <a:xfrm>
            <a:off x="0" y="778270"/>
            <a:ext cx="12192000" cy="53510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20D22E3F-2761-25DB-301B-B6BBA8E2CFEA}"/>
              </a:ext>
            </a:extLst>
          </p:cNvPr>
          <p:cNvSpPr/>
          <p:nvPr/>
        </p:nvSpPr>
        <p:spPr>
          <a:xfrm>
            <a:off x="0" y="267249"/>
            <a:ext cx="7097712" cy="1022045"/>
          </a:xfrm>
          <a:prstGeom prst="rect">
            <a:avLst/>
          </a:prstGeom>
          <a:solidFill>
            <a:srgbClr val="0851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505564" y="217166"/>
            <a:ext cx="4529974" cy="1122211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Calibri Light" panose="020F0302020204030204" pitchFamily="34" charset="0"/>
              </a:rPr>
              <a:t>Contoh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Calibri Light" panose="020F0302020204030204" pitchFamily="34" charset="0"/>
              </a:rPr>
              <a:t> Data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Calibri Light" panose="020F0302020204030204" pitchFamily="34" charset="0"/>
              </a:rPr>
              <a:t>Permohonan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9FBE8998-C8BC-E95B-4D3D-6A13B33BFCB4}"/>
              </a:ext>
            </a:extLst>
          </p:cNvPr>
          <p:cNvCxnSpPr>
            <a:cxnSpLocks/>
          </p:cNvCxnSpPr>
          <p:nvPr/>
        </p:nvCxnSpPr>
        <p:spPr>
          <a:xfrm>
            <a:off x="4932262" y="778271"/>
            <a:ext cx="2106593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55F82D27-7747-B18B-281C-200BC82455AF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37" name="Slide Number Placeholder 3">
            <a:extLst>
              <a:ext uri="{FF2B5EF4-FFF2-40B4-BE49-F238E27FC236}">
                <a16:creationId xmlns:a16="http://schemas.microsoft.com/office/drawing/2014/main" xmlns="" id="{D4115930-1B1A-A03F-E761-BC996BE00843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26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3">
            <a:extLst>
              <a:ext uri="{FF2B5EF4-FFF2-40B4-BE49-F238E27FC236}">
                <a16:creationId xmlns:a16="http://schemas.microsoft.com/office/drawing/2014/main" xmlns="" id="{E871245D-8C02-A12A-9C6E-D85B5C1664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2691371"/>
              </p:ext>
            </p:extLst>
          </p:nvPr>
        </p:nvGraphicFramePr>
        <p:xfrm>
          <a:off x="101600" y="1376084"/>
          <a:ext cx="11950492" cy="476003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76877">
                  <a:extLst>
                    <a:ext uri="{9D8B030D-6E8A-4147-A177-3AD203B41FA5}">
                      <a16:colId xmlns:a16="http://schemas.microsoft.com/office/drawing/2014/main" xmlns="" val="1324257668"/>
                    </a:ext>
                  </a:extLst>
                </a:gridCol>
                <a:gridCol w="1299978">
                  <a:extLst>
                    <a:ext uri="{9D8B030D-6E8A-4147-A177-3AD203B41FA5}">
                      <a16:colId xmlns:a16="http://schemas.microsoft.com/office/drawing/2014/main" xmlns="" val="3594343911"/>
                    </a:ext>
                  </a:extLst>
                </a:gridCol>
                <a:gridCol w="1260145">
                  <a:extLst>
                    <a:ext uri="{9D8B030D-6E8A-4147-A177-3AD203B41FA5}">
                      <a16:colId xmlns:a16="http://schemas.microsoft.com/office/drawing/2014/main" xmlns="" val="4137104677"/>
                    </a:ext>
                  </a:extLst>
                </a:gridCol>
                <a:gridCol w="1274236">
                  <a:extLst>
                    <a:ext uri="{9D8B030D-6E8A-4147-A177-3AD203B41FA5}">
                      <a16:colId xmlns:a16="http://schemas.microsoft.com/office/drawing/2014/main" xmlns="" val="4112346367"/>
                    </a:ext>
                  </a:extLst>
                </a:gridCol>
                <a:gridCol w="918635">
                  <a:extLst>
                    <a:ext uri="{9D8B030D-6E8A-4147-A177-3AD203B41FA5}">
                      <a16:colId xmlns:a16="http://schemas.microsoft.com/office/drawing/2014/main" xmlns="" val="2074334926"/>
                    </a:ext>
                  </a:extLst>
                </a:gridCol>
                <a:gridCol w="903819">
                  <a:extLst>
                    <a:ext uri="{9D8B030D-6E8A-4147-A177-3AD203B41FA5}">
                      <a16:colId xmlns:a16="http://schemas.microsoft.com/office/drawing/2014/main" xmlns="" val="1232297432"/>
                    </a:ext>
                  </a:extLst>
                </a:gridCol>
                <a:gridCol w="785285">
                  <a:extLst>
                    <a:ext uri="{9D8B030D-6E8A-4147-A177-3AD203B41FA5}">
                      <a16:colId xmlns:a16="http://schemas.microsoft.com/office/drawing/2014/main" xmlns="" val="900495410"/>
                    </a:ext>
                  </a:extLst>
                </a:gridCol>
                <a:gridCol w="948268">
                  <a:extLst>
                    <a:ext uri="{9D8B030D-6E8A-4147-A177-3AD203B41FA5}">
                      <a16:colId xmlns:a16="http://schemas.microsoft.com/office/drawing/2014/main" xmlns="" val="337674763"/>
                    </a:ext>
                  </a:extLst>
                </a:gridCol>
                <a:gridCol w="651935">
                  <a:extLst>
                    <a:ext uri="{9D8B030D-6E8A-4147-A177-3AD203B41FA5}">
                      <a16:colId xmlns:a16="http://schemas.microsoft.com/office/drawing/2014/main" xmlns="" val="3639972729"/>
                    </a:ext>
                  </a:extLst>
                </a:gridCol>
                <a:gridCol w="1778004">
                  <a:extLst>
                    <a:ext uri="{9D8B030D-6E8A-4147-A177-3AD203B41FA5}">
                      <a16:colId xmlns:a16="http://schemas.microsoft.com/office/drawing/2014/main" xmlns="" val="2162113984"/>
                    </a:ext>
                  </a:extLst>
                </a:gridCol>
                <a:gridCol w="903819">
                  <a:extLst>
                    <a:ext uri="{9D8B030D-6E8A-4147-A177-3AD203B41FA5}">
                      <a16:colId xmlns:a16="http://schemas.microsoft.com/office/drawing/2014/main" xmlns="" val="4121579046"/>
                    </a:ext>
                  </a:extLst>
                </a:gridCol>
                <a:gridCol w="849491">
                  <a:extLst>
                    <a:ext uri="{9D8B030D-6E8A-4147-A177-3AD203B41FA5}">
                      <a16:colId xmlns:a16="http://schemas.microsoft.com/office/drawing/2014/main" xmlns="" val="371056886"/>
                    </a:ext>
                  </a:extLst>
                </a:gridCol>
              </a:tblGrid>
              <a:tr h="458146"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No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Penyelenggara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Kolaborasi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Penyelenggara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Data 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Kegiatan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D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ID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ID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Sasaran</a:t>
                      </a:r>
                      <a:r>
                        <a:rPr lang="en-ID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Utama </a:t>
                      </a:r>
                      <a:r>
                        <a:rPr lang="en-ID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Peserta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D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Klasifikasi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Kegiatan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ID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ID" sz="1100" dirty="0"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46279643"/>
                  </a:ext>
                </a:extLst>
              </a:tr>
              <a:tr h="458146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en-ID" sz="11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Penyelenggara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lain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Nama 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Kegiatan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Tempat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Tanggal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Mulai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Tanggal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Selesai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Subklasifikasi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Penilai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Unsur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Metode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Tingkat</a:t>
                      </a:r>
                      <a:endParaRPr lang="en-ID" sz="11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61243407"/>
                  </a:ext>
                </a:extLst>
              </a:tr>
              <a:tr h="1022632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entury Gothic" panose="020B0502020202020204" pitchFamily="34" charset="0"/>
                        </a:rPr>
                        <a:t>1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dirty="0">
                          <a:latin typeface="Century Gothic" panose="020B0502020202020204" pitchFamily="34" charset="0"/>
                        </a:rPr>
                        <a:t>Dinas Bina Marga dan Penataan Ruang Provinsi Jawa Barat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latin typeface="Century Gothic" panose="020B0502020202020204" pitchFamily="34" charset="0"/>
                        </a:rPr>
                        <a:t>ASTTI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Tenaga Ahli –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ontrak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erja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onstruksi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Zoom Meeting</a:t>
                      </a:r>
                      <a:endParaRPr lang="en-ID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0/3/2023</a:t>
                      </a:r>
                      <a:endParaRPr lang="en-ID" sz="1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31/3/2023</a:t>
                      </a:r>
                      <a:endParaRPr lang="en-ID" sz="1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endParaRPr lang="en-ID" sz="1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Hukum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ontrak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onstruksi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LPJK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Pendidikan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singkat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(courses) 16 - 24 JPL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Pengajaran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sbg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Pengajar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/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Instruktur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arin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Nasional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04720757"/>
                  </a:ext>
                </a:extLst>
              </a:tr>
              <a:tr h="1358075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entury Gothic" panose="020B0502020202020204" pitchFamily="34" charset="0"/>
                        </a:rPr>
                        <a:t>2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entury Gothic" panose="020B0502020202020204" pitchFamily="34" charset="0"/>
                        </a:rPr>
                        <a:t>Program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Studi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Sarjana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Teknik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Sipil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, Universitas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Tarumanagara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Ikat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Nasional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onsult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Indonesia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Century Gothic" panose="020B0502020202020204" pitchFamily="34" charset="0"/>
                        </a:rPr>
                        <a:t>Seminar Nasional </a:t>
                      </a:r>
                      <a:r>
                        <a:rPr lang="en-GB" sz="1000" dirty="0" err="1">
                          <a:latin typeface="Century Gothic" panose="020B0502020202020204" pitchFamily="34" charset="0"/>
                        </a:rPr>
                        <a:t>Jembatan</a:t>
                      </a:r>
                      <a:r>
                        <a:rPr lang="en-GB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000" dirty="0" err="1">
                          <a:latin typeface="Century Gothic" panose="020B0502020202020204" pitchFamily="34" charset="0"/>
                        </a:rPr>
                        <a:t>Berbentang</a:t>
                      </a:r>
                      <a:r>
                        <a:rPr lang="en-GB" sz="1000" dirty="0">
                          <a:latin typeface="Century Gothic" panose="020B0502020202020204" pitchFamily="34" charset="0"/>
                        </a:rPr>
                        <a:t> Panjang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Zoom Meeting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ampus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1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Untar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Gedung M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Lantai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3/5/2023</a:t>
                      </a:r>
                      <a:endParaRPr lang="en-ID" sz="1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3/5/2023</a:t>
                      </a:r>
                      <a:endParaRPr lang="en-ID" sz="1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Jembatan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LPJK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eserta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ertemu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rofesi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Partisipasi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dalam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kepanitian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 –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ketua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, wakil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ketua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sekretaris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Pakar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/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narasumber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/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pendampingan</a:t>
                      </a:r>
                      <a:r>
                        <a:rPr lang="en-ID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00" dirty="0" err="1">
                          <a:latin typeface="Century Gothic" panose="020B0502020202020204" pitchFamily="34" charset="0"/>
                        </a:rPr>
                        <a:t>hukum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Daring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Tatap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Muka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Nasional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858125"/>
                  </a:ext>
                </a:extLst>
              </a:tr>
              <a:tr h="1129002">
                <a:tc>
                  <a:txBody>
                    <a:bodyPr/>
                    <a:lstStyle/>
                    <a:p>
                      <a:r>
                        <a:rPr lang="en-US" sz="1000" dirty="0">
                          <a:latin typeface="Century Gothic" panose="020B0502020202020204" pitchFamily="34" charset="0"/>
                        </a:rPr>
                        <a:t>3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D" sz="1000" dirty="0">
                          <a:latin typeface="Century Gothic" panose="020B0502020202020204" pitchFamily="34" charset="0"/>
                        </a:rPr>
                        <a:t>IALI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D" sz="1000" dirty="0">
                          <a:latin typeface="Century Gothic" panose="020B0502020202020204" pitchFamily="34" charset="0"/>
                        </a:rPr>
                        <a:t>-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Ziarah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Arsitektur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ecin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Jakarta "Past, present and future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ecin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Jakar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7/4/2023</a:t>
                      </a:r>
                      <a:endParaRPr lang="en-ID" sz="1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</a:rPr>
                        <a:t>27/4/2023</a:t>
                      </a:r>
                      <a:endParaRPr lang="en-ID" sz="1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000" kern="12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rsitektural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en-US" sz="1000" kern="12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rsitektur</a:t>
                      </a: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kern="1200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Lanskap</a:t>
                      </a:r>
                      <a:endParaRPr lang="en-US" sz="1000" dirty="0">
                        <a:latin typeface="Century Gothic" panose="020B0502020202020204" pitchFamily="34" charset="0"/>
                      </a:endParaRP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LPJK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Ziarah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Arsitektur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,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artisipasi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epanitia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(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etua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, wakil dan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sekretaris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),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artisipasi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dalam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Kepanitia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(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Anggota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),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akar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/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Narasumber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/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Pendampingan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hukum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Tatap</a:t>
                      </a: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000" dirty="0" err="1">
                          <a:latin typeface="Century Gothic" panose="020B0502020202020204" pitchFamily="34" charset="0"/>
                        </a:rPr>
                        <a:t>Muka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00" dirty="0">
                          <a:latin typeface="Century Gothic" panose="020B0502020202020204" pitchFamily="34" charset="0"/>
                        </a:rPr>
                        <a:t>Nasional</a:t>
                      </a:r>
                      <a:endParaRPr lang="en-ID" sz="10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075269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90514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590;p20" descr="lgo sigap.png">
            <a:extLst>
              <a:ext uri="{FF2B5EF4-FFF2-40B4-BE49-F238E27FC236}">
                <a16:creationId xmlns:a16="http://schemas.microsoft.com/office/drawing/2014/main" xmlns="" id="{BE6139C3-A89E-BB9E-DEC2-CEC4B4BC0D32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314121" y="0"/>
            <a:ext cx="2877879" cy="11095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DCA36D2-EEF5-21EE-3283-F0CBB589C6A7}"/>
              </a:ext>
            </a:extLst>
          </p:cNvPr>
          <p:cNvSpPr/>
          <p:nvPr/>
        </p:nvSpPr>
        <p:spPr>
          <a:xfrm>
            <a:off x="407988" y="1109585"/>
            <a:ext cx="11376024" cy="51231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291311" y="190509"/>
            <a:ext cx="9139487" cy="77585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32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QR Code </a:t>
            </a:r>
            <a:r>
              <a:rPr lang="en-US" sz="32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Absen</a:t>
            </a:r>
            <a:r>
              <a:rPr lang="en-US" sz="32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Peserta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27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5F55B275-03E3-E5DB-A7B1-CA3BB828850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8750" t="23135" r="5591" b="16163"/>
          <a:stretch/>
        </p:blipFill>
        <p:spPr>
          <a:xfrm>
            <a:off x="3483131" y="1220528"/>
            <a:ext cx="8202191" cy="3699815"/>
          </a:xfrm>
          <a:prstGeom prst="rect">
            <a:avLst/>
          </a:prstGeom>
        </p:spPr>
      </p:pic>
      <p:sp>
        <p:nvSpPr>
          <p:cNvPr id="27" name="Subtitle 2">
            <a:extLst>
              <a:ext uri="{FF2B5EF4-FFF2-40B4-BE49-F238E27FC236}">
                <a16:creationId xmlns:a16="http://schemas.microsoft.com/office/drawing/2014/main" xmlns="" id="{296A7539-0C65-4C73-95F2-E3D39B20F9E3}"/>
              </a:ext>
            </a:extLst>
          </p:cNvPr>
          <p:cNvSpPr txBox="1">
            <a:spLocks/>
          </p:cNvSpPr>
          <p:nvPr/>
        </p:nvSpPr>
        <p:spPr>
          <a:xfrm>
            <a:off x="569801" y="1556858"/>
            <a:ext cx="2838602" cy="49119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Setelah Kegiatan disetujui oleh LPJK, 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Akan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diperoleh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QR Code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Absen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Peserta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serta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Link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Absensi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QR Code atau Link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bse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disampaikan pada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tenaga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hli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yang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terlibat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untuk 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diisi pada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saat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hari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H pelaksanaan kegiata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QR Code juga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igunak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untuk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memudahkan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dalam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melaporkan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tenaga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ahli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yang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terlibat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dalam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kegiatan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36195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</a:pPr>
            <a:endParaRPr lang="en-US" sz="14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DCD1B7C3-79B4-97DD-D3D2-BC8C5249C466}"/>
              </a:ext>
            </a:extLst>
          </p:cNvPr>
          <p:cNvSpPr/>
          <p:nvPr/>
        </p:nvSpPr>
        <p:spPr>
          <a:xfrm>
            <a:off x="6762865" y="1220527"/>
            <a:ext cx="1514359" cy="459585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F864DA88-697E-3DB2-4A24-D7578D7C0138}"/>
              </a:ext>
            </a:extLst>
          </p:cNvPr>
          <p:cNvSpPr/>
          <p:nvPr/>
        </p:nvSpPr>
        <p:spPr>
          <a:xfrm>
            <a:off x="3941919" y="2677975"/>
            <a:ext cx="2117028" cy="2151199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C916D3E4-5C63-1607-4262-04C69606D161}"/>
              </a:ext>
            </a:extLst>
          </p:cNvPr>
          <p:cNvSpPr/>
          <p:nvPr/>
        </p:nvSpPr>
        <p:spPr>
          <a:xfrm>
            <a:off x="6106572" y="2677975"/>
            <a:ext cx="3589878" cy="30335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xmlns="" id="{E51ED6A1-199B-3177-BCBF-3CA63E8BA60F}"/>
              </a:ext>
            </a:extLst>
          </p:cNvPr>
          <p:cNvSpPr/>
          <p:nvPr/>
        </p:nvSpPr>
        <p:spPr>
          <a:xfrm>
            <a:off x="8086676" y="873528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1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8E249D34-1818-0652-6107-B0FE6ACB4497}"/>
              </a:ext>
            </a:extLst>
          </p:cNvPr>
          <p:cNvSpPr/>
          <p:nvPr/>
        </p:nvSpPr>
        <p:spPr>
          <a:xfrm>
            <a:off x="3483131" y="2677974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1F3FF241-CEC6-493F-9FD7-847381DCC7D4}"/>
              </a:ext>
            </a:extLst>
          </p:cNvPr>
          <p:cNvSpPr txBox="1"/>
          <p:nvPr/>
        </p:nvSpPr>
        <p:spPr>
          <a:xfrm>
            <a:off x="6361275" y="2339421"/>
            <a:ext cx="40979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entury Gothic" panose="020B0502020202020204" pitchFamily="34" charset="0"/>
              </a:rPr>
              <a:t>Klik QR Code atau Link </a:t>
            </a:r>
            <a:r>
              <a:rPr lang="en-US" sz="1600" b="1" dirty="0" err="1">
                <a:latin typeface="Century Gothic" panose="020B0502020202020204" pitchFamily="34" charset="0"/>
              </a:rPr>
              <a:t>Absensi</a:t>
            </a:r>
            <a:endParaRPr lang="en-ID" sz="1600" b="1" dirty="0">
              <a:latin typeface="Century Gothic" panose="020B0502020202020204" pitchFamily="34" charset="0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9233751A-ED45-A8FB-93F8-028B8371D0F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263" t="26104" r="12619" b="31631"/>
          <a:stretch/>
        </p:blipFill>
        <p:spPr>
          <a:xfrm>
            <a:off x="6361275" y="4223418"/>
            <a:ext cx="5710947" cy="18065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xmlns="" id="{9BDE7711-52EE-F533-E8F3-683C05434C1F}"/>
              </a:ext>
            </a:extLst>
          </p:cNvPr>
          <p:cNvSpPr/>
          <p:nvPr/>
        </p:nvSpPr>
        <p:spPr>
          <a:xfrm>
            <a:off x="6179393" y="4012832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3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AE3A2AD1-3351-56BA-6117-A52B4A0A5CC9}"/>
              </a:ext>
            </a:extLst>
          </p:cNvPr>
          <p:cNvSpPr txBox="1"/>
          <p:nvPr/>
        </p:nvSpPr>
        <p:spPr>
          <a:xfrm>
            <a:off x="6784672" y="3851319"/>
            <a:ext cx="43252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Century Gothic" panose="020B0502020202020204" pitchFamily="34" charset="0"/>
              </a:rPr>
              <a:t>Tenaga </a:t>
            </a:r>
            <a:r>
              <a:rPr lang="en-US" sz="1600" b="1" dirty="0" err="1">
                <a:latin typeface="Century Gothic" panose="020B0502020202020204" pitchFamily="34" charset="0"/>
              </a:rPr>
              <a:t>ahli</a:t>
            </a:r>
            <a:r>
              <a:rPr lang="en-US" sz="1600" b="1" dirty="0">
                <a:latin typeface="Century Gothic" panose="020B0502020202020204" pitchFamily="34" charset="0"/>
              </a:rPr>
              <a:t> yang </a:t>
            </a:r>
            <a:r>
              <a:rPr lang="en-US" sz="1600" b="1" dirty="0" err="1">
                <a:latin typeface="Century Gothic" panose="020B0502020202020204" pitchFamily="34" charset="0"/>
              </a:rPr>
              <a:t>terlibat</a:t>
            </a:r>
            <a:r>
              <a:rPr lang="en-US" sz="1600" b="1" dirty="0">
                <a:latin typeface="Century Gothic" panose="020B0502020202020204" pitchFamily="34" charset="0"/>
              </a:rPr>
              <a:t> mengisi </a:t>
            </a:r>
            <a:r>
              <a:rPr lang="en-US" sz="1600" b="1" dirty="0" err="1">
                <a:latin typeface="Century Gothic" panose="020B0502020202020204" pitchFamily="34" charset="0"/>
              </a:rPr>
              <a:t>absen</a:t>
            </a:r>
            <a:endParaRPr lang="en-ID" sz="1600" b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1854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Picture 74">
            <a:extLst>
              <a:ext uri="{FF2B5EF4-FFF2-40B4-BE49-F238E27FC236}">
                <a16:creationId xmlns:a16="http://schemas.microsoft.com/office/drawing/2014/main" xmlns="" id="{42056746-AE4D-CF39-A9BE-C36430E5153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2923" b="1260"/>
          <a:stretch/>
        </p:blipFill>
        <p:spPr>
          <a:xfrm>
            <a:off x="-5" y="969545"/>
            <a:ext cx="6096005" cy="5811885"/>
          </a:xfrm>
          <a:custGeom>
            <a:avLst/>
            <a:gdLst>
              <a:gd name="connsiteX0" fmla="*/ 0 w 12184608"/>
              <a:gd name="connsiteY0" fmla="*/ 0 h 2788198"/>
              <a:gd name="connsiteX1" fmla="*/ 12184608 w 12184608"/>
              <a:gd name="connsiteY1" fmla="*/ 0 h 2788198"/>
              <a:gd name="connsiteX2" fmla="*/ 12184608 w 12184608"/>
              <a:gd name="connsiteY2" fmla="*/ 2788198 h 2788198"/>
              <a:gd name="connsiteX3" fmla="*/ 0 w 12184608"/>
              <a:gd name="connsiteY3" fmla="*/ 2788198 h 2788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4608" h="2788198">
                <a:moveTo>
                  <a:pt x="0" y="0"/>
                </a:moveTo>
                <a:lnTo>
                  <a:pt x="12184608" y="0"/>
                </a:lnTo>
                <a:lnTo>
                  <a:pt x="12184608" y="2788198"/>
                </a:lnTo>
                <a:lnTo>
                  <a:pt x="0" y="2788198"/>
                </a:lnTo>
                <a:close/>
              </a:path>
            </a:pathLst>
          </a:custGeom>
        </p:spPr>
      </p:pic>
      <p:sp>
        <p:nvSpPr>
          <p:cNvPr id="76" name="Rectangle 75">
            <a:extLst>
              <a:ext uri="{FF2B5EF4-FFF2-40B4-BE49-F238E27FC236}">
                <a16:creationId xmlns:a16="http://schemas.microsoft.com/office/drawing/2014/main" xmlns="" id="{BA9FAD8A-EFB7-695B-D736-00223C5F06BC}"/>
              </a:ext>
            </a:extLst>
          </p:cNvPr>
          <p:cNvSpPr/>
          <p:nvPr/>
        </p:nvSpPr>
        <p:spPr>
          <a:xfrm>
            <a:off x="0" y="969548"/>
            <a:ext cx="6096000" cy="5888452"/>
          </a:xfrm>
          <a:prstGeom prst="rect">
            <a:avLst/>
          </a:prstGeom>
          <a:solidFill>
            <a:srgbClr val="08517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0185C29D-5C7A-1A75-D789-107971862A1F}"/>
              </a:ext>
            </a:extLst>
          </p:cNvPr>
          <p:cNvSpPr/>
          <p:nvPr/>
        </p:nvSpPr>
        <p:spPr>
          <a:xfrm>
            <a:off x="615943" y="959728"/>
            <a:ext cx="4885464" cy="1079130"/>
          </a:xfrm>
          <a:prstGeom prst="rect">
            <a:avLst/>
          </a:prstGeom>
          <a:solidFill>
            <a:srgbClr val="FFC000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14F93391-CE5A-C6D4-4133-565841F7B967}"/>
              </a:ext>
            </a:extLst>
          </p:cNvPr>
          <p:cNvSpPr txBox="1">
            <a:spLocks/>
          </p:cNvSpPr>
          <p:nvPr/>
        </p:nvSpPr>
        <p:spPr>
          <a:xfrm>
            <a:off x="615943" y="967841"/>
            <a:ext cx="4885464" cy="10791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Lapor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PKB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iunggah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oleh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paling lama 14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hari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setelah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PKB </a:t>
            </a:r>
            <a:r>
              <a:rPr lang="en-US" sz="16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berakhir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liputi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118" name="Subtitle 2">
            <a:extLst>
              <a:ext uri="{FF2B5EF4-FFF2-40B4-BE49-F238E27FC236}">
                <a16:creationId xmlns:a16="http://schemas.microsoft.com/office/drawing/2014/main" xmlns="" id="{8FC1763A-5C65-F5FB-DB9C-6EC420C7E85E}"/>
              </a:ext>
            </a:extLst>
          </p:cNvPr>
          <p:cNvSpPr txBox="1">
            <a:spLocks/>
          </p:cNvSpPr>
          <p:nvPr/>
        </p:nvSpPr>
        <p:spPr>
          <a:xfrm>
            <a:off x="1660317" y="2251108"/>
            <a:ext cx="3800684" cy="18203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naga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hli</a:t>
            </a: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yang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rlibat</a:t>
            </a: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lam</a:t>
            </a: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6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marL="36195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apat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erupak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sert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aniti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arasumber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ll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esuai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ng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nsur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)</a:t>
            </a:r>
          </a:p>
          <a:p>
            <a:pPr marL="636588" indent="-1793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omor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uk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pendudukan</a:t>
            </a:r>
            <a:endParaRPr lang="en-US" sz="14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636588" indent="-1793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etode</a:t>
            </a:r>
            <a:endParaRPr lang="en-US" sz="14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636588" indent="-1793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nsur</a:t>
            </a:r>
            <a:endParaRPr lang="en-US" sz="1400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Subtitle 2">
            <a:extLst>
              <a:ext uri="{FF2B5EF4-FFF2-40B4-BE49-F238E27FC236}">
                <a16:creationId xmlns:a16="http://schemas.microsoft.com/office/drawing/2014/main" xmlns="" id="{53D00D2A-1491-30ED-0EF1-5C86BC5E6496}"/>
              </a:ext>
            </a:extLst>
          </p:cNvPr>
          <p:cNvSpPr txBox="1">
            <a:spLocks/>
          </p:cNvSpPr>
          <p:nvPr/>
        </p:nvSpPr>
        <p:spPr>
          <a:xfrm>
            <a:off x="598312" y="4374690"/>
            <a:ext cx="3800683" cy="1080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0"/>
              </a:spcBef>
              <a:buFont typeface="+mj-lt"/>
              <a:buAutoNum type="arabicPeriod" startAt="2"/>
            </a:pP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rkas</a:t>
            </a: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poran</a:t>
            </a:r>
            <a:r>
              <a:rPr lang="en-US" sz="1600" b="1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endParaRPr lang="en-US" sz="1600" b="1" dirty="0">
              <a:solidFill>
                <a:schemeClr val="bg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636588" indent="-1793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apor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 marL="636588" indent="-179388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okumentasi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xmlns="" id="{9BB84119-9DAE-650D-73E3-3BF7625DBCC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9097" y="2089081"/>
            <a:ext cx="932400" cy="906941"/>
          </a:xfrm>
          <a:custGeom>
            <a:avLst/>
            <a:gdLst>
              <a:gd name="connsiteX0" fmla="*/ 1890505 w 3781010"/>
              <a:gd name="connsiteY0" fmla="*/ 0 h 3781010"/>
              <a:gd name="connsiteX1" fmla="*/ 3781010 w 3781010"/>
              <a:gd name="connsiteY1" fmla="*/ 1890505 h 3781010"/>
              <a:gd name="connsiteX2" fmla="*/ 1890505 w 3781010"/>
              <a:gd name="connsiteY2" fmla="*/ 3781010 h 3781010"/>
              <a:gd name="connsiteX3" fmla="*/ 0 w 3781010"/>
              <a:gd name="connsiteY3" fmla="*/ 1890505 h 3781010"/>
              <a:gd name="connsiteX4" fmla="*/ 1890505 w 3781010"/>
              <a:gd name="connsiteY4" fmla="*/ 0 h 3781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81010" h="3781010">
                <a:moveTo>
                  <a:pt x="1890505" y="0"/>
                </a:moveTo>
                <a:cubicBezTo>
                  <a:pt x="2934602" y="0"/>
                  <a:pt x="3781010" y="846408"/>
                  <a:pt x="3781010" y="1890505"/>
                </a:cubicBezTo>
                <a:cubicBezTo>
                  <a:pt x="3781010" y="2934602"/>
                  <a:pt x="2934602" y="3781010"/>
                  <a:pt x="1890505" y="3781010"/>
                </a:cubicBezTo>
                <a:cubicBezTo>
                  <a:pt x="846408" y="3781010"/>
                  <a:pt x="0" y="2934602"/>
                  <a:pt x="0" y="1890505"/>
                </a:cubicBezTo>
                <a:cubicBezTo>
                  <a:pt x="0" y="846408"/>
                  <a:pt x="846408" y="0"/>
                  <a:pt x="1890505" y="0"/>
                </a:cubicBezTo>
                <a:close/>
              </a:path>
            </a:pathLst>
          </a:custGeom>
          <a:ln w="19050"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</p:pic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xmlns="" id="{90B706A6-8967-FA9A-B405-62C0DADF4FFD}"/>
              </a:ext>
            </a:extLst>
          </p:cNvPr>
          <p:cNvCxnSpPr>
            <a:cxnSpLocks/>
          </p:cNvCxnSpPr>
          <p:nvPr/>
        </p:nvCxnSpPr>
        <p:spPr>
          <a:xfrm>
            <a:off x="639097" y="4386895"/>
            <a:ext cx="2880000" cy="0"/>
          </a:xfrm>
          <a:prstGeom prst="line">
            <a:avLst/>
          </a:prstGeom>
          <a:ln>
            <a:solidFill>
              <a:schemeClr val="bg1">
                <a:alpha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1D3CB3A8-751A-48E9-83AC-1E550AC34C26}"/>
              </a:ext>
            </a:extLst>
          </p:cNvPr>
          <p:cNvSpPr/>
          <p:nvPr/>
        </p:nvSpPr>
        <p:spPr>
          <a:xfrm>
            <a:off x="319543" y="76569"/>
            <a:ext cx="5645427" cy="79372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36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Pelaporan</a:t>
            </a:r>
            <a:r>
              <a:rPr lang="en-US" sz="36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3600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r>
              <a:rPr lang="en-US" sz="3600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PKB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FF552C7-740B-EEE1-0C9F-120E7E6CA0B5}"/>
              </a:ext>
            </a:extLst>
          </p:cNvPr>
          <p:cNvSpPr/>
          <p:nvPr/>
        </p:nvSpPr>
        <p:spPr>
          <a:xfrm>
            <a:off x="6188676" y="861350"/>
            <a:ext cx="5387408" cy="81840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Cara </a:t>
            </a:r>
            <a:r>
              <a:rPr lang="en-US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porkan</a:t>
            </a:r>
            <a:r>
              <a:rPr lang="en-US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Tenaga Ahli (TA) yang </a:t>
            </a:r>
            <a:r>
              <a:rPr lang="en-US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erlibat</a:t>
            </a:r>
            <a:r>
              <a:rPr lang="en-US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dalam</a:t>
            </a:r>
            <a:r>
              <a:rPr lang="en-US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endParaRPr lang="en-US" dirty="0">
              <a:solidFill>
                <a:schemeClr val="tx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9899AC6F-1884-04A2-9A0E-EEC2BBF4C733}"/>
              </a:ext>
            </a:extLst>
          </p:cNvPr>
          <p:cNvCxnSpPr/>
          <p:nvPr/>
        </p:nvCxnSpPr>
        <p:spPr>
          <a:xfrm>
            <a:off x="6304331" y="1679756"/>
            <a:ext cx="4817165" cy="0"/>
          </a:xfrm>
          <a:prstGeom prst="line">
            <a:avLst/>
          </a:prstGeom>
          <a:ln w="3175">
            <a:solidFill>
              <a:srgbClr val="08517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5022CD91-D14D-F1E6-C8A5-51F469FBB874}"/>
              </a:ext>
            </a:extLst>
          </p:cNvPr>
          <p:cNvCxnSpPr>
            <a:cxnSpLocks/>
            <a:stCxn id="9" idx="0"/>
            <a:endCxn id="26" idx="0"/>
          </p:cNvCxnSpPr>
          <p:nvPr/>
        </p:nvCxnSpPr>
        <p:spPr>
          <a:xfrm flipH="1">
            <a:off x="6628686" y="1894288"/>
            <a:ext cx="2" cy="105014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xmlns="" id="{41A1BD52-88F4-6AC6-36F0-ADC9147B5B92}"/>
              </a:ext>
            </a:extLst>
          </p:cNvPr>
          <p:cNvSpPr/>
          <p:nvPr/>
        </p:nvSpPr>
        <p:spPr>
          <a:xfrm>
            <a:off x="6505349" y="1894288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2496F578-EFA2-AADE-4D7A-0069F8FC5668}"/>
              </a:ext>
            </a:extLst>
          </p:cNvPr>
          <p:cNvSpPr/>
          <p:nvPr/>
        </p:nvSpPr>
        <p:spPr>
          <a:xfrm>
            <a:off x="6505348" y="2278305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5EE920E5-4E67-D6DF-1ACA-74AB4AB85D5E}"/>
              </a:ext>
            </a:extLst>
          </p:cNvPr>
          <p:cNvSpPr/>
          <p:nvPr/>
        </p:nvSpPr>
        <p:spPr>
          <a:xfrm>
            <a:off x="6505347" y="2944430"/>
            <a:ext cx="246677" cy="246677"/>
          </a:xfrm>
          <a:prstGeom prst="ellipse">
            <a:avLst/>
          </a:prstGeom>
          <a:solidFill>
            <a:srgbClr val="002060"/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b="1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Subtitle 2">
            <a:extLst>
              <a:ext uri="{FF2B5EF4-FFF2-40B4-BE49-F238E27FC236}">
                <a16:creationId xmlns:a16="http://schemas.microsoft.com/office/drawing/2014/main" xmlns="" id="{3D6119A7-9D15-FF6E-A472-045AB06E936E}"/>
              </a:ext>
            </a:extLst>
          </p:cNvPr>
          <p:cNvSpPr txBox="1">
            <a:spLocks/>
          </p:cNvSpPr>
          <p:nvPr/>
        </p:nvSpPr>
        <p:spPr>
          <a:xfrm>
            <a:off x="6875363" y="1894288"/>
            <a:ext cx="4811277" cy="24667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Login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ku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nyelenggara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PKB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  </a:t>
            </a:r>
            <a:endParaRPr lang="en-US" sz="16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xmlns="" id="{E50C37DA-F412-6A9A-39D0-AAD25D67D4FA}"/>
              </a:ext>
            </a:extLst>
          </p:cNvPr>
          <p:cNvSpPr txBox="1">
            <a:spLocks/>
          </p:cNvSpPr>
          <p:nvPr/>
        </p:nvSpPr>
        <p:spPr>
          <a:xfrm>
            <a:off x="6875362" y="2278305"/>
            <a:ext cx="4666132" cy="5488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lik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tab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setujui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dan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lik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tail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pada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yang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ak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ilapork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endParaRPr lang="en-US" sz="1600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Subtitle 2">
            <a:extLst>
              <a:ext uri="{FF2B5EF4-FFF2-40B4-BE49-F238E27FC236}">
                <a16:creationId xmlns:a16="http://schemas.microsoft.com/office/drawing/2014/main" xmlns="" id="{ADC8413F-B647-5AB9-7ACF-BB67026231DD}"/>
              </a:ext>
            </a:extLst>
          </p:cNvPr>
          <p:cNvSpPr txBox="1">
            <a:spLocks/>
          </p:cNvSpPr>
          <p:nvPr/>
        </p:nvSpPr>
        <p:spPr>
          <a:xfrm>
            <a:off x="6875361" y="2793335"/>
            <a:ext cx="4666132" cy="5488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lik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eserta</a:t>
            </a:r>
            <a:r>
              <a:rPr lang="en-US" sz="1600" b="1" dirty="0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>
                <a:solidFill>
                  <a:srgbClr val="08517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Kegiatan</a:t>
            </a:r>
            <a:endParaRPr lang="en-US" sz="1600" dirty="0">
              <a:solidFill>
                <a:srgbClr val="085171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52664997-A792-4CB3-76BD-BAFF30802180}"/>
              </a:ext>
            </a:extLst>
          </p:cNvPr>
          <p:cNvSpPr txBox="1"/>
          <p:nvPr/>
        </p:nvSpPr>
        <p:spPr>
          <a:xfrm>
            <a:off x="6960779" y="3236063"/>
            <a:ext cx="5031352" cy="36625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rdapat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3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alternatif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untuk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menginput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naga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ahli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yang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rlibat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,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yaitu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: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300" b="1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Otomatis</a:t>
            </a:r>
            <a:r>
              <a:rPr lang="en-US" sz="1300" b="1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b="1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rdata</a:t>
            </a:r>
            <a:r>
              <a:rPr lang="en-US" sz="1300" b="1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saat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peserta mengisi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absen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dengan scan QR Code atau klik Link yang diberikan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enyelenggara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(QR Code dan Link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iperoleh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ri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SIKI-PKB setelah kegiatan disetujui) 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en-US" sz="1300" b="1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ambah peserta</a:t>
            </a:r>
          </a:p>
          <a:p>
            <a:pPr marL="261938">
              <a:spcAft>
                <a:spcPts val="600"/>
              </a:spcAft>
            </a:pP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ilakukan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engan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menginput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data masing-masing  TA yang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rlibat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.</a:t>
            </a:r>
          </a:p>
          <a:p>
            <a:pPr marL="269875" indent="-269875">
              <a:spcAft>
                <a:spcPts val="600"/>
              </a:spcAft>
              <a:buFont typeface="+mj-lt"/>
              <a:buAutoNum type="arabicPeriod" startAt="3"/>
            </a:pPr>
            <a:r>
              <a:rPr lang="en-US" sz="1300" b="1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Upload excel</a:t>
            </a:r>
          </a:p>
          <a:p>
            <a:pPr marL="266700"/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ilakukan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engan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: </a:t>
            </a:r>
          </a:p>
          <a:p>
            <a:pPr marL="609600" indent="-342900">
              <a:buFont typeface="+mj-lt"/>
              <a:buAutoNum type="alphaLcPeriod"/>
            </a:pP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ownload dan </a:t>
            </a:r>
            <a:r>
              <a:rPr lang="en-US" sz="1300" b="1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mengisi</a:t>
            </a:r>
            <a:r>
              <a:rPr lang="en-US" sz="1300" b="1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data TA 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pada format excel yang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tersedia</a:t>
            </a:r>
            <a:endParaRPr lang="en-US" sz="1300" dirty="0">
              <a:latin typeface="Century Gothic" panose="020B0502020202020204" pitchFamily="34" charset="0"/>
              <a:ea typeface="Playfair Display" charset="0"/>
              <a:cs typeface="Segoe UI" panose="020B0502040204020203" pitchFamily="34" charset="0"/>
            </a:endParaRPr>
          </a:p>
          <a:p>
            <a:pPr marL="609600" indent="-342900">
              <a:buFont typeface="+mj-lt"/>
              <a:buAutoNum type="alphaLcPeriod"/>
            </a:pPr>
            <a:r>
              <a:rPr lang="en-US" sz="1300" b="1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Upload file excel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ke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</a:t>
            </a:r>
            <a:r>
              <a:rPr lang="en-US" sz="1300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dalam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system</a:t>
            </a:r>
          </a:p>
          <a:p>
            <a:pPr marL="609600" indent="-342900">
              <a:buFont typeface="+mj-lt"/>
              <a:buAutoNum type="alphaLcPeriod"/>
            </a:pPr>
            <a:r>
              <a:rPr lang="en-US" sz="1300" b="1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Edit </a:t>
            </a:r>
            <a:r>
              <a:rPr lang="en-US" sz="1300" b="1" dirty="0" err="1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unsur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masing-masing TA</a:t>
            </a:r>
          </a:p>
          <a:p>
            <a:pPr marL="609600" indent="-342900">
              <a:buFont typeface="+mj-lt"/>
              <a:buAutoNum type="alphaLcPeriod"/>
            </a:pP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Klik </a:t>
            </a:r>
            <a:r>
              <a:rPr lang="en-US" sz="1300" b="1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Simpan</a:t>
            </a:r>
            <a:r>
              <a:rPr lang="en-US" sz="1300" dirty="0">
                <a:latin typeface="Century Gothic" panose="020B0502020202020204" pitchFamily="34" charset="0"/>
                <a:ea typeface="Playfair Display" charset="0"/>
                <a:cs typeface="Segoe UI" panose="020B0502040204020203" pitchFamily="34" charset="0"/>
              </a:rPr>
              <a:t> untuk import data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E19534B6-1723-66B9-86A3-176D8C835428}"/>
              </a:ext>
            </a:extLst>
          </p:cNvPr>
          <p:cNvSpPr/>
          <p:nvPr/>
        </p:nvSpPr>
        <p:spPr>
          <a:xfrm>
            <a:off x="75820" y="5457842"/>
            <a:ext cx="3363980" cy="7895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Subtitle 2">
            <a:extLst>
              <a:ext uri="{FF2B5EF4-FFF2-40B4-BE49-F238E27FC236}">
                <a16:creationId xmlns:a16="http://schemas.microsoft.com/office/drawing/2014/main" xmlns="" id="{3F5D4F0E-7060-43CD-1A73-DE83158142E6}"/>
              </a:ext>
            </a:extLst>
          </p:cNvPr>
          <p:cNvSpPr txBox="1">
            <a:spLocks/>
          </p:cNvSpPr>
          <p:nvPr/>
        </p:nvSpPr>
        <p:spPr>
          <a:xfrm>
            <a:off x="75815" y="5469672"/>
            <a:ext cx="3314126" cy="7776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Setelah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data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iatas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diunggah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</a:p>
          <a:p>
            <a:pPr marL="0" indent="0" algn="ctr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klik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>
                <a:latin typeface="Century Gothic" panose="020B0502020202020204" pitchFamily="34" charset="0"/>
                <a:cs typeface="Arial" panose="020B0604020202020204" pitchFamily="34" charset="0"/>
              </a:rPr>
              <a:t>Submit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untuk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  <a:cs typeface="Arial" panose="020B0604020202020204" pitchFamily="34" charset="0"/>
              </a:rPr>
              <a:t>melaporkan</a:t>
            </a:r>
            <a:r>
              <a:rPr lang="en-US" sz="1600" dirty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8F94AD4B-3EA6-AD22-CEBF-7B62AC78D69E}"/>
              </a:ext>
            </a:extLst>
          </p:cNvPr>
          <p:cNvGrpSpPr/>
          <p:nvPr/>
        </p:nvGrpSpPr>
        <p:grpSpPr>
          <a:xfrm>
            <a:off x="3854210" y="4071449"/>
            <a:ext cx="1976172" cy="2169506"/>
            <a:chOff x="3854210" y="4390384"/>
            <a:chExt cx="1976172" cy="2169506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xmlns="" id="{EC49602B-6519-51C1-E02C-01C0B98F33AA}"/>
                </a:ext>
              </a:extLst>
            </p:cNvPr>
            <p:cNvGrpSpPr/>
            <p:nvPr/>
          </p:nvGrpSpPr>
          <p:grpSpPr>
            <a:xfrm>
              <a:off x="3854210" y="4390384"/>
              <a:ext cx="1976172" cy="2169506"/>
              <a:chOff x="8577855" y="4419449"/>
              <a:chExt cx="1976172" cy="2169506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xmlns="" id="{8C47629E-1750-A5A3-8D8C-7E821889049E}"/>
                  </a:ext>
                </a:extLst>
              </p:cNvPr>
              <p:cNvSpPr/>
              <p:nvPr/>
            </p:nvSpPr>
            <p:spPr>
              <a:xfrm>
                <a:off x="8577855" y="4419449"/>
                <a:ext cx="1976172" cy="2169506"/>
              </a:xfrm>
              <a:prstGeom prst="roundRect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D"/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xmlns="" id="{631767CD-EDE8-C14B-0303-15CE459CDE75}"/>
                  </a:ext>
                </a:extLst>
              </p:cNvPr>
              <p:cNvSpPr txBox="1"/>
              <p:nvPr/>
            </p:nvSpPr>
            <p:spPr>
              <a:xfrm>
                <a:off x="8729014" y="6018539"/>
                <a:ext cx="1743882" cy="5232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400" b="1" dirty="0">
                    <a:solidFill>
                      <a:srgbClr val="FFFF00"/>
                    </a:solidFill>
                    <a:latin typeface="Century Gothic" panose="020B0502020202020204" pitchFamily="34" charset="0"/>
                  </a:rPr>
                  <a:t>Format </a:t>
                </a:r>
                <a:r>
                  <a:rPr lang="en-US" sz="1400" b="1" dirty="0" err="1">
                    <a:solidFill>
                      <a:srgbClr val="FFFF00"/>
                    </a:solidFill>
                    <a:latin typeface="Century Gothic" panose="020B0502020202020204" pitchFamily="34" charset="0"/>
                  </a:rPr>
                  <a:t>Laporan</a:t>
                </a:r>
                <a:r>
                  <a:rPr lang="en-US" sz="1400" b="1" dirty="0">
                    <a:solidFill>
                      <a:srgbClr val="FFFF00"/>
                    </a:solidFill>
                    <a:latin typeface="Century Gothic" panose="020B0502020202020204" pitchFamily="34" charset="0"/>
                  </a:rPr>
                  <a:t> </a:t>
                </a:r>
                <a:r>
                  <a:rPr lang="en-US" sz="1400" b="1" dirty="0" err="1">
                    <a:solidFill>
                      <a:srgbClr val="FFFF00"/>
                    </a:solidFill>
                    <a:latin typeface="Century Gothic" panose="020B0502020202020204" pitchFamily="34" charset="0"/>
                  </a:rPr>
                  <a:t>Kegiatan</a:t>
                </a:r>
                <a:r>
                  <a:rPr lang="en-US" sz="1400" b="1" dirty="0">
                    <a:solidFill>
                      <a:srgbClr val="FFFF00"/>
                    </a:solidFill>
                    <a:latin typeface="Century Gothic" panose="020B0502020202020204" pitchFamily="34" charset="0"/>
                  </a:rPr>
                  <a:t> PKB</a:t>
                </a:r>
                <a:endParaRPr lang="en-ID" sz="1400" dirty="0">
                  <a:solidFill>
                    <a:srgbClr val="FFFF00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xmlns="" id="{DB5AB886-EB65-DE33-D98B-541C0454C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1736" y="4566165"/>
              <a:ext cx="1418400" cy="1418400"/>
            </a:xfrm>
            <a:prstGeom prst="rect">
              <a:avLst/>
            </a:prstGeom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E33504BC-AB8C-8523-0B0A-46A4927A89B2}"/>
              </a:ext>
            </a:extLst>
          </p:cNvPr>
          <p:cNvSpPr txBox="1"/>
          <p:nvPr/>
        </p:nvSpPr>
        <p:spPr>
          <a:xfrm>
            <a:off x="75815" y="6302825"/>
            <a:ext cx="60201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Catat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: </a:t>
            </a:r>
          </a:p>
          <a:p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Proses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erifikas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dan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alidas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lapor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egiatan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paling lama 3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hari</a:t>
            </a:r>
            <a:r>
              <a:rPr lang="en-US" sz="12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US" sz="12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erja</a:t>
            </a:r>
            <a:endParaRPr lang="en-ID" sz="1200" i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98648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DCA36D2-EEF5-21EE-3283-F0CBB589C6A7}"/>
              </a:ext>
            </a:extLst>
          </p:cNvPr>
          <p:cNvSpPr/>
          <p:nvPr/>
        </p:nvSpPr>
        <p:spPr>
          <a:xfrm>
            <a:off x="407988" y="1064301"/>
            <a:ext cx="11376024" cy="506503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407988" y="79358"/>
            <a:ext cx="10444891" cy="84325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Cara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porkan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Tenaga Ahli (TA) yang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erlibat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dalam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endParaRPr lang="en-US" sz="2400" dirty="0">
              <a:solidFill>
                <a:schemeClr val="tx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  <a:p>
            <a:r>
              <a:rPr lang="en-US" sz="2000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lui</a:t>
            </a:r>
            <a:r>
              <a:rPr lang="en-US" sz="2000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Upload Excel (1/5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29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079D3465-8BEB-F627-5A2A-E7049F622EF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127" r="6692" b="8033"/>
          <a:stretch/>
        </p:blipFill>
        <p:spPr>
          <a:xfrm>
            <a:off x="407988" y="1064300"/>
            <a:ext cx="11384060" cy="50650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193FF6AE-AFD3-60ED-26BC-4EA6FBFECBBC}"/>
              </a:ext>
            </a:extLst>
          </p:cNvPr>
          <p:cNvSpPr/>
          <p:nvPr/>
        </p:nvSpPr>
        <p:spPr>
          <a:xfrm>
            <a:off x="514478" y="2804325"/>
            <a:ext cx="1625600" cy="375030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416E112E-43BF-F80D-7D45-9E7C0E7ED981}"/>
              </a:ext>
            </a:extLst>
          </p:cNvPr>
          <p:cNvSpPr/>
          <p:nvPr/>
        </p:nvSpPr>
        <p:spPr>
          <a:xfrm>
            <a:off x="3685850" y="3582303"/>
            <a:ext cx="1292550" cy="37503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F4B66FB0-B78A-F57D-C9B5-28EF2CE4D072}"/>
              </a:ext>
            </a:extLst>
          </p:cNvPr>
          <p:cNvSpPr/>
          <p:nvPr/>
        </p:nvSpPr>
        <p:spPr>
          <a:xfrm>
            <a:off x="2140078" y="2726564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1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411839EE-AEA9-C5F5-F849-68FD43E2DA00}"/>
              </a:ext>
            </a:extLst>
          </p:cNvPr>
          <p:cNvSpPr/>
          <p:nvPr/>
        </p:nvSpPr>
        <p:spPr>
          <a:xfrm>
            <a:off x="4731658" y="3240719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3653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reeform 196">
            <a:extLst>
              <a:ext uri="{FF2B5EF4-FFF2-40B4-BE49-F238E27FC236}">
                <a16:creationId xmlns:a16="http://schemas.microsoft.com/office/drawing/2014/main" xmlns="" id="{A89A4C07-B939-EF4A-BF45-16C571FFDF5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655959" y="5461780"/>
            <a:ext cx="442840" cy="1380563"/>
          </a:xfrm>
          <a:custGeom>
            <a:avLst/>
            <a:gdLst>
              <a:gd name="T0" fmla="*/ 379 w 386"/>
              <a:gd name="T1" fmla="*/ 464 h 1210"/>
              <a:gd name="T2" fmla="*/ 364 w 386"/>
              <a:gd name="T3" fmla="*/ 267 h 1210"/>
              <a:gd name="T4" fmla="*/ 269 w 386"/>
              <a:gd name="T5" fmla="*/ 191 h 1210"/>
              <a:gd name="T6" fmla="*/ 251 w 386"/>
              <a:gd name="T7" fmla="*/ 145 h 1210"/>
              <a:gd name="T8" fmla="*/ 266 w 386"/>
              <a:gd name="T9" fmla="*/ 116 h 1210"/>
              <a:gd name="T10" fmla="*/ 263 w 386"/>
              <a:gd name="T11" fmla="*/ 82 h 1210"/>
              <a:gd name="T12" fmla="*/ 205 w 386"/>
              <a:gd name="T13" fmla="*/ 0 h 1210"/>
              <a:gd name="T14" fmla="*/ 155 w 386"/>
              <a:gd name="T15" fmla="*/ 90 h 1210"/>
              <a:gd name="T16" fmla="*/ 174 w 386"/>
              <a:gd name="T17" fmla="*/ 126 h 1210"/>
              <a:gd name="T18" fmla="*/ 176 w 386"/>
              <a:gd name="T19" fmla="*/ 167 h 1210"/>
              <a:gd name="T20" fmla="*/ 177 w 386"/>
              <a:gd name="T21" fmla="*/ 167 h 1210"/>
              <a:gd name="T22" fmla="*/ 156 w 386"/>
              <a:gd name="T23" fmla="*/ 186 h 1210"/>
              <a:gd name="T24" fmla="*/ 99 w 386"/>
              <a:gd name="T25" fmla="*/ 207 h 1210"/>
              <a:gd name="T26" fmla="*/ 57 w 386"/>
              <a:gd name="T27" fmla="*/ 370 h 1210"/>
              <a:gd name="T28" fmla="*/ 38 w 386"/>
              <a:gd name="T29" fmla="*/ 604 h 1210"/>
              <a:gd name="T30" fmla="*/ 68 w 386"/>
              <a:gd name="T31" fmla="*/ 598 h 1210"/>
              <a:gd name="T32" fmla="*/ 68 w 386"/>
              <a:gd name="T33" fmla="*/ 607 h 1210"/>
              <a:gd name="T34" fmla="*/ 41 w 386"/>
              <a:gd name="T35" fmla="*/ 619 h 1210"/>
              <a:gd name="T36" fmla="*/ 47 w 386"/>
              <a:gd name="T37" fmla="*/ 662 h 1210"/>
              <a:gd name="T38" fmla="*/ 3 w 386"/>
              <a:gd name="T39" fmla="*/ 849 h 1210"/>
              <a:gd name="T40" fmla="*/ 99 w 386"/>
              <a:gd name="T41" fmla="*/ 898 h 1210"/>
              <a:gd name="T42" fmla="*/ 118 w 386"/>
              <a:gd name="T43" fmla="*/ 899 h 1210"/>
              <a:gd name="T44" fmla="*/ 127 w 386"/>
              <a:gd name="T45" fmla="*/ 1051 h 1210"/>
              <a:gd name="T46" fmla="*/ 118 w 386"/>
              <a:gd name="T47" fmla="*/ 1153 h 1210"/>
              <a:gd name="T48" fmla="*/ 181 w 386"/>
              <a:gd name="T49" fmla="*/ 1159 h 1210"/>
              <a:gd name="T50" fmla="*/ 194 w 386"/>
              <a:gd name="T51" fmla="*/ 1084 h 1210"/>
              <a:gd name="T52" fmla="*/ 192 w 386"/>
              <a:gd name="T53" fmla="*/ 968 h 1210"/>
              <a:gd name="T54" fmla="*/ 222 w 386"/>
              <a:gd name="T55" fmla="*/ 712 h 1210"/>
              <a:gd name="T56" fmla="*/ 252 w 386"/>
              <a:gd name="T57" fmla="*/ 767 h 1210"/>
              <a:gd name="T58" fmla="*/ 285 w 386"/>
              <a:gd name="T59" fmla="*/ 1024 h 1210"/>
              <a:gd name="T60" fmla="*/ 277 w 386"/>
              <a:gd name="T61" fmla="*/ 1067 h 1210"/>
              <a:gd name="T62" fmla="*/ 298 w 386"/>
              <a:gd name="T63" fmla="*/ 1146 h 1210"/>
              <a:gd name="T64" fmla="*/ 355 w 386"/>
              <a:gd name="T65" fmla="*/ 1205 h 1210"/>
              <a:gd name="T66" fmla="*/ 347 w 386"/>
              <a:gd name="T67" fmla="*/ 1105 h 1210"/>
              <a:gd name="T68" fmla="*/ 351 w 386"/>
              <a:gd name="T69" fmla="*/ 1046 h 1210"/>
              <a:gd name="T70" fmla="*/ 356 w 386"/>
              <a:gd name="T71" fmla="*/ 829 h 1210"/>
              <a:gd name="T72" fmla="*/ 354 w 386"/>
              <a:gd name="T73" fmla="*/ 603 h 1210"/>
              <a:gd name="T74" fmla="*/ 367 w 386"/>
              <a:gd name="T75" fmla="*/ 565 h 1210"/>
              <a:gd name="T76" fmla="*/ 109 w 386"/>
              <a:gd name="T77" fmla="*/ 669 h 1210"/>
              <a:gd name="T78" fmla="*/ 91 w 386"/>
              <a:gd name="T79" fmla="*/ 666 h 1210"/>
              <a:gd name="T80" fmla="*/ 90 w 386"/>
              <a:gd name="T81" fmla="*/ 617 h 1210"/>
              <a:gd name="T82" fmla="*/ 101 w 386"/>
              <a:gd name="T83" fmla="*/ 628 h 1210"/>
              <a:gd name="T84" fmla="*/ 108 w 386"/>
              <a:gd name="T85" fmla="*/ 649 h 1210"/>
              <a:gd name="T86" fmla="*/ 223 w 386"/>
              <a:gd name="T87" fmla="*/ 505 h 1210"/>
              <a:gd name="T88" fmla="*/ 221 w 386"/>
              <a:gd name="T89" fmla="*/ 232 h 1210"/>
              <a:gd name="T90" fmla="*/ 215 w 386"/>
              <a:gd name="T91" fmla="*/ 208 h 1210"/>
              <a:gd name="T92" fmla="*/ 205 w 386"/>
              <a:gd name="T93" fmla="*/ 231 h 1210"/>
              <a:gd name="T94" fmla="*/ 199 w 386"/>
              <a:gd name="T95" fmla="*/ 505 h 1210"/>
              <a:gd name="T96" fmla="*/ 190 w 386"/>
              <a:gd name="T97" fmla="*/ 325 h 1210"/>
              <a:gd name="T98" fmla="*/ 173 w 386"/>
              <a:gd name="T99" fmla="*/ 188 h 1210"/>
              <a:gd name="T100" fmla="*/ 182 w 386"/>
              <a:gd name="T101" fmla="*/ 176 h 1210"/>
              <a:gd name="T102" fmla="*/ 248 w 386"/>
              <a:gd name="T103" fmla="*/ 179 h 1210"/>
              <a:gd name="T104" fmla="*/ 259 w 386"/>
              <a:gd name="T105" fmla="*/ 196 h 1210"/>
              <a:gd name="T106" fmla="*/ 258 w 386"/>
              <a:gd name="T107" fmla="*/ 201 h 1210"/>
              <a:gd name="T108" fmla="*/ 260 w 386"/>
              <a:gd name="T109" fmla="*/ 256 h 1210"/>
              <a:gd name="T110" fmla="*/ 301 w 386"/>
              <a:gd name="T111" fmla="*/ 488 h 1210"/>
              <a:gd name="T112" fmla="*/ 360 w 386"/>
              <a:gd name="T113" fmla="*/ 585 h 1210"/>
              <a:gd name="T114" fmla="*/ 328 w 386"/>
              <a:gd name="T115" fmla="*/ 554 h 1210"/>
              <a:gd name="T116" fmla="*/ 360 w 386"/>
              <a:gd name="T117" fmla="*/ 585 h 1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86" h="1210">
                <a:moveTo>
                  <a:pt x="379" y="512"/>
                </a:moveTo>
                <a:cubicBezTo>
                  <a:pt x="385" y="497"/>
                  <a:pt x="386" y="471"/>
                  <a:pt x="379" y="464"/>
                </a:cubicBezTo>
                <a:cubicBezTo>
                  <a:pt x="372" y="456"/>
                  <a:pt x="383" y="413"/>
                  <a:pt x="376" y="380"/>
                </a:cubicBezTo>
                <a:cubicBezTo>
                  <a:pt x="370" y="347"/>
                  <a:pt x="365" y="295"/>
                  <a:pt x="364" y="267"/>
                </a:cubicBezTo>
                <a:cubicBezTo>
                  <a:pt x="364" y="239"/>
                  <a:pt x="362" y="219"/>
                  <a:pt x="326" y="210"/>
                </a:cubicBezTo>
                <a:cubicBezTo>
                  <a:pt x="302" y="204"/>
                  <a:pt x="282" y="197"/>
                  <a:pt x="269" y="191"/>
                </a:cubicBezTo>
                <a:cubicBezTo>
                  <a:pt x="269" y="191"/>
                  <a:pt x="255" y="179"/>
                  <a:pt x="252" y="168"/>
                </a:cubicBezTo>
                <a:cubicBezTo>
                  <a:pt x="251" y="159"/>
                  <a:pt x="251" y="150"/>
                  <a:pt x="251" y="145"/>
                </a:cubicBezTo>
                <a:cubicBezTo>
                  <a:pt x="253" y="136"/>
                  <a:pt x="253" y="129"/>
                  <a:pt x="253" y="124"/>
                </a:cubicBezTo>
                <a:cubicBezTo>
                  <a:pt x="253" y="118"/>
                  <a:pt x="264" y="126"/>
                  <a:pt x="266" y="116"/>
                </a:cubicBezTo>
                <a:cubicBezTo>
                  <a:pt x="269" y="107"/>
                  <a:pt x="271" y="85"/>
                  <a:pt x="269" y="84"/>
                </a:cubicBezTo>
                <a:cubicBezTo>
                  <a:pt x="267" y="82"/>
                  <a:pt x="265" y="82"/>
                  <a:pt x="263" y="82"/>
                </a:cubicBezTo>
                <a:cubicBezTo>
                  <a:pt x="263" y="79"/>
                  <a:pt x="265" y="59"/>
                  <a:pt x="263" y="38"/>
                </a:cubicBezTo>
                <a:cubicBezTo>
                  <a:pt x="262" y="18"/>
                  <a:pt x="242" y="2"/>
                  <a:pt x="205" y="0"/>
                </a:cubicBezTo>
                <a:cubicBezTo>
                  <a:pt x="184" y="0"/>
                  <a:pt x="160" y="16"/>
                  <a:pt x="157" y="38"/>
                </a:cubicBezTo>
                <a:cubicBezTo>
                  <a:pt x="154" y="60"/>
                  <a:pt x="155" y="90"/>
                  <a:pt x="155" y="90"/>
                </a:cubicBezTo>
                <a:cubicBezTo>
                  <a:pt x="155" y="90"/>
                  <a:pt x="148" y="105"/>
                  <a:pt x="154" y="117"/>
                </a:cubicBezTo>
                <a:cubicBezTo>
                  <a:pt x="160" y="129"/>
                  <a:pt x="174" y="126"/>
                  <a:pt x="174" y="126"/>
                </a:cubicBezTo>
                <a:cubicBezTo>
                  <a:pt x="174" y="126"/>
                  <a:pt x="177" y="145"/>
                  <a:pt x="177" y="155"/>
                </a:cubicBezTo>
                <a:cubicBezTo>
                  <a:pt x="177" y="160"/>
                  <a:pt x="177" y="164"/>
                  <a:pt x="176" y="167"/>
                </a:cubicBezTo>
                <a:cubicBezTo>
                  <a:pt x="176" y="167"/>
                  <a:pt x="176" y="167"/>
                  <a:pt x="176" y="167"/>
                </a:cubicBezTo>
                <a:cubicBezTo>
                  <a:pt x="176" y="167"/>
                  <a:pt x="177" y="167"/>
                  <a:pt x="177" y="167"/>
                </a:cubicBezTo>
                <a:cubicBezTo>
                  <a:pt x="176" y="167"/>
                  <a:pt x="176" y="167"/>
                  <a:pt x="176" y="167"/>
                </a:cubicBezTo>
                <a:cubicBezTo>
                  <a:pt x="176" y="167"/>
                  <a:pt x="164" y="182"/>
                  <a:pt x="156" y="186"/>
                </a:cubicBezTo>
                <a:cubicBezTo>
                  <a:pt x="143" y="192"/>
                  <a:pt x="123" y="200"/>
                  <a:pt x="107" y="205"/>
                </a:cubicBezTo>
                <a:cubicBezTo>
                  <a:pt x="104" y="206"/>
                  <a:pt x="102" y="206"/>
                  <a:pt x="99" y="207"/>
                </a:cubicBezTo>
                <a:cubicBezTo>
                  <a:pt x="80" y="213"/>
                  <a:pt x="65" y="218"/>
                  <a:pt x="65" y="244"/>
                </a:cubicBezTo>
                <a:cubicBezTo>
                  <a:pt x="64" y="274"/>
                  <a:pt x="61" y="331"/>
                  <a:pt x="57" y="370"/>
                </a:cubicBezTo>
                <a:cubicBezTo>
                  <a:pt x="53" y="408"/>
                  <a:pt x="41" y="490"/>
                  <a:pt x="41" y="516"/>
                </a:cubicBezTo>
                <a:cubicBezTo>
                  <a:pt x="40" y="542"/>
                  <a:pt x="37" y="598"/>
                  <a:pt x="38" y="604"/>
                </a:cubicBezTo>
                <a:cubicBezTo>
                  <a:pt x="38" y="609"/>
                  <a:pt x="42" y="609"/>
                  <a:pt x="42" y="615"/>
                </a:cubicBezTo>
                <a:cubicBezTo>
                  <a:pt x="43" y="612"/>
                  <a:pt x="48" y="598"/>
                  <a:pt x="68" y="598"/>
                </a:cubicBezTo>
                <a:cubicBezTo>
                  <a:pt x="90" y="598"/>
                  <a:pt x="90" y="614"/>
                  <a:pt x="90" y="614"/>
                </a:cubicBezTo>
                <a:cubicBezTo>
                  <a:pt x="83" y="607"/>
                  <a:pt x="83" y="607"/>
                  <a:pt x="68" y="607"/>
                </a:cubicBezTo>
                <a:cubicBezTo>
                  <a:pt x="54" y="606"/>
                  <a:pt x="43" y="614"/>
                  <a:pt x="42" y="615"/>
                </a:cubicBezTo>
                <a:cubicBezTo>
                  <a:pt x="42" y="616"/>
                  <a:pt x="42" y="618"/>
                  <a:pt x="41" y="619"/>
                </a:cubicBezTo>
                <a:cubicBezTo>
                  <a:pt x="39" y="630"/>
                  <a:pt x="39" y="639"/>
                  <a:pt x="45" y="646"/>
                </a:cubicBezTo>
                <a:cubicBezTo>
                  <a:pt x="50" y="653"/>
                  <a:pt x="47" y="662"/>
                  <a:pt x="47" y="662"/>
                </a:cubicBezTo>
                <a:cubicBezTo>
                  <a:pt x="0" y="660"/>
                  <a:pt x="0" y="660"/>
                  <a:pt x="0" y="660"/>
                </a:cubicBezTo>
                <a:cubicBezTo>
                  <a:pt x="3" y="849"/>
                  <a:pt x="3" y="849"/>
                  <a:pt x="3" y="849"/>
                </a:cubicBezTo>
                <a:cubicBezTo>
                  <a:pt x="78" y="907"/>
                  <a:pt x="78" y="907"/>
                  <a:pt x="78" y="907"/>
                </a:cubicBezTo>
                <a:cubicBezTo>
                  <a:pt x="78" y="907"/>
                  <a:pt x="89" y="899"/>
                  <a:pt x="99" y="898"/>
                </a:cubicBezTo>
                <a:cubicBezTo>
                  <a:pt x="100" y="898"/>
                  <a:pt x="101" y="898"/>
                  <a:pt x="101" y="898"/>
                </a:cubicBezTo>
                <a:cubicBezTo>
                  <a:pt x="112" y="898"/>
                  <a:pt x="118" y="899"/>
                  <a:pt x="118" y="899"/>
                </a:cubicBezTo>
                <a:cubicBezTo>
                  <a:pt x="118" y="899"/>
                  <a:pt x="115" y="955"/>
                  <a:pt x="115" y="977"/>
                </a:cubicBezTo>
                <a:cubicBezTo>
                  <a:pt x="115" y="1000"/>
                  <a:pt x="117" y="1035"/>
                  <a:pt x="127" y="1051"/>
                </a:cubicBezTo>
                <a:cubicBezTo>
                  <a:pt x="136" y="1067"/>
                  <a:pt x="138" y="1073"/>
                  <a:pt x="138" y="1087"/>
                </a:cubicBezTo>
                <a:cubicBezTo>
                  <a:pt x="138" y="1101"/>
                  <a:pt x="117" y="1140"/>
                  <a:pt x="118" y="1153"/>
                </a:cubicBezTo>
                <a:cubicBezTo>
                  <a:pt x="118" y="1166"/>
                  <a:pt x="121" y="1186"/>
                  <a:pt x="143" y="1186"/>
                </a:cubicBezTo>
                <a:cubicBezTo>
                  <a:pt x="165" y="1185"/>
                  <a:pt x="181" y="1176"/>
                  <a:pt x="181" y="1159"/>
                </a:cubicBezTo>
                <a:cubicBezTo>
                  <a:pt x="181" y="1141"/>
                  <a:pt x="178" y="1130"/>
                  <a:pt x="185" y="1124"/>
                </a:cubicBezTo>
                <a:cubicBezTo>
                  <a:pt x="193" y="1117"/>
                  <a:pt x="181" y="1101"/>
                  <a:pt x="194" y="1084"/>
                </a:cubicBezTo>
                <a:cubicBezTo>
                  <a:pt x="206" y="1067"/>
                  <a:pt x="193" y="1066"/>
                  <a:pt x="196" y="1050"/>
                </a:cubicBezTo>
                <a:cubicBezTo>
                  <a:pt x="199" y="1034"/>
                  <a:pt x="193" y="987"/>
                  <a:pt x="192" y="968"/>
                </a:cubicBezTo>
                <a:cubicBezTo>
                  <a:pt x="191" y="949"/>
                  <a:pt x="194" y="926"/>
                  <a:pt x="204" y="846"/>
                </a:cubicBezTo>
                <a:cubicBezTo>
                  <a:pt x="213" y="765"/>
                  <a:pt x="219" y="729"/>
                  <a:pt x="222" y="712"/>
                </a:cubicBezTo>
                <a:cubicBezTo>
                  <a:pt x="225" y="694"/>
                  <a:pt x="229" y="672"/>
                  <a:pt x="229" y="672"/>
                </a:cubicBezTo>
                <a:cubicBezTo>
                  <a:pt x="229" y="672"/>
                  <a:pt x="242" y="748"/>
                  <a:pt x="252" y="767"/>
                </a:cubicBezTo>
                <a:cubicBezTo>
                  <a:pt x="262" y="785"/>
                  <a:pt x="274" y="879"/>
                  <a:pt x="277" y="907"/>
                </a:cubicBezTo>
                <a:cubicBezTo>
                  <a:pt x="280" y="934"/>
                  <a:pt x="278" y="1015"/>
                  <a:pt x="285" y="1024"/>
                </a:cubicBezTo>
                <a:cubicBezTo>
                  <a:pt x="291" y="1032"/>
                  <a:pt x="294" y="1044"/>
                  <a:pt x="294" y="1044"/>
                </a:cubicBezTo>
                <a:cubicBezTo>
                  <a:pt x="294" y="1044"/>
                  <a:pt x="277" y="1054"/>
                  <a:pt x="277" y="1067"/>
                </a:cubicBezTo>
                <a:cubicBezTo>
                  <a:pt x="277" y="1081"/>
                  <a:pt x="290" y="1092"/>
                  <a:pt x="289" y="1110"/>
                </a:cubicBezTo>
                <a:cubicBezTo>
                  <a:pt x="289" y="1128"/>
                  <a:pt x="291" y="1143"/>
                  <a:pt x="298" y="1146"/>
                </a:cubicBezTo>
                <a:cubicBezTo>
                  <a:pt x="305" y="1150"/>
                  <a:pt x="304" y="1180"/>
                  <a:pt x="313" y="1191"/>
                </a:cubicBezTo>
                <a:cubicBezTo>
                  <a:pt x="322" y="1201"/>
                  <a:pt x="337" y="1210"/>
                  <a:pt x="355" y="1205"/>
                </a:cubicBezTo>
                <a:cubicBezTo>
                  <a:pt x="373" y="1199"/>
                  <a:pt x="373" y="1175"/>
                  <a:pt x="364" y="1152"/>
                </a:cubicBezTo>
                <a:cubicBezTo>
                  <a:pt x="355" y="1129"/>
                  <a:pt x="344" y="1114"/>
                  <a:pt x="347" y="1105"/>
                </a:cubicBezTo>
                <a:cubicBezTo>
                  <a:pt x="351" y="1096"/>
                  <a:pt x="354" y="1082"/>
                  <a:pt x="345" y="1073"/>
                </a:cubicBezTo>
                <a:cubicBezTo>
                  <a:pt x="336" y="1064"/>
                  <a:pt x="345" y="1054"/>
                  <a:pt x="351" y="1046"/>
                </a:cubicBezTo>
                <a:cubicBezTo>
                  <a:pt x="357" y="1038"/>
                  <a:pt x="356" y="1002"/>
                  <a:pt x="356" y="982"/>
                </a:cubicBezTo>
                <a:cubicBezTo>
                  <a:pt x="357" y="962"/>
                  <a:pt x="354" y="864"/>
                  <a:pt x="356" y="829"/>
                </a:cubicBezTo>
                <a:cubicBezTo>
                  <a:pt x="357" y="793"/>
                  <a:pt x="360" y="685"/>
                  <a:pt x="355" y="655"/>
                </a:cubicBezTo>
                <a:cubicBezTo>
                  <a:pt x="350" y="625"/>
                  <a:pt x="354" y="603"/>
                  <a:pt x="354" y="603"/>
                </a:cubicBezTo>
                <a:cubicBezTo>
                  <a:pt x="354" y="603"/>
                  <a:pt x="366" y="609"/>
                  <a:pt x="366" y="597"/>
                </a:cubicBezTo>
                <a:cubicBezTo>
                  <a:pt x="366" y="586"/>
                  <a:pt x="362" y="584"/>
                  <a:pt x="367" y="565"/>
                </a:cubicBezTo>
                <a:cubicBezTo>
                  <a:pt x="372" y="545"/>
                  <a:pt x="373" y="527"/>
                  <a:pt x="379" y="512"/>
                </a:cubicBezTo>
                <a:close/>
                <a:moveTo>
                  <a:pt x="109" y="669"/>
                </a:moveTo>
                <a:cubicBezTo>
                  <a:pt x="99" y="668"/>
                  <a:pt x="99" y="668"/>
                  <a:pt x="99" y="668"/>
                </a:cubicBezTo>
                <a:cubicBezTo>
                  <a:pt x="91" y="666"/>
                  <a:pt x="91" y="666"/>
                  <a:pt x="91" y="666"/>
                </a:cubicBezTo>
                <a:cubicBezTo>
                  <a:pt x="91" y="666"/>
                  <a:pt x="93" y="653"/>
                  <a:pt x="90" y="644"/>
                </a:cubicBezTo>
                <a:cubicBezTo>
                  <a:pt x="87" y="635"/>
                  <a:pt x="88" y="627"/>
                  <a:pt x="90" y="617"/>
                </a:cubicBezTo>
                <a:cubicBezTo>
                  <a:pt x="90" y="617"/>
                  <a:pt x="93" y="627"/>
                  <a:pt x="99" y="628"/>
                </a:cubicBezTo>
                <a:cubicBezTo>
                  <a:pt x="100" y="628"/>
                  <a:pt x="100" y="628"/>
                  <a:pt x="101" y="628"/>
                </a:cubicBezTo>
                <a:cubicBezTo>
                  <a:pt x="108" y="628"/>
                  <a:pt x="111" y="629"/>
                  <a:pt x="111" y="629"/>
                </a:cubicBezTo>
                <a:cubicBezTo>
                  <a:pt x="111" y="629"/>
                  <a:pt x="108" y="640"/>
                  <a:pt x="108" y="649"/>
                </a:cubicBezTo>
                <a:cubicBezTo>
                  <a:pt x="108" y="659"/>
                  <a:pt x="109" y="669"/>
                  <a:pt x="109" y="669"/>
                </a:cubicBezTo>
                <a:close/>
                <a:moveTo>
                  <a:pt x="223" y="505"/>
                </a:moveTo>
                <a:cubicBezTo>
                  <a:pt x="225" y="464"/>
                  <a:pt x="224" y="347"/>
                  <a:pt x="223" y="322"/>
                </a:cubicBezTo>
                <a:cubicBezTo>
                  <a:pt x="223" y="296"/>
                  <a:pt x="218" y="239"/>
                  <a:pt x="221" y="232"/>
                </a:cubicBezTo>
                <a:cubicBezTo>
                  <a:pt x="224" y="224"/>
                  <a:pt x="232" y="218"/>
                  <a:pt x="241" y="223"/>
                </a:cubicBezTo>
                <a:cubicBezTo>
                  <a:pt x="241" y="223"/>
                  <a:pt x="231" y="208"/>
                  <a:pt x="215" y="208"/>
                </a:cubicBezTo>
                <a:cubicBezTo>
                  <a:pt x="199" y="208"/>
                  <a:pt x="188" y="223"/>
                  <a:pt x="188" y="223"/>
                </a:cubicBezTo>
                <a:cubicBezTo>
                  <a:pt x="188" y="223"/>
                  <a:pt x="206" y="219"/>
                  <a:pt x="205" y="231"/>
                </a:cubicBezTo>
                <a:cubicBezTo>
                  <a:pt x="205" y="243"/>
                  <a:pt x="199" y="305"/>
                  <a:pt x="199" y="346"/>
                </a:cubicBezTo>
                <a:cubicBezTo>
                  <a:pt x="199" y="383"/>
                  <a:pt x="196" y="472"/>
                  <a:pt x="199" y="505"/>
                </a:cubicBezTo>
                <a:cubicBezTo>
                  <a:pt x="187" y="504"/>
                  <a:pt x="183" y="503"/>
                  <a:pt x="183" y="503"/>
                </a:cubicBezTo>
                <a:cubicBezTo>
                  <a:pt x="183" y="503"/>
                  <a:pt x="194" y="386"/>
                  <a:pt x="190" y="325"/>
                </a:cubicBezTo>
                <a:cubicBezTo>
                  <a:pt x="186" y="279"/>
                  <a:pt x="178" y="220"/>
                  <a:pt x="173" y="188"/>
                </a:cubicBezTo>
                <a:cubicBezTo>
                  <a:pt x="173" y="188"/>
                  <a:pt x="173" y="188"/>
                  <a:pt x="173" y="188"/>
                </a:cubicBezTo>
                <a:cubicBezTo>
                  <a:pt x="173" y="188"/>
                  <a:pt x="178" y="170"/>
                  <a:pt x="182" y="176"/>
                </a:cubicBezTo>
                <a:cubicBezTo>
                  <a:pt x="182" y="176"/>
                  <a:pt x="182" y="176"/>
                  <a:pt x="182" y="176"/>
                </a:cubicBezTo>
                <a:cubicBezTo>
                  <a:pt x="190" y="189"/>
                  <a:pt x="203" y="204"/>
                  <a:pt x="212" y="204"/>
                </a:cubicBezTo>
                <a:cubicBezTo>
                  <a:pt x="222" y="204"/>
                  <a:pt x="238" y="193"/>
                  <a:pt x="248" y="179"/>
                </a:cubicBezTo>
                <a:cubicBezTo>
                  <a:pt x="248" y="179"/>
                  <a:pt x="248" y="179"/>
                  <a:pt x="248" y="179"/>
                </a:cubicBezTo>
                <a:cubicBezTo>
                  <a:pt x="248" y="179"/>
                  <a:pt x="258" y="182"/>
                  <a:pt x="259" y="196"/>
                </a:cubicBezTo>
                <a:cubicBezTo>
                  <a:pt x="259" y="197"/>
                  <a:pt x="258" y="199"/>
                  <a:pt x="258" y="201"/>
                </a:cubicBezTo>
                <a:cubicBezTo>
                  <a:pt x="258" y="201"/>
                  <a:pt x="258" y="201"/>
                  <a:pt x="258" y="201"/>
                </a:cubicBezTo>
                <a:cubicBezTo>
                  <a:pt x="258" y="201"/>
                  <a:pt x="258" y="201"/>
                  <a:pt x="258" y="201"/>
                </a:cubicBezTo>
                <a:cubicBezTo>
                  <a:pt x="258" y="213"/>
                  <a:pt x="258" y="230"/>
                  <a:pt x="260" y="256"/>
                </a:cubicBezTo>
                <a:cubicBezTo>
                  <a:pt x="263" y="335"/>
                  <a:pt x="277" y="429"/>
                  <a:pt x="284" y="450"/>
                </a:cubicBezTo>
                <a:cubicBezTo>
                  <a:pt x="292" y="472"/>
                  <a:pt x="301" y="488"/>
                  <a:pt x="301" y="488"/>
                </a:cubicBezTo>
                <a:cubicBezTo>
                  <a:pt x="301" y="488"/>
                  <a:pt x="251" y="504"/>
                  <a:pt x="223" y="505"/>
                </a:cubicBezTo>
                <a:close/>
                <a:moveTo>
                  <a:pt x="360" y="585"/>
                </a:moveTo>
                <a:cubicBezTo>
                  <a:pt x="358" y="573"/>
                  <a:pt x="361" y="568"/>
                  <a:pt x="352" y="561"/>
                </a:cubicBezTo>
                <a:cubicBezTo>
                  <a:pt x="343" y="554"/>
                  <a:pt x="328" y="554"/>
                  <a:pt x="328" y="554"/>
                </a:cubicBezTo>
                <a:cubicBezTo>
                  <a:pt x="328" y="554"/>
                  <a:pt x="350" y="545"/>
                  <a:pt x="360" y="557"/>
                </a:cubicBezTo>
                <a:cubicBezTo>
                  <a:pt x="369" y="570"/>
                  <a:pt x="360" y="585"/>
                  <a:pt x="360" y="585"/>
                </a:cubicBezTo>
                <a:close/>
              </a:path>
            </a:pathLst>
          </a:custGeom>
          <a:solidFill>
            <a:srgbClr val="15405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95A5A6"/>
              </a:solidFill>
              <a:effectLst/>
              <a:uLnTx/>
              <a:uFillTx/>
            </a:endParaRPr>
          </a:p>
        </p:txBody>
      </p:sp>
      <p:sp>
        <p:nvSpPr>
          <p:cNvPr id="55" name="Freeform 192">
            <a:extLst>
              <a:ext uri="{FF2B5EF4-FFF2-40B4-BE49-F238E27FC236}">
                <a16:creationId xmlns:a16="http://schemas.microsoft.com/office/drawing/2014/main" xmlns="" id="{CA4B061C-6404-EB41-AADD-5388C79241A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782" y="5372034"/>
            <a:ext cx="584206" cy="1380312"/>
          </a:xfrm>
          <a:custGeom>
            <a:avLst/>
            <a:gdLst>
              <a:gd name="T0" fmla="*/ 625 w 693"/>
              <a:gd name="T1" fmla="*/ 1522 h 1641"/>
              <a:gd name="T2" fmla="*/ 520 w 693"/>
              <a:gd name="T3" fmla="*/ 985 h 1641"/>
              <a:gd name="T4" fmla="*/ 498 w 693"/>
              <a:gd name="T5" fmla="*/ 789 h 1641"/>
              <a:gd name="T6" fmla="*/ 532 w 693"/>
              <a:gd name="T7" fmla="*/ 760 h 1641"/>
              <a:gd name="T8" fmla="*/ 571 w 693"/>
              <a:gd name="T9" fmla="*/ 506 h 1641"/>
              <a:gd name="T10" fmla="*/ 505 w 693"/>
              <a:gd name="T11" fmla="*/ 282 h 1641"/>
              <a:gd name="T12" fmla="*/ 394 w 693"/>
              <a:gd name="T13" fmla="*/ 243 h 1641"/>
              <a:gd name="T14" fmla="*/ 344 w 693"/>
              <a:gd name="T15" fmla="*/ 214 h 1641"/>
              <a:gd name="T16" fmla="*/ 341 w 693"/>
              <a:gd name="T17" fmla="*/ 204 h 1641"/>
              <a:gd name="T18" fmla="*/ 354 w 693"/>
              <a:gd name="T19" fmla="*/ 65 h 1641"/>
              <a:gd name="T20" fmla="*/ 313 w 693"/>
              <a:gd name="T21" fmla="*/ 0 h 1641"/>
              <a:gd name="T22" fmla="*/ 228 w 693"/>
              <a:gd name="T23" fmla="*/ 24 h 1641"/>
              <a:gd name="T24" fmla="*/ 214 w 693"/>
              <a:gd name="T25" fmla="*/ 121 h 1641"/>
              <a:gd name="T26" fmla="*/ 240 w 693"/>
              <a:gd name="T27" fmla="*/ 200 h 1641"/>
              <a:gd name="T28" fmla="*/ 240 w 693"/>
              <a:gd name="T29" fmla="*/ 215 h 1641"/>
              <a:gd name="T30" fmla="*/ 147 w 693"/>
              <a:gd name="T31" fmla="*/ 272 h 1641"/>
              <a:gd name="T32" fmla="*/ 22 w 693"/>
              <a:gd name="T33" fmla="*/ 531 h 1641"/>
              <a:gd name="T34" fmla="*/ 113 w 693"/>
              <a:gd name="T35" fmla="*/ 777 h 1641"/>
              <a:gd name="T36" fmla="*/ 143 w 693"/>
              <a:gd name="T37" fmla="*/ 802 h 1641"/>
              <a:gd name="T38" fmla="*/ 220 w 693"/>
              <a:gd name="T39" fmla="*/ 1183 h 1641"/>
              <a:gd name="T40" fmla="*/ 267 w 693"/>
              <a:gd name="T41" fmla="*/ 1470 h 1641"/>
              <a:gd name="T42" fmla="*/ 231 w 693"/>
              <a:gd name="T43" fmla="*/ 1602 h 1641"/>
              <a:gd name="T44" fmla="*/ 343 w 693"/>
              <a:gd name="T45" fmla="*/ 1595 h 1641"/>
              <a:gd name="T46" fmla="*/ 351 w 693"/>
              <a:gd name="T47" fmla="*/ 1504 h 1641"/>
              <a:gd name="T48" fmla="*/ 342 w 693"/>
              <a:gd name="T49" fmla="*/ 1327 h 1641"/>
              <a:gd name="T50" fmla="*/ 334 w 693"/>
              <a:gd name="T51" fmla="*/ 1168 h 1641"/>
              <a:gd name="T52" fmla="*/ 372 w 693"/>
              <a:gd name="T53" fmla="*/ 991 h 1641"/>
              <a:gd name="T54" fmla="*/ 495 w 693"/>
              <a:gd name="T55" fmla="*/ 1455 h 1641"/>
              <a:gd name="T56" fmla="*/ 553 w 693"/>
              <a:gd name="T57" fmla="*/ 1595 h 1641"/>
              <a:gd name="T58" fmla="*/ 693 w 693"/>
              <a:gd name="T59" fmla="*/ 1628 h 1641"/>
              <a:gd name="T60" fmla="*/ 115 w 693"/>
              <a:gd name="T61" fmla="*/ 608 h 1641"/>
              <a:gd name="T62" fmla="*/ 125 w 693"/>
              <a:gd name="T63" fmla="*/ 524 h 1641"/>
              <a:gd name="T64" fmla="*/ 395 w 693"/>
              <a:gd name="T65" fmla="*/ 690 h 1641"/>
              <a:gd name="T66" fmla="*/ 314 w 693"/>
              <a:gd name="T67" fmla="*/ 307 h 1641"/>
              <a:gd name="T68" fmla="*/ 280 w 693"/>
              <a:gd name="T69" fmla="*/ 291 h 1641"/>
              <a:gd name="T70" fmla="*/ 295 w 693"/>
              <a:gd name="T71" fmla="*/ 485 h 1641"/>
              <a:gd name="T72" fmla="*/ 274 w 693"/>
              <a:gd name="T73" fmla="*/ 687 h 1641"/>
              <a:gd name="T74" fmla="*/ 235 w 693"/>
              <a:gd name="T75" fmla="*/ 542 h 1641"/>
              <a:gd name="T76" fmla="*/ 248 w 693"/>
              <a:gd name="T77" fmla="*/ 225 h 1641"/>
              <a:gd name="T78" fmla="*/ 334 w 693"/>
              <a:gd name="T79" fmla="*/ 227 h 1641"/>
              <a:gd name="T80" fmla="*/ 381 w 693"/>
              <a:gd name="T81" fmla="*/ 413 h 1641"/>
              <a:gd name="T82" fmla="*/ 411 w 693"/>
              <a:gd name="T83" fmla="*/ 689 h 1641"/>
              <a:gd name="T84" fmla="*/ 473 w 693"/>
              <a:gd name="T85" fmla="*/ 485 h 1641"/>
              <a:gd name="T86" fmla="*/ 501 w 693"/>
              <a:gd name="T87" fmla="*/ 576 h 1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93" h="1641">
                <a:moveTo>
                  <a:pt x="669" y="1590"/>
                </a:moveTo>
                <a:cubicBezTo>
                  <a:pt x="650" y="1579"/>
                  <a:pt x="636" y="1550"/>
                  <a:pt x="629" y="1542"/>
                </a:cubicBezTo>
                <a:cubicBezTo>
                  <a:pt x="622" y="1535"/>
                  <a:pt x="631" y="1537"/>
                  <a:pt x="625" y="1522"/>
                </a:cubicBezTo>
                <a:cubicBezTo>
                  <a:pt x="619" y="1507"/>
                  <a:pt x="600" y="1419"/>
                  <a:pt x="597" y="1391"/>
                </a:cubicBezTo>
                <a:cubicBezTo>
                  <a:pt x="593" y="1362"/>
                  <a:pt x="595" y="1265"/>
                  <a:pt x="582" y="1219"/>
                </a:cubicBezTo>
                <a:cubicBezTo>
                  <a:pt x="568" y="1173"/>
                  <a:pt x="526" y="1025"/>
                  <a:pt x="520" y="985"/>
                </a:cubicBezTo>
                <a:cubicBezTo>
                  <a:pt x="514" y="944"/>
                  <a:pt x="505" y="903"/>
                  <a:pt x="505" y="881"/>
                </a:cubicBezTo>
                <a:cubicBezTo>
                  <a:pt x="505" y="858"/>
                  <a:pt x="503" y="843"/>
                  <a:pt x="496" y="827"/>
                </a:cubicBezTo>
                <a:cubicBezTo>
                  <a:pt x="490" y="811"/>
                  <a:pt x="498" y="789"/>
                  <a:pt x="498" y="789"/>
                </a:cubicBezTo>
                <a:cubicBezTo>
                  <a:pt x="498" y="789"/>
                  <a:pt x="514" y="801"/>
                  <a:pt x="524" y="810"/>
                </a:cubicBezTo>
                <a:cubicBezTo>
                  <a:pt x="534" y="819"/>
                  <a:pt x="534" y="805"/>
                  <a:pt x="529" y="785"/>
                </a:cubicBezTo>
                <a:cubicBezTo>
                  <a:pt x="524" y="765"/>
                  <a:pt x="527" y="754"/>
                  <a:pt x="532" y="760"/>
                </a:cubicBezTo>
                <a:cubicBezTo>
                  <a:pt x="537" y="767"/>
                  <a:pt x="541" y="728"/>
                  <a:pt x="553" y="705"/>
                </a:cubicBezTo>
                <a:cubicBezTo>
                  <a:pt x="566" y="681"/>
                  <a:pt x="593" y="633"/>
                  <a:pt x="587" y="606"/>
                </a:cubicBezTo>
                <a:cubicBezTo>
                  <a:pt x="581" y="578"/>
                  <a:pt x="578" y="530"/>
                  <a:pt x="571" y="506"/>
                </a:cubicBezTo>
                <a:cubicBezTo>
                  <a:pt x="563" y="483"/>
                  <a:pt x="556" y="441"/>
                  <a:pt x="547" y="415"/>
                </a:cubicBezTo>
                <a:cubicBezTo>
                  <a:pt x="538" y="389"/>
                  <a:pt x="540" y="376"/>
                  <a:pt x="529" y="350"/>
                </a:cubicBezTo>
                <a:cubicBezTo>
                  <a:pt x="517" y="324"/>
                  <a:pt x="505" y="295"/>
                  <a:pt x="505" y="282"/>
                </a:cubicBezTo>
                <a:cubicBezTo>
                  <a:pt x="505" y="275"/>
                  <a:pt x="502" y="269"/>
                  <a:pt x="491" y="265"/>
                </a:cubicBezTo>
                <a:cubicBezTo>
                  <a:pt x="483" y="261"/>
                  <a:pt x="469" y="258"/>
                  <a:pt x="449" y="255"/>
                </a:cubicBezTo>
                <a:cubicBezTo>
                  <a:pt x="428" y="252"/>
                  <a:pt x="409" y="248"/>
                  <a:pt x="394" y="243"/>
                </a:cubicBezTo>
                <a:cubicBezTo>
                  <a:pt x="393" y="243"/>
                  <a:pt x="392" y="242"/>
                  <a:pt x="391" y="242"/>
                </a:cubicBezTo>
                <a:cubicBezTo>
                  <a:pt x="391" y="242"/>
                  <a:pt x="390" y="242"/>
                  <a:pt x="390" y="242"/>
                </a:cubicBezTo>
                <a:cubicBezTo>
                  <a:pt x="370" y="235"/>
                  <a:pt x="344" y="214"/>
                  <a:pt x="344" y="214"/>
                </a:cubicBezTo>
                <a:cubicBezTo>
                  <a:pt x="336" y="225"/>
                  <a:pt x="336" y="225"/>
                  <a:pt x="336" y="225"/>
                </a:cubicBezTo>
                <a:cubicBezTo>
                  <a:pt x="339" y="221"/>
                  <a:pt x="341" y="218"/>
                  <a:pt x="344" y="214"/>
                </a:cubicBezTo>
                <a:cubicBezTo>
                  <a:pt x="341" y="211"/>
                  <a:pt x="336" y="204"/>
                  <a:pt x="341" y="204"/>
                </a:cubicBezTo>
                <a:cubicBezTo>
                  <a:pt x="352" y="203"/>
                  <a:pt x="354" y="159"/>
                  <a:pt x="360" y="146"/>
                </a:cubicBezTo>
                <a:cubicBezTo>
                  <a:pt x="366" y="133"/>
                  <a:pt x="364" y="124"/>
                  <a:pt x="360" y="112"/>
                </a:cubicBezTo>
                <a:cubicBezTo>
                  <a:pt x="356" y="101"/>
                  <a:pt x="364" y="84"/>
                  <a:pt x="354" y="65"/>
                </a:cubicBezTo>
                <a:cubicBezTo>
                  <a:pt x="344" y="47"/>
                  <a:pt x="358" y="24"/>
                  <a:pt x="344" y="22"/>
                </a:cubicBezTo>
                <a:cubicBezTo>
                  <a:pt x="330" y="20"/>
                  <a:pt x="335" y="3"/>
                  <a:pt x="322" y="3"/>
                </a:cubicBezTo>
                <a:cubicBezTo>
                  <a:pt x="318" y="3"/>
                  <a:pt x="315" y="2"/>
                  <a:pt x="313" y="0"/>
                </a:cubicBezTo>
                <a:cubicBezTo>
                  <a:pt x="302" y="21"/>
                  <a:pt x="285" y="14"/>
                  <a:pt x="285" y="14"/>
                </a:cubicBezTo>
                <a:cubicBezTo>
                  <a:pt x="259" y="8"/>
                  <a:pt x="242" y="14"/>
                  <a:pt x="230" y="23"/>
                </a:cubicBezTo>
                <a:cubicBezTo>
                  <a:pt x="230" y="23"/>
                  <a:pt x="229" y="24"/>
                  <a:pt x="228" y="24"/>
                </a:cubicBezTo>
                <a:cubicBezTo>
                  <a:pt x="213" y="38"/>
                  <a:pt x="208" y="57"/>
                  <a:pt x="208" y="58"/>
                </a:cubicBezTo>
                <a:cubicBezTo>
                  <a:pt x="207" y="65"/>
                  <a:pt x="206" y="72"/>
                  <a:pt x="206" y="77"/>
                </a:cubicBezTo>
                <a:cubicBezTo>
                  <a:pt x="208" y="95"/>
                  <a:pt x="213" y="113"/>
                  <a:pt x="214" y="121"/>
                </a:cubicBezTo>
                <a:cubicBezTo>
                  <a:pt x="215" y="128"/>
                  <a:pt x="219" y="158"/>
                  <a:pt x="225" y="158"/>
                </a:cubicBezTo>
                <a:cubicBezTo>
                  <a:pt x="231" y="158"/>
                  <a:pt x="233" y="159"/>
                  <a:pt x="233" y="159"/>
                </a:cubicBezTo>
                <a:cubicBezTo>
                  <a:pt x="233" y="159"/>
                  <a:pt x="240" y="182"/>
                  <a:pt x="240" y="200"/>
                </a:cubicBezTo>
                <a:cubicBezTo>
                  <a:pt x="240" y="208"/>
                  <a:pt x="240" y="212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24" y="238"/>
                  <a:pt x="206" y="246"/>
                </a:cubicBezTo>
                <a:cubicBezTo>
                  <a:pt x="188" y="255"/>
                  <a:pt x="162" y="268"/>
                  <a:pt x="147" y="272"/>
                </a:cubicBezTo>
                <a:cubicBezTo>
                  <a:pt x="136" y="275"/>
                  <a:pt x="124" y="279"/>
                  <a:pt x="115" y="285"/>
                </a:cubicBezTo>
                <a:cubicBezTo>
                  <a:pt x="103" y="293"/>
                  <a:pt x="93" y="305"/>
                  <a:pt x="89" y="326"/>
                </a:cubicBezTo>
                <a:cubicBezTo>
                  <a:pt x="82" y="365"/>
                  <a:pt x="42" y="495"/>
                  <a:pt x="22" y="531"/>
                </a:cubicBezTo>
                <a:cubicBezTo>
                  <a:pt x="3" y="567"/>
                  <a:pt x="0" y="616"/>
                  <a:pt x="20" y="646"/>
                </a:cubicBezTo>
                <a:cubicBezTo>
                  <a:pt x="39" y="676"/>
                  <a:pt x="86" y="750"/>
                  <a:pt x="93" y="760"/>
                </a:cubicBezTo>
                <a:cubicBezTo>
                  <a:pt x="100" y="770"/>
                  <a:pt x="102" y="778"/>
                  <a:pt x="113" y="777"/>
                </a:cubicBezTo>
                <a:cubicBezTo>
                  <a:pt x="113" y="777"/>
                  <a:pt x="114" y="776"/>
                  <a:pt x="115" y="776"/>
                </a:cubicBezTo>
                <a:cubicBezTo>
                  <a:pt x="124" y="776"/>
                  <a:pt x="130" y="777"/>
                  <a:pt x="130" y="777"/>
                </a:cubicBezTo>
                <a:cubicBezTo>
                  <a:pt x="130" y="777"/>
                  <a:pt x="135" y="796"/>
                  <a:pt x="143" y="802"/>
                </a:cubicBezTo>
                <a:cubicBezTo>
                  <a:pt x="151" y="808"/>
                  <a:pt x="161" y="828"/>
                  <a:pt x="163" y="821"/>
                </a:cubicBezTo>
                <a:cubicBezTo>
                  <a:pt x="166" y="814"/>
                  <a:pt x="173" y="872"/>
                  <a:pt x="180" y="903"/>
                </a:cubicBezTo>
                <a:cubicBezTo>
                  <a:pt x="187" y="934"/>
                  <a:pt x="220" y="1152"/>
                  <a:pt x="220" y="1183"/>
                </a:cubicBezTo>
                <a:cubicBezTo>
                  <a:pt x="220" y="1214"/>
                  <a:pt x="232" y="1246"/>
                  <a:pt x="231" y="1268"/>
                </a:cubicBezTo>
                <a:cubicBezTo>
                  <a:pt x="230" y="1291"/>
                  <a:pt x="235" y="1349"/>
                  <a:pt x="236" y="1381"/>
                </a:cubicBezTo>
                <a:cubicBezTo>
                  <a:pt x="237" y="1413"/>
                  <a:pt x="267" y="1447"/>
                  <a:pt x="267" y="1470"/>
                </a:cubicBezTo>
                <a:cubicBezTo>
                  <a:pt x="267" y="1494"/>
                  <a:pt x="260" y="1505"/>
                  <a:pt x="263" y="1519"/>
                </a:cubicBezTo>
                <a:cubicBezTo>
                  <a:pt x="267" y="1532"/>
                  <a:pt x="266" y="1542"/>
                  <a:pt x="251" y="1558"/>
                </a:cubicBezTo>
                <a:cubicBezTo>
                  <a:pt x="236" y="1574"/>
                  <a:pt x="230" y="1589"/>
                  <a:pt x="231" y="1602"/>
                </a:cubicBezTo>
                <a:cubicBezTo>
                  <a:pt x="232" y="1614"/>
                  <a:pt x="236" y="1619"/>
                  <a:pt x="266" y="1620"/>
                </a:cubicBezTo>
                <a:cubicBezTo>
                  <a:pt x="296" y="1621"/>
                  <a:pt x="324" y="1613"/>
                  <a:pt x="324" y="1605"/>
                </a:cubicBezTo>
                <a:cubicBezTo>
                  <a:pt x="324" y="1598"/>
                  <a:pt x="334" y="1595"/>
                  <a:pt x="343" y="1595"/>
                </a:cubicBezTo>
                <a:cubicBezTo>
                  <a:pt x="351" y="1595"/>
                  <a:pt x="350" y="1587"/>
                  <a:pt x="346" y="1569"/>
                </a:cubicBezTo>
                <a:cubicBezTo>
                  <a:pt x="343" y="1552"/>
                  <a:pt x="330" y="1528"/>
                  <a:pt x="338" y="1531"/>
                </a:cubicBezTo>
                <a:cubicBezTo>
                  <a:pt x="345" y="1533"/>
                  <a:pt x="351" y="1528"/>
                  <a:pt x="351" y="1504"/>
                </a:cubicBezTo>
                <a:cubicBezTo>
                  <a:pt x="351" y="1479"/>
                  <a:pt x="355" y="1471"/>
                  <a:pt x="344" y="1457"/>
                </a:cubicBezTo>
                <a:cubicBezTo>
                  <a:pt x="333" y="1442"/>
                  <a:pt x="335" y="1415"/>
                  <a:pt x="338" y="1392"/>
                </a:cubicBezTo>
                <a:cubicBezTo>
                  <a:pt x="340" y="1370"/>
                  <a:pt x="348" y="1354"/>
                  <a:pt x="342" y="1327"/>
                </a:cubicBezTo>
                <a:cubicBezTo>
                  <a:pt x="335" y="1299"/>
                  <a:pt x="334" y="1266"/>
                  <a:pt x="338" y="1252"/>
                </a:cubicBezTo>
                <a:cubicBezTo>
                  <a:pt x="342" y="1239"/>
                  <a:pt x="339" y="1222"/>
                  <a:pt x="329" y="1211"/>
                </a:cubicBezTo>
                <a:cubicBezTo>
                  <a:pt x="319" y="1200"/>
                  <a:pt x="334" y="1180"/>
                  <a:pt x="334" y="1168"/>
                </a:cubicBezTo>
                <a:cubicBezTo>
                  <a:pt x="334" y="1156"/>
                  <a:pt x="330" y="1104"/>
                  <a:pt x="337" y="1052"/>
                </a:cubicBezTo>
                <a:cubicBezTo>
                  <a:pt x="343" y="999"/>
                  <a:pt x="344" y="960"/>
                  <a:pt x="345" y="946"/>
                </a:cubicBezTo>
                <a:cubicBezTo>
                  <a:pt x="346" y="933"/>
                  <a:pt x="354" y="939"/>
                  <a:pt x="372" y="991"/>
                </a:cubicBezTo>
                <a:cubicBezTo>
                  <a:pt x="391" y="1043"/>
                  <a:pt x="438" y="1205"/>
                  <a:pt x="447" y="1241"/>
                </a:cubicBezTo>
                <a:cubicBezTo>
                  <a:pt x="454" y="1272"/>
                  <a:pt x="480" y="1385"/>
                  <a:pt x="491" y="1436"/>
                </a:cubicBezTo>
                <a:cubicBezTo>
                  <a:pt x="493" y="1444"/>
                  <a:pt x="494" y="1451"/>
                  <a:pt x="495" y="1455"/>
                </a:cubicBezTo>
                <a:cubicBezTo>
                  <a:pt x="501" y="1486"/>
                  <a:pt x="509" y="1548"/>
                  <a:pt x="517" y="1548"/>
                </a:cubicBezTo>
                <a:cubicBezTo>
                  <a:pt x="526" y="1548"/>
                  <a:pt x="524" y="1554"/>
                  <a:pt x="525" y="1572"/>
                </a:cubicBezTo>
                <a:cubicBezTo>
                  <a:pt x="526" y="1589"/>
                  <a:pt x="543" y="1592"/>
                  <a:pt x="553" y="1595"/>
                </a:cubicBezTo>
                <a:cubicBezTo>
                  <a:pt x="563" y="1599"/>
                  <a:pt x="566" y="1589"/>
                  <a:pt x="566" y="1589"/>
                </a:cubicBezTo>
                <a:cubicBezTo>
                  <a:pt x="566" y="1589"/>
                  <a:pt x="582" y="1623"/>
                  <a:pt x="610" y="1626"/>
                </a:cubicBezTo>
                <a:cubicBezTo>
                  <a:pt x="639" y="1630"/>
                  <a:pt x="693" y="1641"/>
                  <a:pt x="693" y="1628"/>
                </a:cubicBezTo>
                <a:cubicBezTo>
                  <a:pt x="693" y="1614"/>
                  <a:pt x="687" y="1602"/>
                  <a:pt x="669" y="1590"/>
                </a:cubicBezTo>
                <a:close/>
                <a:moveTo>
                  <a:pt x="128" y="644"/>
                </a:moveTo>
                <a:cubicBezTo>
                  <a:pt x="128" y="632"/>
                  <a:pt x="122" y="619"/>
                  <a:pt x="115" y="608"/>
                </a:cubicBezTo>
                <a:cubicBezTo>
                  <a:pt x="105" y="594"/>
                  <a:pt x="95" y="582"/>
                  <a:pt x="99" y="575"/>
                </a:cubicBezTo>
                <a:cubicBezTo>
                  <a:pt x="105" y="563"/>
                  <a:pt x="110" y="563"/>
                  <a:pt x="115" y="554"/>
                </a:cubicBezTo>
                <a:cubicBezTo>
                  <a:pt x="118" y="549"/>
                  <a:pt x="121" y="541"/>
                  <a:pt x="125" y="524"/>
                </a:cubicBezTo>
                <a:cubicBezTo>
                  <a:pt x="124" y="559"/>
                  <a:pt x="136" y="611"/>
                  <a:pt x="128" y="644"/>
                </a:cubicBezTo>
                <a:close/>
                <a:moveTo>
                  <a:pt x="411" y="689"/>
                </a:moveTo>
                <a:cubicBezTo>
                  <a:pt x="407" y="690"/>
                  <a:pt x="402" y="690"/>
                  <a:pt x="395" y="690"/>
                </a:cubicBezTo>
                <a:cubicBezTo>
                  <a:pt x="395" y="685"/>
                  <a:pt x="395" y="680"/>
                  <a:pt x="393" y="674"/>
                </a:cubicBezTo>
                <a:cubicBezTo>
                  <a:pt x="389" y="655"/>
                  <a:pt x="367" y="523"/>
                  <a:pt x="351" y="448"/>
                </a:cubicBezTo>
                <a:cubicBezTo>
                  <a:pt x="335" y="373"/>
                  <a:pt x="318" y="317"/>
                  <a:pt x="314" y="307"/>
                </a:cubicBezTo>
                <a:cubicBezTo>
                  <a:pt x="310" y="297"/>
                  <a:pt x="323" y="293"/>
                  <a:pt x="323" y="293"/>
                </a:cubicBezTo>
                <a:cubicBezTo>
                  <a:pt x="299" y="269"/>
                  <a:pt x="299" y="269"/>
                  <a:pt x="299" y="269"/>
                </a:cubicBezTo>
                <a:cubicBezTo>
                  <a:pt x="288" y="274"/>
                  <a:pt x="280" y="291"/>
                  <a:pt x="280" y="291"/>
                </a:cubicBezTo>
                <a:cubicBezTo>
                  <a:pt x="280" y="291"/>
                  <a:pt x="292" y="299"/>
                  <a:pt x="294" y="307"/>
                </a:cubicBezTo>
                <a:cubicBezTo>
                  <a:pt x="296" y="315"/>
                  <a:pt x="292" y="325"/>
                  <a:pt x="286" y="343"/>
                </a:cubicBezTo>
                <a:cubicBezTo>
                  <a:pt x="281" y="362"/>
                  <a:pt x="288" y="443"/>
                  <a:pt x="295" y="485"/>
                </a:cubicBezTo>
                <a:cubicBezTo>
                  <a:pt x="302" y="527"/>
                  <a:pt x="315" y="621"/>
                  <a:pt x="323" y="669"/>
                </a:cubicBezTo>
                <a:cubicBezTo>
                  <a:pt x="324" y="677"/>
                  <a:pt x="326" y="683"/>
                  <a:pt x="327" y="689"/>
                </a:cubicBezTo>
                <a:cubicBezTo>
                  <a:pt x="308" y="688"/>
                  <a:pt x="289" y="687"/>
                  <a:pt x="274" y="687"/>
                </a:cubicBezTo>
                <a:cubicBezTo>
                  <a:pt x="232" y="687"/>
                  <a:pt x="191" y="692"/>
                  <a:pt x="191" y="692"/>
                </a:cubicBezTo>
                <a:cubicBezTo>
                  <a:pt x="191" y="692"/>
                  <a:pt x="199" y="672"/>
                  <a:pt x="212" y="643"/>
                </a:cubicBezTo>
                <a:cubicBezTo>
                  <a:pt x="224" y="615"/>
                  <a:pt x="226" y="589"/>
                  <a:pt x="235" y="542"/>
                </a:cubicBezTo>
                <a:cubicBezTo>
                  <a:pt x="245" y="495"/>
                  <a:pt x="237" y="463"/>
                  <a:pt x="237" y="406"/>
                </a:cubicBezTo>
                <a:cubicBezTo>
                  <a:pt x="237" y="361"/>
                  <a:pt x="234" y="300"/>
                  <a:pt x="231" y="263"/>
                </a:cubicBezTo>
                <a:cubicBezTo>
                  <a:pt x="231" y="257"/>
                  <a:pt x="231" y="235"/>
                  <a:pt x="248" y="225"/>
                </a:cubicBezTo>
                <a:cubicBezTo>
                  <a:pt x="257" y="236"/>
                  <a:pt x="268" y="248"/>
                  <a:pt x="281" y="257"/>
                </a:cubicBezTo>
                <a:cubicBezTo>
                  <a:pt x="304" y="273"/>
                  <a:pt x="306" y="261"/>
                  <a:pt x="320" y="244"/>
                </a:cubicBezTo>
                <a:cubicBezTo>
                  <a:pt x="326" y="237"/>
                  <a:pt x="330" y="232"/>
                  <a:pt x="334" y="227"/>
                </a:cubicBezTo>
                <a:cubicBezTo>
                  <a:pt x="334" y="227"/>
                  <a:pt x="334" y="227"/>
                  <a:pt x="334" y="227"/>
                </a:cubicBezTo>
                <a:cubicBezTo>
                  <a:pt x="353" y="218"/>
                  <a:pt x="370" y="255"/>
                  <a:pt x="370" y="255"/>
                </a:cubicBezTo>
                <a:cubicBezTo>
                  <a:pt x="382" y="288"/>
                  <a:pt x="381" y="349"/>
                  <a:pt x="381" y="413"/>
                </a:cubicBezTo>
                <a:cubicBezTo>
                  <a:pt x="381" y="478"/>
                  <a:pt x="393" y="542"/>
                  <a:pt x="406" y="589"/>
                </a:cubicBezTo>
                <a:cubicBezTo>
                  <a:pt x="418" y="636"/>
                  <a:pt x="437" y="678"/>
                  <a:pt x="437" y="678"/>
                </a:cubicBezTo>
                <a:cubicBezTo>
                  <a:pt x="437" y="678"/>
                  <a:pt x="426" y="684"/>
                  <a:pt x="411" y="689"/>
                </a:cubicBezTo>
                <a:close/>
                <a:moveTo>
                  <a:pt x="491" y="631"/>
                </a:moveTo>
                <a:cubicBezTo>
                  <a:pt x="489" y="627"/>
                  <a:pt x="490" y="600"/>
                  <a:pt x="484" y="579"/>
                </a:cubicBezTo>
                <a:cubicBezTo>
                  <a:pt x="477" y="556"/>
                  <a:pt x="474" y="524"/>
                  <a:pt x="473" y="485"/>
                </a:cubicBezTo>
                <a:cubicBezTo>
                  <a:pt x="473" y="485"/>
                  <a:pt x="482" y="518"/>
                  <a:pt x="491" y="538"/>
                </a:cubicBezTo>
                <a:cubicBezTo>
                  <a:pt x="495" y="547"/>
                  <a:pt x="498" y="553"/>
                  <a:pt x="501" y="553"/>
                </a:cubicBezTo>
                <a:cubicBezTo>
                  <a:pt x="511" y="556"/>
                  <a:pt x="512" y="570"/>
                  <a:pt x="501" y="576"/>
                </a:cubicBezTo>
                <a:cubicBezTo>
                  <a:pt x="490" y="582"/>
                  <a:pt x="498" y="624"/>
                  <a:pt x="493" y="630"/>
                </a:cubicBezTo>
                <a:cubicBezTo>
                  <a:pt x="492" y="631"/>
                  <a:pt x="491" y="631"/>
                  <a:pt x="491" y="631"/>
                </a:cubicBezTo>
                <a:close/>
              </a:path>
            </a:pathLst>
          </a:custGeom>
          <a:solidFill>
            <a:srgbClr val="2980B9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95A5A6"/>
              </a:solidFill>
              <a:effectLst/>
              <a:uLnTx/>
              <a:uFillTx/>
            </a:endParaRPr>
          </a:p>
        </p:txBody>
      </p:sp>
      <p:cxnSp>
        <p:nvCxnSpPr>
          <p:cNvPr id="200" name="Elbow Connector 199">
            <a:extLst>
              <a:ext uri="{FF2B5EF4-FFF2-40B4-BE49-F238E27FC236}">
                <a16:creationId xmlns:a16="http://schemas.microsoft.com/office/drawing/2014/main" xmlns="" id="{00D3384C-F735-E942-9FCB-E5D2B751F1F8}"/>
              </a:ext>
            </a:extLst>
          </p:cNvPr>
          <p:cNvCxnSpPr>
            <a:cxnSpLocks/>
          </p:cNvCxnSpPr>
          <p:nvPr/>
        </p:nvCxnSpPr>
        <p:spPr>
          <a:xfrm rot="10800000">
            <a:off x="7687548" y="4503551"/>
            <a:ext cx="1564206" cy="37363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>
                <a:lumMod val="60000"/>
                <a:lumOff val="40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xmlns="" id="{6E09F6AA-FB22-0D41-8DE2-37EAB700112E}"/>
              </a:ext>
            </a:extLst>
          </p:cNvPr>
          <p:cNvCxnSpPr/>
          <p:nvPr/>
        </p:nvCxnSpPr>
        <p:spPr>
          <a:xfrm flipH="1">
            <a:off x="7995978" y="3064706"/>
            <a:ext cx="1255776" cy="0"/>
          </a:xfrm>
          <a:prstGeom prst="line">
            <a:avLst/>
          </a:prstGeom>
          <a:ln w="19050">
            <a:solidFill>
              <a:schemeClr val="accent5">
                <a:lumMod val="7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Elbow Connector 198">
            <a:extLst>
              <a:ext uri="{FF2B5EF4-FFF2-40B4-BE49-F238E27FC236}">
                <a16:creationId xmlns:a16="http://schemas.microsoft.com/office/drawing/2014/main" xmlns="" id="{FB3A2234-13FF-F544-93C3-5B560B4A654D}"/>
              </a:ext>
            </a:extLst>
          </p:cNvPr>
          <p:cNvCxnSpPr>
            <a:cxnSpLocks/>
          </p:cNvCxnSpPr>
          <p:nvPr/>
        </p:nvCxnSpPr>
        <p:spPr>
          <a:xfrm rot="10800000" flipV="1">
            <a:off x="7947184" y="735551"/>
            <a:ext cx="1304570" cy="683894"/>
          </a:xfrm>
          <a:prstGeom prst="bentConnector3">
            <a:avLst>
              <a:gd name="adj1" fmla="val 50000"/>
            </a:avLst>
          </a:prstGeom>
          <a:ln w="19050">
            <a:solidFill>
              <a:srgbClr val="00B0F0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Elbow Connector 196">
            <a:extLst>
              <a:ext uri="{FF2B5EF4-FFF2-40B4-BE49-F238E27FC236}">
                <a16:creationId xmlns:a16="http://schemas.microsoft.com/office/drawing/2014/main" xmlns="" id="{9144DF66-46FD-A742-B48E-FBD64D4C1107}"/>
              </a:ext>
            </a:extLst>
          </p:cNvPr>
          <p:cNvCxnSpPr>
            <a:cxnSpLocks/>
          </p:cNvCxnSpPr>
          <p:nvPr/>
        </p:nvCxnSpPr>
        <p:spPr>
          <a:xfrm rot="10800000" flipV="1">
            <a:off x="2515438" y="4509547"/>
            <a:ext cx="1781281" cy="537862"/>
          </a:xfrm>
          <a:prstGeom prst="bentConnector3">
            <a:avLst>
              <a:gd name="adj1" fmla="val 50000"/>
            </a:avLst>
          </a:prstGeom>
          <a:ln w="19050">
            <a:solidFill>
              <a:srgbClr val="FE6B6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xmlns="" id="{BF4FCFC6-1C93-CF41-BFB2-F0E3FE35253A}"/>
              </a:ext>
            </a:extLst>
          </p:cNvPr>
          <p:cNvCxnSpPr/>
          <p:nvPr/>
        </p:nvCxnSpPr>
        <p:spPr>
          <a:xfrm flipH="1">
            <a:off x="2515438" y="3074641"/>
            <a:ext cx="1255776" cy="0"/>
          </a:xfrm>
          <a:prstGeom prst="line">
            <a:avLst/>
          </a:prstGeom>
          <a:ln w="19050">
            <a:solidFill>
              <a:srgbClr val="DCA3B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Elbow Connector 191">
            <a:extLst>
              <a:ext uri="{FF2B5EF4-FFF2-40B4-BE49-F238E27FC236}">
                <a16:creationId xmlns:a16="http://schemas.microsoft.com/office/drawing/2014/main" xmlns="" id="{A6469AF8-0037-7146-B48D-0D5013A52E25}"/>
              </a:ext>
            </a:extLst>
          </p:cNvPr>
          <p:cNvCxnSpPr>
            <a:cxnSpLocks/>
          </p:cNvCxnSpPr>
          <p:nvPr/>
        </p:nvCxnSpPr>
        <p:spPr>
          <a:xfrm rot="10800000">
            <a:off x="2631250" y="754361"/>
            <a:ext cx="1304570" cy="683894"/>
          </a:xfrm>
          <a:prstGeom prst="bentConnector3">
            <a:avLst>
              <a:gd name="adj1" fmla="val 50000"/>
            </a:avLst>
          </a:prstGeom>
          <a:ln w="19050">
            <a:solidFill>
              <a:srgbClr val="7030A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Freeform 109">
            <a:extLst>
              <a:ext uri="{FF2B5EF4-FFF2-40B4-BE49-F238E27FC236}">
                <a16:creationId xmlns:a16="http://schemas.microsoft.com/office/drawing/2014/main" xmlns="" id="{8AA22DEA-1039-B84E-B058-49E02FF699BF}"/>
              </a:ext>
            </a:extLst>
          </p:cNvPr>
          <p:cNvSpPr/>
          <p:nvPr/>
        </p:nvSpPr>
        <p:spPr>
          <a:xfrm rot="7200000" flipH="1">
            <a:off x="4962173" y="277611"/>
            <a:ext cx="2059145" cy="2750239"/>
          </a:xfrm>
          <a:custGeom>
            <a:avLst/>
            <a:gdLst>
              <a:gd name="connsiteX0" fmla="*/ 1721109 w 2059145"/>
              <a:gd name="connsiteY0" fmla="*/ 1653996 h 2750239"/>
              <a:gd name="connsiteX1" fmla="*/ 2052870 w 2059145"/>
              <a:gd name="connsiteY1" fmla="*/ 218616 h 2750239"/>
              <a:gd name="connsiteX2" fmla="*/ 2026846 w 2059145"/>
              <a:gd name="connsiteY2" fmla="*/ 0 h 2750239"/>
              <a:gd name="connsiteX3" fmla="*/ 785393 w 2059145"/>
              <a:gd name="connsiteY3" fmla="*/ 218901 h 2750239"/>
              <a:gd name="connsiteX4" fmla="*/ 795798 w 2059145"/>
              <a:gd name="connsiteY4" fmla="*/ 306306 h 2750239"/>
              <a:gd name="connsiteX5" fmla="*/ 629917 w 2059145"/>
              <a:gd name="connsiteY5" fmla="*/ 1023996 h 2750239"/>
              <a:gd name="connsiteX6" fmla="*/ 91320 w 2059145"/>
              <a:gd name="connsiteY6" fmla="*/ 1526497 h 2750239"/>
              <a:gd name="connsiteX7" fmla="*/ 0 w 2059145"/>
              <a:gd name="connsiteY7" fmla="*/ 1565658 h 2750239"/>
              <a:gd name="connsiteX8" fmla="*/ 431152 w 2059145"/>
              <a:gd name="connsiteY8" fmla="*/ 2750239 h 2750239"/>
              <a:gd name="connsiteX9" fmla="*/ 643914 w 2059145"/>
              <a:gd name="connsiteY9" fmla="*/ 2658999 h 2750239"/>
              <a:gd name="connsiteX10" fmla="*/ 1721109 w 2059145"/>
              <a:gd name="connsiteY10" fmla="*/ 1653996 h 2750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059145" h="2750239">
                <a:moveTo>
                  <a:pt x="1721109" y="1653996"/>
                </a:moveTo>
                <a:cubicBezTo>
                  <a:pt x="1982063" y="1202009"/>
                  <a:pt x="2087087" y="702785"/>
                  <a:pt x="2052870" y="218616"/>
                </a:cubicBezTo>
                <a:lnTo>
                  <a:pt x="2026846" y="0"/>
                </a:lnTo>
                <a:lnTo>
                  <a:pt x="785393" y="218901"/>
                </a:lnTo>
                <a:lnTo>
                  <a:pt x="795798" y="306306"/>
                </a:lnTo>
                <a:cubicBezTo>
                  <a:pt x="812906" y="548390"/>
                  <a:pt x="760394" y="798002"/>
                  <a:pt x="629917" y="1023996"/>
                </a:cubicBezTo>
                <a:cubicBezTo>
                  <a:pt x="499440" y="1249989"/>
                  <a:pt x="309525" y="1420272"/>
                  <a:pt x="91320" y="1526497"/>
                </a:cubicBezTo>
                <a:lnTo>
                  <a:pt x="0" y="1565658"/>
                </a:lnTo>
                <a:lnTo>
                  <a:pt x="431152" y="2750239"/>
                </a:lnTo>
                <a:lnTo>
                  <a:pt x="643914" y="2658999"/>
                </a:lnTo>
                <a:cubicBezTo>
                  <a:pt x="1080325" y="2446547"/>
                  <a:pt x="1460154" y="2105982"/>
                  <a:pt x="1721109" y="1653996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9" name="Freeform 108">
            <a:extLst>
              <a:ext uri="{FF2B5EF4-FFF2-40B4-BE49-F238E27FC236}">
                <a16:creationId xmlns:a16="http://schemas.microsoft.com/office/drawing/2014/main" xmlns="" id="{F7BB818D-1D67-894A-9D54-A1FCCF21AE8C}"/>
              </a:ext>
            </a:extLst>
          </p:cNvPr>
          <p:cNvSpPr/>
          <p:nvPr/>
        </p:nvSpPr>
        <p:spPr>
          <a:xfrm rot="7200000" flipH="1">
            <a:off x="6964890" y="977270"/>
            <a:ext cx="1634702" cy="1653875"/>
          </a:xfrm>
          <a:custGeom>
            <a:avLst/>
            <a:gdLst>
              <a:gd name="connsiteX0" fmla="*/ 1634702 w 1634702"/>
              <a:gd name="connsiteY0" fmla="*/ 1435157 h 1653875"/>
              <a:gd name="connsiteX1" fmla="*/ 1594974 w 1634702"/>
              <a:gd name="connsiteY1" fmla="*/ 1252435 h 1653875"/>
              <a:gd name="connsiteX2" fmla="*/ 835069 w 1634702"/>
              <a:gd name="connsiteY2" fmla="*/ 20546 h 1653875"/>
              <a:gd name="connsiteX3" fmla="*/ 809401 w 1634702"/>
              <a:gd name="connsiteY3" fmla="*/ 0 h 1653875"/>
              <a:gd name="connsiteX4" fmla="*/ 0 w 1634702"/>
              <a:gd name="connsiteY4" fmla="*/ 964607 h 1653875"/>
              <a:gd name="connsiteX5" fmla="*/ 87005 w 1634702"/>
              <a:gd name="connsiteY5" fmla="*/ 1049867 h 1653875"/>
              <a:gd name="connsiteX6" fmla="*/ 377908 w 1634702"/>
              <a:gd name="connsiteY6" fmla="*/ 1578546 h 1653875"/>
              <a:gd name="connsiteX7" fmla="*/ 394286 w 1634702"/>
              <a:gd name="connsiteY7" fmla="*/ 1653875 h 1653875"/>
              <a:gd name="connsiteX8" fmla="*/ 1634702 w 1634702"/>
              <a:gd name="connsiteY8" fmla="*/ 1435157 h 1653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4702" h="1653875">
                <a:moveTo>
                  <a:pt x="1634702" y="1435157"/>
                </a:moveTo>
                <a:lnTo>
                  <a:pt x="1594974" y="1252435"/>
                </a:lnTo>
                <a:cubicBezTo>
                  <a:pt x="1469785" y="785223"/>
                  <a:pt x="1210920" y="353829"/>
                  <a:pt x="835069" y="20546"/>
                </a:cubicBezTo>
                <a:lnTo>
                  <a:pt x="809401" y="0"/>
                </a:lnTo>
                <a:lnTo>
                  <a:pt x="0" y="964607"/>
                </a:lnTo>
                <a:lnTo>
                  <a:pt x="87005" y="1049867"/>
                </a:lnTo>
                <a:cubicBezTo>
                  <a:pt x="227168" y="1201641"/>
                  <a:pt x="325745" y="1383875"/>
                  <a:pt x="377908" y="1578546"/>
                </a:cubicBezTo>
                <a:lnTo>
                  <a:pt x="394286" y="1653875"/>
                </a:lnTo>
                <a:lnTo>
                  <a:pt x="1634702" y="1435157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8" name="Freeform 107">
            <a:extLst>
              <a:ext uri="{FF2B5EF4-FFF2-40B4-BE49-F238E27FC236}">
                <a16:creationId xmlns:a16="http://schemas.microsoft.com/office/drawing/2014/main" xmlns="" id="{AF2E5952-AC01-CD49-BFAE-D958EFE61E86}"/>
              </a:ext>
            </a:extLst>
          </p:cNvPr>
          <p:cNvSpPr/>
          <p:nvPr/>
        </p:nvSpPr>
        <p:spPr>
          <a:xfrm rot="7200000" flipH="1">
            <a:off x="3583939" y="1113184"/>
            <a:ext cx="1650289" cy="1325559"/>
          </a:xfrm>
          <a:custGeom>
            <a:avLst/>
            <a:gdLst>
              <a:gd name="connsiteX0" fmla="*/ 1650289 w 1650289"/>
              <a:gd name="connsiteY0" fmla="*/ 1185768 h 1325559"/>
              <a:gd name="connsiteX1" fmla="*/ 1219497 w 1650289"/>
              <a:gd name="connsiteY1" fmla="*/ 2176 h 1325559"/>
              <a:gd name="connsiteX2" fmla="*/ 1156865 w 1650289"/>
              <a:gd name="connsiteY2" fmla="*/ 22206 h 1325559"/>
              <a:gd name="connsiteX3" fmla="*/ 433466 w 1650289"/>
              <a:gd name="connsiteY3" fmla="*/ 1128 h 1325559"/>
              <a:gd name="connsiteX4" fmla="*/ 430576 w 1650289"/>
              <a:gd name="connsiteY4" fmla="*/ 0 h 1325559"/>
              <a:gd name="connsiteX5" fmla="*/ 0 w 1650289"/>
              <a:gd name="connsiteY5" fmla="*/ 1182997 h 1325559"/>
              <a:gd name="connsiteX6" fmla="*/ 36178 w 1650289"/>
              <a:gd name="connsiteY6" fmla="*/ 1197119 h 1325559"/>
              <a:gd name="connsiteX7" fmla="*/ 1482977 w 1650289"/>
              <a:gd name="connsiteY7" fmla="*/ 1239272 h 1325559"/>
              <a:gd name="connsiteX8" fmla="*/ 1650289 w 1650289"/>
              <a:gd name="connsiteY8" fmla="*/ 1185768 h 1325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50289" h="1325559">
                <a:moveTo>
                  <a:pt x="1650289" y="1185768"/>
                </a:moveTo>
                <a:lnTo>
                  <a:pt x="1219497" y="2176"/>
                </a:lnTo>
                <a:lnTo>
                  <a:pt x="1156865" y="22206"/>
                </a:lnTo>
                <a:cubicBezTo>
                  <a:pt x="923259" y="84800"/>
                  <a:pt x="671744" y="80556"/>
                  <a:pt x="433466" y="1128"/>
                </a:cubicBezTo>
                <a:lnTo>
                  <a:pt x="430576" y="0"/>
                </a:lnTo>
                <a:lnTo>
                  <a:pt x="0" y="1182997"/>
                </a:lnTo>
                <a:lnTo>
                  <a:pt x="36178" y="1197119"/>
                </a:lnTo>
                <a:cubicBezTo>
                  <a:pt x="512735" y="1355974"/>
                  <a:pt x="1015765" y="1364461"/>
                  <a:pt x="1482977" y="1239272"/>
                </a:cubicBezTo>
                <a:lnTo>
                  <a:pt x="1650289" y="1185768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1" name="Freeform 100">
            <a:extLst>
              <a:ext uri="{FF2B5EF4-FFF2-40B4-BE49-F238E27FC236}">
                <a16:creationId xmlns:a16="http://schemas.microsoft.com/office/drawing/2014/main" xmlns="" id="{A80BCE12-1262-5447-8EE9-748D7A6FE649}"/>
              </a:ext>
            </a:extLst>
          </p:cNvPr>
          <p:cNvSpPr/>
          <p:nvPr/>
        </p:nvSpPr>
        <p:spPr>
          <a:xfrm rot="7200000" flipH="1">
            <a:off x="7171534" y="2106610"/>
            <a:ext cx="1549805" cy="1531272"/>
          </a:xfrm>
          <a:custGeom>
            <a:avLst/>
            <a:gdLst>
              <a:gd name="connsiteX0" fmla="*/ 1549805 w 1549805"/>
              <a:gd name="connsiteY0" fmla="*/ 566884 h 1531272"/>
              <a:gd name="connsiteX1" fmla="*/ 1437875 w 1549805"/>
              <a:gd name="connsiteY1" fmla="*/ 477284 h 1531272"/>
              <a:gd name="connsiteX2" fmla="*/ 1221244 w 1549805"/>
              <a:gd name="connsiteY2" fmla="*/ 337190 h 1531272"/>
              <a:gd name="connsiteX3" fmla="*/ 28915 w 1549805"/>
              <a:gd name="connsiteY3" fmla="*/ 0 h 1531272"/>
              <a:gd name="connsiteX4" fmla="*/ 0 w 1549805"/>
              <a:gd name="connsiteY4" fmla="*/ 646 h 1531272"/>
              <a:gd name="connsiteX5" fmla="*/ 0 w 1549805"/>
              <a:gd name="connsiteY5" fmla="*/ 1260155 h 1531272"/>
              <a:gd name="connsiteX6" fmla="*/ 116994 w 1549805"/>
              <a:gd name="connsiteY6" fmla="*/ 1268908 h 1531272"/>
              <a:gd name="connsiteX7" fmla="*/ 591244 w 1549805"/>
              <a:gd name="connsiteY7" fmla="*/ 1428382 h 1531272"/>
              <a:gd name="connsiteX8" fmla="*/ 699560 w 1549805"/>
              <a:gd name="connsiteY8" fmla="*/ 1498429 h 1531272"/>
              <a:gd name="connsiteX9" fmla="*/ 740588 w 1549805"/>
              <a:gd name="connsiteY9" fmla="*/ 1531272 h 1531272"/>
              <a:gd name="connsiteX10" fmla="*/ 1549805 w 1549805"/>
              <a:gd name="connsiteY10" fmla="*/ 566884 h 15312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549805" h="1531272">
                <a:moveTo>
                  <a:pt x="1549805" y="566884"/>
                </a:moveTo>
                <a:lnTo>
                  <a:pt x="1437875" y="477284"/>
                </a:lnTo>
                <a:cubicBezTo>
                  <a:pt x="1368811" y="427476"/>
                  <a:pt x="1296575" y="380682"/>
                  <a:pt x="1221244" y="337190"/>
                </a:cubicBezTo>
                <a:cubicBezTo>
                  <a:pt x="844588" y="119727"/>
                  <a:pt x="435129" y="10551"/>
                  <a:pt x="28915" y="0"/>
                </a:cubicBezTo>
                <a:lnTo>
                  <a:pt x="0" y="646"/>
                </a:lnTo>
                <a:lnTo>
                  <a:pt x="0" y="1260155"/>
                </a:lnTo>
                <a:lnTo>
                  <a:pt x="116994" y="1268908"/>
                </a:lnTo>
                <a:cubicBezTo>
                  <a:pt x="279422" y="1289063"/>
                  <a:pt x="440582" y="1341397"/>
                  <a:pt x="591244" y="1428382"/>
                </a:cubicBezTo>
                <a:cubicBezTo>
                  <a:pt x="628909" y="1450128"/>
                  <a:pt x="665028" y="1473525"/>
                  <a:pt x="699560" y="1498429"/>
                </a:cubicBezTo>
                <a:lnTo>
                  <a:pt x="740588" y="1531272"/>
                </a:lnTo>
                <a:lnTo>
                  <a:pt x="1549805" y="566884"/>
                </a:lnTo>
                <a:close/>
              </a:path>
            </a:pathLst>
          </a:custGeom>
          <a:gradFill>
            <a:gsLst>
              <a:gs pos="13000">
                <a:srgbClr val="0070C0"/>
              </a:gs>
              <a:gs pos="100000">
                <a:srgbClr val="92D050"/>
              </a:gs>
            </a:gsLst>
            <a:lin ang="2700000" scaled="1"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0" name="Freeform 99">
            <a:extLst>
              <a:ext uri="{FF2B5EF4-FFF2-40B4-BE49-F238E27FC236}">
                <a16:creationId xmlns:a16="http://schemas.microsoft.com/office/drawing/2014/main" xmlns="" id="{92541686-249C-3049-8903-1AF769BC252A}"/>
              </a:ext>
            </a:extLst>
          </p:cNvPr>
          <p:cNvSpPr/>
          <p:nvPr/>
        </p:nvSpPr>
        <p:spPr>
          <a:xfrm rot="7200000" flipH="1">
            <a:off x="3212300" y="2243794"/>
            <a:ext cx="1686956" cy="1680865"/>
          </a:xfrm>
          <a:custGeom>
            <a:avLst/>
            <a:gdLst>
              <a:gd name="connsiteX0" fmla="*/ 1256380 w 1686956"/>
              <a:gd name="connsiteY0" fmla="*/ 1680865 h 1680865"/>
              <a:gd name="connsiteX1" fmla="*/ 1686956 w 1686956"/>
              <a:gd name="connsiteY1" fmla="*/ 497868 h 1680865"/>
              <a:gd name="connsiteX2" fmla="*/ 1643549 w 1686956"/>
              <a:gd name="connsiteY2" fmla="*/ 480925 h 1680865"/>
              <a:gd name="connsiteX3" fmla="*/ 1528728 w 1686956"/>
              <a:gd name="connsiteY3" fmla="*/ 422145 h 1680865"/>
              <a:gd name="connsiteX4" fmla="*/ 1153495 w 1686956"/>
              <a:gd name="connsiteY4" fmla="*/ 91169 h 1680865"/>
              <a:gd name="connsiteX5" fmla="*/ 1091353 w 1686956"/>
              <a:gd name="connsiteY5" fmla="*/ 0 h 1680865"/>
              <a:gd name="connsiteX6" fmla="*/ 0 w 1686956"/>
              <a:gd name="connsiteY6" fmla="*/ 630093 h 1680865"/>
              <a:gd name="connsiteX7" fmla="*/ 10549 w 1686956"/>
              <a:gd name="connsiteY7" fmla="*/ 649344 h 1680865"/>
              <a:gd name="connsiteX8" fmla="*/ 898728 w 1686956"/>
              <a:gd name="connsiteY8" fmla="*/ 1513337 h 1680865"/>
              <a:gd name="connsiteX9" fmla="*/ 1128369 w 1686956"/>
              <a:gd name="connsiteY9" fmla="*/ 1630897 h 1680865"/>
              <a:gd name="connsiteX10" fmla="*/ 1256380 w 1686956"/>
              <a:gd name="connsiteY10" fmla="*/ 1680865 h 16808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86956" h="1680865">
                <a:moveTo>
                  <a:pt x="1256380" y="1680865"/>
                </a:moveTo>
                <a:lnTo>
                  <a:pt x="1686956" y="497868"/>
                </a:lnTo>
                <a:lnTo>
                  <a:pt x="1643549" y="480925"/>
                </a:lnTo>
                <a:cubicBezTo>
                  <a:pt x="1604715" y="463471"/>
                  <a:pt x="1566393" y="443891"/>
                  <a:pt x="1528728" y="422145"/>
                </a:cubicBezTo>
                <a:cubicBezTo>
                  <a:pt x="1378066" y="335160"/>
                  <a:pt x="1252164" y="221758"/>
                  <a:pt x="1153495" y="91169"/>
                </a:cubicBezTo>
                <a:lnTo>
                  <a:pt x="1091353" y="0"/>
                </a:lnTo>
                <a:lnTo>
                  <a:pt x="0" y="630093"/>
                </a:lnTo>
                <a:lnTo>
                  <a:pt x="10549" y="649344"/>
                </a:lnTo>
                <a:cubicBezTo>
                  <a:pt x="222793" y="995860"/>
                  <a:pt x="522072" y="1295874"/>
                  <a:pt x="898728" y="1513337"/>
                </a:cubicBezTo>
                <a:cubicBezTo>
                  <a:pt x="974059" y="1556829"/>
                  <a:pt x="1050702" y="1595990"/>
                  <a:pt x="1128369" y="1630897"/>
                </a:cubicBezTo>
                <a:lnTo>
                  <a:pt x="1256380" y="1680865"/>
                </a:lnTo>
                <a:close/>
              </a:path>
            </a:pathLst>
          </a:custGeom>
          <a:gradFill flip="none" rotWithShape="1">
            <a:gsLst>
              <a:gs pos="0">
                <a:srgbClr val="FB727A">
                  <a:shade val="30000"/>
                  <a:satMod val="115000"/>
                </a:srgbClr>
              </a:gs>
              <a:gs pos="50000">
                <a:srgbClr val="FB727A">
                  <a:shade val="67500"/>
                  <a:satMod val="115000"/>
                </a:srgbClr>
              </a:gs>
              <a:gs pos="100000">
                <a:srgbClr val="FB727A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8" name="Freeform 47">
            <a:extLst>
              <a:ext uri="{FF2B5EF4-FFF2-40B4-BE49-F238E27FC236}">
                <a16:creationId xmlns:a16="http://schemas.microsoft.com/office/drawing/2014/main" xmlns="" id="{C994FDAF-C58B-5647-8699-9F0F2D50E2F9}"/>
              </a:ext>
            </a:extLst>
          </p:cNvPr>
          <p:cNvSpPr/>
          <p:nvPr/>
        </p:nvSpPr>
        <p:spPr>
          <a:xfrm rot="7200000" flipH="1">
            <a:off x="4052683" y="3242541"/>
            <a:ext cx="1415114" cy="1646002"/>
          </a:xfrm>
          <a:custGeom>
            <a:avLst/>
            <a:gdLst>
              <a:gd name="connsiteX0" fmla="*/ 1415114 w 1415114"/>
              <a:gd name="connsiteY0" fmla="*/ 1016486 h 1646002"/>
              <a:gd name="connsiteX1" fmla="*/ 1387919 w 1415114"/>
              <a:gd name="connsiteY1" fmla="*/ 966855 h 1646002"/>
              <a:gd name="connsiteX2" fmla="*/ 1269756 w 1415114"/>
              <a:gd name="connsiteY2" fmla="*/ 258510 h 1646002"/>
              <a:gd name="connsiteX3" fmla="*/ 1276720 w 1415114"/>
              <a:gd name="connsiteY3" fmla="*/ 218593 h 1646002"/>
              <a:gd name="connsiteX4" fmla="*/ 37019 w 1415114"/>
              <a:gd name="connsiteY4" fmla="*/ 0 h 1646002"/>
              <a:gd name="connsiteX5" fmla="*/ 19090 w 1415114"/>
              <a:gd name="connsiteY5" fmla="*/ 102760 h 1646002"/>
              <a:gd name="connsiteX6" fmla="*/ 255417 w 1415114"/>
              <a:gd name="connsiteY6" fmla="*/ 1519450 h 1646002"/>
              <a:gd name="connsiteX7" fmla="*/ 324762 w 1415114"/>
              <a:gd name="connsiteY7" fmla="*/ 1646002 h 1646002"/>
              <a:gd name="connsiteX8" fmla="*/ 1415114 w 1415114"/>
              <a:gd name="connsiteY8" fmla="*/ 1016486 h 1646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15114" h="1646002">
                <a:moveTo>
                  <a:pt x="1415114" y="1016486"/>
                </a:moveTo>
                <a:lnTo>
                  <a:pt x="1387919" y="966855"/>
                </a:lnTo>
                <a:cubicBezTo>
                  <a:pt x="1281693" y="748649"/>
                  <a:pt x="1239523" y="502153"/>
                  <a:pt x="1269756" y="258510"/>
                </a:cubicBezTo>
                <a:lnTo>
                  <a:pt x="1276720" y="218593"/>
                </a:lnTo>
                <a:lnTo>
                  <a:pt x="37019" y="0"/>
                </a:lnTo>
                <a:lnTo>
                  <a:pt x="19090" y="102760"/>
                </a:lnTo>
                <a:cubicBezTo>
                  <a:pt x="-41374" y="590045"/>
                  <a:pt x="42965" y="1083039"/>
                  <a:pt x="255417" y="1519450"/>
                </a:cubicBezTo>
                <a:lnTo>
                  <a:pt x="324762" y="1646002"/>
                </a:lnTo>
                <a:lnTo>
                  <a:pt x="1415114" y="1016486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7" name="Freeform 46">
            <a:extLst>
              <a:ext uri="{FF2B5EF4-FFF2-40B4-BE49-F238E27FC236}">
                <a16:creationId xmlns:a16="http://schemas.microsoft.com/office/drawing/2014/main" xmlns="" id="{4B33761E-646A-F94E-9DD0-5057964D981B}"/>
              </a:ext>
            </a:extLst>
          </p:cNvPr>
          <p:cNvSpPr/>
          <p:nvPr/>
        </p:nvSpPr>
        <p:spPr>
          <a:xfrm rot="7200000" flipH="1">
            <a:off x="6368845" y="3518928"/>
            <a:ext cx="1539891" cy="1519166"/>
          </a:xfrm>
          <a:custGeom>
            <a:avLst/>
            <a:gdLst>
              <a:gd name="connsiteX0" fmla="*/ 1539891 w 1539891"/>
              <a:gd name="connsiteY0" fmla="*/ 1259031 h 1519166"/>
              <a:gd name="connsiteX1" fmla="*/ 1539891 w 1539891"/>
              <a:gd name="connsiteY1" fmla="*/ 0 h 1519166"/>
              <a:gd name="connsiteX2" fmla="*/ 1402590 w 1539891"/>
              <a:gd name="connsiteY2" fmla="*/ 3066 h 1519166"/>
              <a:gd name="connsiteX3" fmla="*/ 57537 w 1539891"/>
              <a:gd name="connsiteY3" fmla="*/ 506746 h 1519166"/>
              <a:gd name="connsiteX4" fmla="*/ 0 w 1539891"/>
              <a:gd name="connsiteY4" fmla="*/ 554850 h 1519166"/>
              <a:gd name="connsiteX5" fmla="*/ 809157 w 1539891"/>
              <a:gd name="connsiteY5" fmla="*/ 1519166 h 1519166"/>
              <a:gd name="connsiteX6" fmla="*/ 817754 w 1539891"/>
              <a:gd name="connsiteY6" fmla="*/ 1511979 h 1519166"/>
              <a:gd name="connsiteX7" fmla="*/ 1490280 w 1539891"/>
              <a:gd name="connsiteY7" fmla="*/ 1260139 h 1519166"/>
              <a:gd name="connsiteX8" fmla="*/ 1539891 w 1539891"/>
              <a:gd name="connsiteY8" fmla="*/ 1259031 h 1519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39891" h="1519166">
                <a:moveTo>
                  <a:pt x="1539891" y="1259031"/>
                </a:moveTo>
                <a:lnTo>
                  <a:pt x="1539891" y="0"/>
                </a:lnTo>
                <a:lnTo>
                  <a:pt x="1402590" y="3066"/>
                </a:lnTo>
                <a:cubicBezTo>
                  <a:pt x="918421" y="37283"/>
                  <a:pt x="449306" y="210740"/>
                  <a:pt x="57537" y="506746"/>
                </a:cubicBezTo>
                <a:lnTo>
                  <a:pt x="0" y="554850"/>
                </a:lnTo>
                <a:lnTo>
                  <a:pt x="809157" y="1519166"/>
                </a:lnTo>
                <a:lnTo>
                  <a:pt x="817754" y="1511979"/>
                </a:lnTo>
                <a:cubicBezTo>
                  <a:pt x="1013638" y="1363976"/>
                  <a:pt x="1248195" y="1277247"/>
                  <a:pt x="1490280" y="1260139"/>
                </a:cubicBezTo>
                <a:lnTo>
                  <a:pt x="1539891" y="1259031"/>
                </a:lnTo>
                <a:close/>
              </a:path>
            </a:pathLst>
          </a:custGeom>
          <a:solidFill>
            <a:srgbClr val="00B05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6" name="Freeform 45">
            <a:extLst>
              <a:ext uri="{FF2B5EF4-FFF2-40B4-BE49-F238E27FC236}">
                <a16:creationId xmlns:a16="http://schemas.microsoft.com/office/drawing/2014/main" xmlns="" id="{289F2F48-6ADA-A54F-A795-AEC4B0A9C0C9}"/>
              </a:ext>
            </a:extLst>
          </p:cNvPr>
          <p:cNvSpPr/>
          <p:nvPr/>
        </p:nvSpPr>
        <p:spPr>
          <a:xfrm rot="7200000" flipH="1">
            <a:off x="5320836" y="3853233"/>
            <a:ext cx="1642435" cy="1641720"/>
          </a:xfrm>
          <a:custGeom>
            <a:avLst/>
            <a:gdLst>
              <a:gd name="connsiteX0" fmla="*/ 1642435 w 1642435"/>
              <a:gd name="connsiteY0" fmla="*/ 964316 h 1641720"/>
              <a:gd name="connsiteX1" fmla="*/ 833278 w 1642435"/>
              <a:gd name="connsiteY1" fmla="*/ 0 h 1641720"/>
              <a:gd name="connsiteX2" fmla="*/ 760612 w 1642435"/>
              <a:gd name="connsiteY2" fmla="*/ 60752 h 1641720"/>
              <a:gd name="connsiteX3" fmla="*/ 287811 w 1642435"/>
              <a:gd name="connsiteY3" fmla="*/ 653080 h 1641720"/>
              <a:gd name="connsiteX4" fmla="*/ 11241 w 1642435"/>
              <a:gd name="connsiteY4" fmla="*/ 1358701 h 1641720"/>
              <a:gd name="connsiteX5" fmla="*/ 0 w 1642435"/>
              <a:gd name="connsiteY5" fmla="*/ 1423127 h 1641720"/>
              <a:gd name="connsiteX6" fmla="*/ 1239701 w 1642435"/>
              <a:gd name="connsiteY6" fmla="*/ 1641720 h 1641720"/>
              <a:gd name="connsiteX7" fmla="*/ 1240718 w 1642435"/>
              <a:gd name="connsiteY7" fmla="*/ 1635891 h 1641720"/>
              <a:gd name="connsiteX8" fmla="*/ 1379003 w 1642435"/>
              <a:gd name="connsiteY8" fmla="*/ 1283080 h 1641720"/>
              <a:gd name="connsiteX9" fmla="*/ 1615404 w 1642435"/>
              <a:gd name="connsiteY9" fmla="*/ 986916 h 1641720"/>
              <a:gd name="connsiteX10" fmla="*/ 1642435 w 1642435"/>
              <a:gd name="connsiteY10" fmla="*/ 964316 h 1641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642435" h="1641720">
                <a:moveTo>
                  <a:pt x="1642435" y="964316"/>
                </a:moveTo>
                <a:lnTo>
                  <a:pt x="833278" y="0"/>
                </a:lnTo>
                <a:lnTo>
                  <a:pt x="760612" y="60752"/>
                </a:lnTo>
                <a:cubicBezTo>
                  <a:pt x="578484" y="228949"/>
                  <a:pt x="418288" y="427086"/>
                  <a:pt x="287811" y="653080"/>
                </a:cubicBezTo>
                <a:cubicBezTo>
                  <a:pt x="157334" y="879073"/>
                  <a:pt x="65839" y="1116876"/>
                  <a:pt x="11241" y="1358701"/>
                </a:cubicBezTo>
                <a:lnTo>
                  <a:pt x="0" y="1423127"/>
                </a:lnTo>
                <a:lnTo>
                  <a:pt x="1239701" y="1641720"/>
                </a:lnTo>
                <a:lnTo>
                  <a:pt x="1240718" y="1635891"/>
                </a:lnTo>
                <a:cubicBezTo>
                  <a:pt x="1268017" y="1514978"/>
                  <a:pt x="1313764" y="1396076"/>
                  <a:pt x="1379003" y="1283080"/>
                </a:cubicBezTo>
                <a:cubicBezTo>
                  <a:pt x="1444242" y="1170083"/>
                  <a:pt x="1524340" y="1071014"/>
                  <a:pt x="1615404" y="986916"/>
                </a:cubicBezTo>
                <a:lnTo>
                  <a:pt x="1642435" y="964316"/>
                </a:lnTo>
                <a:close/>
              </a:path>
            </a:pathLst>
          </a:custGeom>
          <a:gradFill>
            <a:gsLst>
              <a:gs pos="24000">
                <a:srgbClr val="C69506"/>
              </a:gs>
              <a:gs pos="100000">
                <a:srgbClr val="FFC000"/>
              </a:gs>
            </a:gsLst>
            <a:lin ang="2700000" scaled="1"/>
          </a:gra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2" name="Oval 181">
            <a:extLst>
              <a:ext uri="{FF2B5EF4-FFF2-40B4-BE49-F238E27FC236}">
                <a16:creationId xmlns:a16="http://schemas.microsoft.com/office/drawing/2014/main" xmlns="" id="{DC7064A9-4286-D943-9157-37130AE20C69}"/>
              </a:ext>
            </a:extLst>
          </p:cNvPr>
          <p:cNvSpPr/>
          <p:nvPr/>
        </p:nvSpPr>
        <p:spPr>
          <a:xfrm>
            <a:off x="4320413" y="1020547"/>
            <a:ext cx="3420000" cy="3420000"/>
          </a:xfrm>
          <a:prstGeom prst="ellipse">
            <a:avLst/>
          </a:prstGeom>
          <a:solidFill>
            <a:schemeClr val="bg1">
              <a:lumMod val="85000"/>
              <a:alpha val="8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3" name="Oval 182">
            <a:extLst>
              <a:ext uri="{FF2B5EF4-FFF2-40B4-BE49-F238E27FC236}">
                <a16:creationId xmlns:a16="http://schemas.microsoft.com/office/drawing/2014/main" xmlns="" id="{2C6A9984-C9C8-EE45-8C30-CC6E8A724EE5}"/>
              </a:ext>
            </a:extLst>
          </p:cNvPr>
          <p:cNvSpPr/>
          <p:nvPr/>
        </p:nvSpPr>
        <p:spPr>
          <a:xfrm>
            <a:off x="4751536" y="1444419"/>
            <a:ext cx="2520000" cy="2520000"/>
          </a:xfrm>
          <a:prstGeom prst="ellipse">
            <a:avLst/>
          </a:prstGeom>
          <a:solidFill>
            <a:srgbClr val="FFFF9B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xmlns="" id="{3CD134EE-0688-C34A-B42A-7FDDB82F30FE}"/>
              </a:ext>
            </a:extLst>
          </p:cNvPr>
          <p:cNvSpPr txBox="1"/>
          <p:nvPr/>
        </p:nvSpPr>
        <p:spPr>
          <a:xfrm>
            <a:off x="4959853" y="2407870"/>
            <a:ext cx="21682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PENGURUS LPJK</a:t>
            </a: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xmlns="" id="{1EF86CAD-FEFF-C84B-AF4E-FA8CAB35E0E8}"/>
              </a:ext>
            </a:extLst>
          </p:cNvPr>
          <p:cNvSpPr txBox="1"/>
          <p:nvPr/>
        </p:nvSpPr>
        <p:spPr>
          <a:xfrm>
            <a:off x="5126786" y="2702753"/>
            <a:ext cx="17691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/>
              <a:t>Periode</a:t>
            </a:r>
            <a:r>
              <a:rPr lang="en-US" sz="1600" b="1" dirty="0"/>
              <a:t> 2021-2024</a:t>
            </a: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xmlns="" id="{AA21C365-BEE6-6947-9D4E-156512BC9D05}"/>
              </a:ext>
            </a:extLst>
          </p:cNvPr>
          <p:cNvSpPr txBox="1"/>
          <p:nvPr/>
        </p:nvSpPr>
        <p:spPr>
          <a:xfrm>
            <a:off x="4642281" y="208757"/>
            <a:ext cx="2706561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latin typeface="Segoe UI" panose="020B0502040204020203" pitchFamily="34" charset="0"/>
                <a:cs typeface="Segoe UI" panose="020B0502040204020203" pitchFamily="34" charset="0"/>
              </a:rPr>
              <a:t>KEPMEN PUPR No. 1792/2020 </a:t>
            </a:r>
          </a:p>
          <a:p>
            <a:pPr algn="ctr"/>
            <a:r>
              <a:rPr lang="en-US" sz="13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tentang</a:t>
            </a:r>
            <a:r>
              <a:rPr lang="en-US" sz="13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3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Pengurus</a:t>
            </a:r>
            <a:r>
              <a:rPr lang="en-US" sz="1300" b="1" dirty="0">
                <a:latin typeface="Segoe UI" panose="020B0502040204020203" pitchFamily="34" charset="0"/>
                <a:cs typeface="Segoe UI" panose="020B0502040204020203" pitchFamily="34" charset="0"/>
              </a:rPr>
              <a:t> Lembaga </a:t>
            </a:r>
            <a:r>
              <a:rPr lang="en-US" sz="13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Pengembangan</a:t>
            </a:r>
            <a:r>
              <a:rPr lang="en-US" sz="1300" b="1" dirty="0">
                <a:latin typeface="Segoe UI" panose="020B0502040204020203" pitchFamily="34" charset="0"/>
                <a:cs typeface="Segoe UI" panose="020B0502040204020203" pitchFamily="34" charset="0"/>
              </a:rPr>
              <a:t> Jasa </a:t>
            </a:r>
            <a:r>
              <a:rPr lang="en-US" sz="13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Konstruksi</a:t>
            </a:r>
            <a:r>
              <a:rPr lang="en-US" sz="13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3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Periode</a:t>
            </a:r>
            <a:r>
              <a:rPr lang="en-US" sz="1300" b="1" dirty="0">
                <a:latin typeface="Segoe UI" panose="020B0502040204020203" pitchFamily="34" charset="0"/>
                <a:cs typeface="Segoe UI" panose="020B0502040204020203" pitchFamily="34" charset="0"/>
              </a:rPr>
              <a:t> 2021-2024</a:t>
            </a:r>
          </a:p>
        </p:txBody>
      </p: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xmlns="" id="{EDD2DE0A-4E0B-D541-A5F4-B603ADFB6321}"/>
              </a:ext>
            </a:extLst>
          </p:cNvPr>
          <p:cNvCxnSpPr>
            <a:cxnSpLocks/>
          </p:cNvCxnSpPr>
          <p:nvPr/>
        </p:nvCxnSpPr>
        <p:spPr>
          <a:xfrm flipH="1">
            <a:off x="6084507" y="5146775"/>
            <a:ext cx="9297" cy="575792"/>
          </a:xfrm>
          <a:prstGeom prst="line">
            <a:avLst/>
          </a:prstGeom>
          <a:ln w="19050">
            <a:solidFill>
              <a:srgbClr val="C6950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Rectangle 207">
            <a:extLst>
              <a:ext uri="{FF2B5EF4-FFF2-40B4-BE49-F238E27FC236}">
                <a16:creationId xmlns:a16="http://schemas.microsoft.com/office/drawing/2014/main" xmlns="" id="{8B7C539B-56F4-5445-B735-A99CE6D31B67}"/>
              </a:ext>
            </a:extLst>
          </p:cNvPr>
          <p:cNvSpPr/>
          <p:nvPr/>
        </p:nvSpPr>
        <p:spPr>
          <a:xfrm>
            <a:off x="710877" y="798632"/>
            <a:ext cx="265598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Ir.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Taufik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Widjoyono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,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M.Sc</a:t>
            </a:r>
            <a:endParaRPr lang="en-US" sz="1600" b="1" dirty="0">
              <a:latin typeface="Arial Nova" panose="020B0504020202020204" pitchFamily="34" charset="0"/>
              <a:cs typeface="Segoe UI Light" panose="020B0502040204020203" pitchFamily="34" charset="0"/>
            </a:endParaRPr>
          </a:p>
        </p:txBody>
      </p:sp>
      <p:sp>
        <p:nvSpPr>
          <p:cNvPr id="209" name="Rectangle 208">
            <a:extLst>
              <a:ext uri="{FF2B5EF4-FFF2-40B4-BE49-F238E27FC236}">
                <a16:creationId xmlns:a16="http://schemas.microsoft.com/office/drawing/2014/main" xmlns="" id="{3944D027-455B-C148-9E43-EAE1B528194E}"/>
              </a:ext>
            </a:extLst>
          </p:cNvPr>
          <p:cNvSpPr/>
          <p:nvPr/>
        </p:nvSpPr>
        <p:spPr>
          <a:xfrm>
            <a:off x="9025115" y="798632"/>
            <a:ext cx="29074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Dr. Ir.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Syarif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 Burhanuddin,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M.Eng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, IPU</a:t>
            </a:r>
          </a:p>
        </p:txBody>
      </p:sp>
      <p:sp>
        <p:nvSpPr>
          <p:cNvPr id="210" name="Rectangle 209">
            <a:extLst>
              <a:ext uri="{FF2B5EF4-FFF2-40B4-BE49-F238E27FC236}">
                <a16:creationId xmlns:a16="http://schemas.microsoft.com/office/drawing/2014/main" xmlns="" id="{180E3B67-543A-904D-B03F-69C4740FEF23}"/>
              </a:ext>
            </a:extLst>
          </p:cNvPr>
          <p:cNvSpPr/>
          <p:nvPr/>
        </p:nvSpPr>
        <p:spPr>
          <a:xfrm>
            <a:off x="3529025" y="5829504"/>
            <a:ext cx="538795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Prof. Dr. Ir.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Agus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Taufik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Mulyono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, MT, IPU, ASEAN,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Eng</a:t>
            </a:r>
            <a:endParaRPr lang="en-US" sz="1600" b="1" dirty="0">
              <a:latin typeface="Arial Nova" panose="020B0504020202020204" pitchFamily="34" charset="0"/>
              <a:cs typeface="Segoe UI Light" panose="020B0502040204020203" pitchFamily="34" charset="0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:a16="http://schemas.microsoft.com/office/drawing/2014/main" xmlns="" id="{640EE0DC-BBB1-4C46-99B0-CDBA2412C3C1}"/>
              </a:ext>
            </a:extLst>
          </p:cNvPr>
          <p:cNvSpPr/>
          <p:nvPr/>
        </p:nvSpPr>
        <p:spPr>
          <a:xfrm>
            <a:off x="489317" y="5132778"/>
            <a:ext cx="26866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Agus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Gendroyono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, ST, MT</a:t>
            </a: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xmlns="" id="{81315CC1-88CA-DF4C-83D3-6CDE1CB5EDEA}"/>
              </a:ext>
            </a:extLst>
          </p:cNvPr>
          <p:cNvSpPr/>
          <p:nvPr/>
        </p:nvSpPr>
        <p:spPr>
          <a:xfrm>
            <a:off x="8990496" y="4921295"/>
            <a:ext cx="215315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Ir. Tri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Widjajanto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, MT</a:t>
            </a: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xmlns="" id="{1D9A04D1-6360-5344-AE71-67057AB39C03}"/>
              </a:ext>
            </a:extLst>
          </p:cNvPr>
          <p:cNvSpPr/>
          <p:nvPr/>
        </p:nvSpPr>
        <p:spPr>
          <a:xfrm>
            <a:off x="412645" y="3121074"/>
            <a:ext cx="27572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Ir.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Ludy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Eqbal</a:t>
            </a:r>
            <a:r>
              <a:rPr lang="en-US" sz="16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 </a:t>
            </a:r>
            <a:r>
              <a:rPr lang="en-US" sz="16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Almuhamadi</a:t>
            </a:r>
            <a:endParaRPr lang="en-US" sz="1600" b="1" dirty="0">
              <a:latin typeface="Arial Nova" panose="020B0504020202020204" pitchFamily="34" charset="0"/>
              <a:cs typeface="Segoe UI Light" panose="020B0502040204020203" pitchFamily="34" charset="0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xmlns="" id="{0568F994-72A2-814F-AB02-6B3152430C90}"/>
              </a:ext>
            </a:extLst>
          </p:cNvPr>
          <p:cNvSpPr/>
          <p:nvPr/>
        </p:nvSpPr>
        <p:spPr>
          <a:xfrm>
            <a:off x="9230588" y="2784063"/>
            <a:ext cx="353854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Prof. Dr. </a:t>
            </a:r>
            <a:r>
              <a:rPr lang="en-US" sz="14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Manlian</a:t>
            </a:r>
            <a:r>
              <a:rPr lang="en-US" sz="14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 Ronald Adventus </a:t>
            </a:r>
            <a:r>
              <a:rPr lang="en-US" sz="1400" b="1" dirty="0" err="1">
                <a:latin typeface="Arial Nova" panose="020B0504020202020204" pitchFamily="34" charset="0"/>
                <a:cs typeface="Segoe UI Light" panose="020B0502040204020203" pitchFamily="34" charset="0"/>
              </a:rPr>
              <a:t>Simanjuntak</a:t>
            </a:r>
            <a:r>
              <a:rPr lang="en-US" sz="1400" b="1" dirty="0">
                <a:latin typeface="Arial Nova" panose="020B0504020202020204" pitchFamily="34" charset="0"/>
                <a:cs typeface="Segoe UI Light" panose="020B0502040204020203" pitchFamily="34" charset="0"/>
              </a:rPr>
              <a:t>, ST, MT, </a:t>
            </a:r>
            <a:r>
              <a:rPr lang="en-US" sz="1400" b="1" dirty="0" err="1" smtClean="0">
                <a:latin typeface="Arial Nova" panose="020B0504020202020204" pitchFamily="34" charset="0"/>
                <a:cs typeface="Segoe UI Light" panose="020B0502040204020203" pitchFamily="34" charset="0"/>
              </a:rPr>
              <a:t>D.Min</a:t>
            </a:r>
            <a:r>
              <a:rPr lang="en-US" sz="1400" b="1" dirty="0" smtClean="0">
                <a:latin typeface="Arial Nova" panose="020B0504020202020204" pitchFamily="34" charset="0"/>
                <a:cs typeface="Segoe UI Light" panose="020B0502040204020203" pitchFamily="34" charset="0"/>
              </a:rPr>
              <a:t>, IPU, ASEAN, </a:t>
            </a:r>
            <a:r>
              <a:rPr lang="en-US" sz="1400" b="1" dirty="0" err="1" smtClean="0">
                <a:latin typeface="Arial Nova" panose="020B0504020202020204" pitchFamily="34" charset="0"/>
                <a:cs typeface="Segoe UI Light" panose="020B0502040204020203" pitchFamily="34" charset="0"/>
              </a:rPr>
              <a:t>Eng</a:t>
            </a:r>
            <a:endParaRPr lang="en-US" sz="1400" b="1" dirty="0">
              <a:latin typeface="Arial Nova" panose="020B0504020202020204" pitchFamily="34" charset="0"/>
              <a:cs typeface="Segoe UI Light" panose="020B0502040204020203" pitchFamily="34" charset="0"/>
            </a:endParaRP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xmlns="" id="{CE75983A-328E-B140-881E-55915BBEE9CA}"/>
              </a:ext>
            </a:extLst>
          </p:cNvPr>
          <p:cNvSpPr txBox="1"/>
          <p:nvPr/>
        </p:nvSpPr>
        <p:spPr>
          <a:xfrm>
            <a:off x="3819982" y="1481137"/>
            <a:ext cx="74052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Ketua</a:t>
            </a:r>
            <a:endParaRPr lang="en-US" sz="16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xmlns="" id="{178A48BC-59F5-CB4D-BF55-BAD746B343AF}"/>
              </a:ext>
            </a:extLst>
          </p:cNvPr>
          <p:cNvSpPr txBox="1"/>
          <p:nvPr/>
        </p:nvSpPr>
        <p:spPr>
          <a:xfrm>
            <a:off x="3464379" y="2718457"/>
            <a:ext cx="917624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engurus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Bidang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xmlns="" id="{960CA114-526B-A242-99D5-0538AF7F740F}"/>
              </a:ext>
            </a:extLst>
          </p:cNvPr>
          <p:cNvSpPr txBox="1"/>
          <p:nvPr/>
        </p:nvSpPr>
        <p:spPr>
          <a:xfrm>
            <a:off x="4199827" y="4065542"/>
            <a:ext cx="917624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engurus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Bidang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xmlns="" id="{C5CBAA2C-0151-324E-A6A1-691FD19D2CAA}"/>
              </a:ext>
            </a:extLst>
          </p:cNvPr>
          <p:cNvSpPr txBox="1"/>
          <p:nvPr/>
        </p:nvSpPr>
        <p:spPr>
          <a:xfrm>
            <a:off x="5630607" y="4521662"/>
            <a:ext cx="917624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engurus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Bidang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xmlns="" id="{51267EA1-4355-1044-9363-1564DC284E1C}"/>
              </a:ext>
            </a:extLst>
          </p:cNvPr>
          <p:cNvSpPr txBox="1"/>
          <p:nvPr/>
        </p:nvSpPr>
        <p:spPr>
          <a:xfrm>
            <a:off x="6972231" y="4037231"/>
            <a:ext cx="917624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engurus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Bidang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xmlns="" id="{C9CB98CF-E520-D94C-87B5-EA31E685CA85}"/>
              </a:ext>
            </a:extLst>
          </p:cNvPr>
          <p:cNvSpPr txBox="1"/>
          <p:nvPr/>
        </p:nvSpPr>
        <p:spPr>
          <a:xfrm>
            <a:off x="7680882" y="2778011"/>
            <a:ext cx="917624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engurus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Bidang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xmlns="" id="{86FF7384-57F6-5A4E-A028-52C9D814B480}"/>
              </a:ext>
            </a:extLst>
          </p:cNvPr>
          <p:cNvSpPr txBox="1"/>
          <p:nvPr/>
        </p:nvSpPr>
        <p:spPr>
          <a:xfrm>
            <a:off x="7328142" y="1345224"/>
            <a:ext cx="917624" cy="6924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Pengurus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Bidang</a:t>
            </a:r>
            <a:endParaRPr lang="en-US" sz="13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algn="ctr"/>
            <a:r>
              <a:rPr lang="en-US" sz="13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pic>
        <p:nvPicPr>
          <p:cNvPr id="225" name="Graphic 224" descr="Processor with solid fill">
            <a:extLst>
              <a:ext uri="{FF2B5EF4-FFF2-40B4-BE49-F238E27FC236}">
                <a16:creationId xmlns:a16="http://schemas.microsoft.com/office/drawing/2014/main" xmlns="" id="{AEDF7271-496B-AE48-9A66-381598B14D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 flipH="1">
            <a:off x="7155402" y="1860300"/>
            <a:ext cx="249826" cy="249826"/>
          </a:xfrm>
          <a:prstGeom prst="rect">
            <a:avLst/>
          </a:prstGeom>
        </p:spPr>
      </p:pic>
      <p:pic>
        <p:nvPicPr>
          <p:cNvPr id="227" name="Graphic 226" descr="Postit Notes 3 with solid fill">
            <a:extLst>
              <a:ext uri="{FF2B5EF4-FFF2-40B4-BE49-F238E27FC236}">
                <a16:creationId xmlns:a16="http://schemas.microsoft.com/office/drawing/2014/main" xmlns="" id="{8E0DAEEC-7D43-4E4D-B373-7ABF826D55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flipH="1">
            <a:off x="7380844" y="2854810"/>
            <a:ext cx="249826" cy="249826"/>
          </a:xfrm>
          <a:prstGeom prst="rect">
            <a:avLst/>
          </a:prstGeom>
        </p:spPr>
      </p:pic>
      <p:pic>
        <p:nvPicPr>
          <p:cNvPr id="229" name="Graphic 228" descr="Atom with solid fill">
            <a:extLst>
              <a:ext uri="{FF2B5EF4-FFF2-40B4-BE49-F238E27FC236}">
                <a16:creationId xmlns:a16="http://schemas.microsoft.com/office/drawing/2014/main" xmlns="" id="{34772412-F06A-D14C-8B23-5D87720CBA8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 flipH="1">
            <a:off x="6923815" y="3673226"/>
            <a:ext cx="249826" cy="249826"/>
          </a:xfrm>
          <a:prstGeom prst="rect">
            <a:avLst/>
          </a:prstGeom>
        </p:spPr>
      </p:pic>
      <p:pic>
        <p:nvPicPr>
          <p:cNvPr id="231" name="Graphic 230" descr="Office worker male with solid fill">
            <a:extLst>
              <a:ext uri="{FF2B5EF4-FFF2-40B4-BE49-F238E27FC236}">
                <a16:creationId xmlns:a16="http://schemas.microsoft.com/office/drawing/2014/main" xmlns="" id="{16F4BC90-F75C-DF4C-A4EF-5BF599ADACA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flipH="1">
            <a:off x="5960423" y="4056475"/>
            <a:ext cx="249826" cy="249826"/>
          </a:xfrm>
          <a:prstGeom prst="rect">
            <a:avLst/>
          </a:prstGeom>
        </p:spPr>
      </p:pic>
      <p:pic>
        <p:nvPicPr>
          <p:cNvPr id="233" name="Graphic 232" descr="Diploma outline">
            <a:extLst>
              <a:ext uri="{FF2B5EF4-FFF2-40B4-BE49-F238E27FC236}">
                <a16:creationId xmlns:a16="http://schemas.microsoft.com/office/drawing/2014/main" xmlns="" id="{1E022AF0-F37F-9E41-8D7A-047AC64F63A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 flipH="1">
            <a:off x="4983417" y="3706052"/>
            <a:ext cx="249826" cy="249826"/>
          </a:xfrm>
          <a:prstGeom prst="rect">
            <a:avLst/>
          </a:prstGeom>
        </p:spPr>
      </p:pic>
      <p:pic>
        <p:nvPicPr>
          <p:cNvPr id="235" name="Graphic 234" descr="Scribble with solid fill">
            <a:extLst>
              <a:ext uri="{FF2B5EF4-FFF2-40B4-BE49-F238E27FC236}">
                <a16:creationId xmlns:a16="http://schemas.microsoft.com/office/drawing/2014/main" xmlns="" id="{1FDEDC91-B671-FE47-9ADF-D08FEE6A32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 flipH="1">
            <a:off x="4491528" y="2841722"/>
            <a:ext cx="249826" cy="249826"/>
          </a:xfrm>
          <a:prstGeom prst="rect">
            <a:avLst/>
          </a:prstGeom>
        </p:spPr>
      </p:pic>
      <p:pic>
        <p:nvPicPr>
          <p:cNvPr id="239" name="Graphic 238" descr="Lecturer with solid fill">
            <a:extLst>
              <a:ext uri="{FF2B5EF4-FFF2-40B4-BE49-F238E27FC236}">
                <a16:creationId xmlns:a16="http://schemas.microsoft.com/office/drawing/2014/main" xmlns="" id="{C8C3C60C-A43F-FE47-896B-569B15135D6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4544765" y="1839463"/>
            <a:ext cx="354543" cy="354543"/>
          </a:xfrm>
          <a:prstGeom prst="rect">
            <a:avLst/>
          </a:prstGeom>
        </p:spPr>
      </p:pic>
      <p:sp>
        <p:nvSpPr>
          <p:cNvPr id="240" name="TextBox 239">
            <a:extLst>
              <a:ext uri="{FF2B5EF4-FFF2-40B4-BE49-F238E27FC236}">
                <a16:creationId xmlns:a16="http://schemas.microsoft.com/office/drawing/2014/main" xmlns="" id="{929E5E84-248F-7345-8C11-359C92360DEE}"/>
              </a:ext>
            </a:extLst>
          </p:cNvPr>
          <p:cNvSpPr txBox="1"/>
          <p:nvPr/>
        </p:nvSpPr>
        <p:spPr>
          <a:xfrm>
            <a:off x="403498" y="3419879"/>
            <a:ext cx="31536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Bidang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Registrasi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(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Pencatatan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)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xmlns="" id="{087800AF-B912-AC4B-A29A-D805E7F09CA0}"/>
              </a:ext>
            </a:extLst>
          </p:cNvPr>
          <p:cNvSpPr txBox="1"/>
          <p:nvPr/>
        </p:nvSpPr>
        <p:spPr>
          <a:xfrm>
            <a:off x="481329" y="5437350"/>
            <a:ext cx="304654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Bidang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Akreditasi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dan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Lisensi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ova" panose="020B0504020202020204" pitchFamily="34" charset="0"/>
              <a:cs typeface="Segoe UI Semilight" panose="020B0402040204020203" pitchFamily="34" charset="0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xmlns="" id="{A872C65A-074B-7446-AF7F-C1AD6AD4F4DB}"/>
              </a:ext>
            </a:extLst>
          </p:cNvPr>
          <p:cNvSpPr txBox="1"/>
          <p:nvPr/>
        </p:nvSpPr>
        <p:spPr>
          <a:xfrm>
            <a:off x="3499560" y="6150473"/>
            <a:ext cx="55123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Bidang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Pelatihan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,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Sertifikasi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dan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Penetapan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Penilai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Ahli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xmlns="" id="{DAA7B353-2B4B-6B4B-840D-2CE67A629D08}"/>
              </a:ext>
            </a:extLst>
          </p:cNvPr>
          <p:cNvSpPr txBox="1"/>
          <p:nvPr/>
        </p:nvSpPr>
        <p:spPr>
          <a:xfrm>
            <a:off x="8995971" y="5215485"/>
            <a:ext cx="28603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Bidang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Penyetaraan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Jasa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Konstruksi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ova" panose="020B0504020202020204" pitchFamily="34" charset="0"/>
              <a:cs typeface="Segoe UI Semilight" panose="020B0402040204020203" pitchFamily="34" charset="0"/>
            </a:endParaRP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xmlns="" id="{CE1E2B09-3C8D-0C46-BFF5-A81B73C7E3F2}"/>
              </a:ext>
            </a:extLst>
          </p:cNvPr>
          <p:cNvSpPr txBox="1"/>
          <p:nvPr/>
        </p:nvSpPr>
        <p:spPr>
          <a:xfrm>
            <a:off x="8946949" y="3527258"/>
            <a:ext cx="294024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Bidang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Pengembangan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Keprofesian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Berkelanjutan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ova" panose="020B0504020202020204" pitchFamily="34" charset="0"/>
              <a:cs typeface="Segoe UI Semilight" panose="020B0402040204020203" pitchFamily="34" charset="0"/>
            </a:endParaRP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xmlns="" id="{FEE2CBC1-7575-0845-870D-FB0178DFE26A}"/>
              </a:ext>
            </a:extLst>
          </p:cNvPr>
          <p:cNvSpPr txBox="1"/>
          <p:nvPr/>
        </p:nvSpPr>
        <p:spPr>
          <a:xfrm>
            <a:off x="9012594" y="1352676"/>
            <a:ext cx="30161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Bidang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Program,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Pemantauan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dan </a:t>
            </a:r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Evaluasi</a:t>
            </a:r>
            <a:endParaRPr lang="en-US" sz="1600" b="1" dirty="0">
              <a:solidFill>
                <a:schemeClr val="accent1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ova" panose="020B0504020202020204" pitchFamily="34" charset="0"/>
              <a:cs typeface="Segoe UI Semilight" panose="020B0402040204020203" pitchFamily="34" charset="0"/>
            </a:endParaRPr>
          </a:p>
        </p:txBody>
      </p:sp>
      <p:sp>
        <p:nvSpPr>
          <p:cNvPr id="54" name="Freeform 200">
            <a:extLst>
              <a:ext uri="{FF2B5EF4-FFF2-40B4-BE49-F238E27FC236}">
                <a16:creationId xmlns:a16="http://schemas.microsoft.com/office/drawing/2014/main" xmlns="" id="{D6ED9814-A27F-F048-8860-482722D9627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76994" y="5461780"/>
            <a:ext cx="433677" cy="1370354"/>
          </a:xfrm>
          <a:custGeom>
            <a:avLst/>
            <a:gdLst>
              <a:gd name="T0" fmla="*/ 412 w 463"/>
              <a:gd name="T1" fmla="*/ 379 h 1470"/>
              <a:gd name="T2" fmla="*/ 323 w 463"/>
              <a:gd name="T3" fmla="*/ 262 h 1470"/>
              <a:gd name="T4" fmla="*/ 285 w 463"/>
              <a:gd name="T5" fmla="*/ 285 h 1470"/>
              <a:gd name="T6" fmla="*/ 267 w 463"/>
              <a:gd name="T7" fmla="*/ 261 h 1470"/>
              <a:gd name="T8" fmla="*/ 184 w 463"/>
              <a:gd name="T9" fmla="*/ 204 h 1470"/>
              <a:gd name="T10" fmla="*/ 217 w 463"/>
              <a:gd name="T11" fmla="*/ 229 h 1470"/>
              <a:gd name="T12" fmla="*/ 275 w 463"/>
              <a:gd name="T13" fmla="*/ 231 h 1470"/>
              <a:gd name="T14" fmla="*/ 275 w 463"/>
              <a:gd name="T15" fmla="*/ 231 h 1470"/>
              <a:gd name="T16" fmla="*/ 280 w 463"/>
              <a:gd name="T17" fmla="*/ 213 h 1470"/>
              <a:gd name="T18" fmla="*/ 313 w 463"/>
              <a:gd name="T19" fmla="*/ 121 h 1470"/>
              <a:gd name="T20" fmla="*/ 312 w 463"/>
              <a:gd name="T21" fmla="*/ 65 h 1470"/>
              <a:gd name="T22" fmla="*/ 194 w 463"/>
              <a:gd name="T23" fmla="*/ 42 h 1470"/>
              <a:gd name="T24" fmla="*/ 186 w 463"/>
              <a:gd name="T25" fmla="*/ 51 h 1470"/>
              <a:gd name="T26" fmla="*/ 175 w 463"/>
              <a:gd name="T27" fmla="*/ 119 h 1470"/>
              <a:gd name="T28" fmla="*/ 178 w 463"/>
              <a:gd name="T29" fmla="*/ 165 h 1470"/>
              <a:gd name="T30" fmla="*/ 181 w 463"/>
              <a:gd name="T31" fmla="*/ 201 h 1470"/>
              <a:gd name="T32" fmla="*/ 175 w 463"/>
              <a:gd name="T33" fmla="*/ 217 h 1470"/>
              <a:gd name="T34" fmla="*/ 79 w 463"/>
              <a:gd name="T35" fmla="*/ 333 h 1470"/>
              <a:gd name="T36" fmla="*/ 104 w 463"/>
              <a:gd name="T37" fmla="*/ 477 h 1470"/>
              <a:gd name="T38" fmla="*/ 99 w 463"/>
              <a:gd name="T39" fmla="*/ 610 h 1470"/>
              <a:gd name="T40" fmla="*/ 85 w 463"/>
              <a:gd name="T41" fmla="*/ 763 h 1470"/>
              <a:gd name="T42" fmla="*/ 69 w 463"/>
              <a:gd name="T43" fmla="*/ 975 h 1470"/>
              <a:gd name="T44" fmla="*/ 8 w 463"/>
              <a:gd name="T45" fmla="*/ 1383 h 1470"/>
              <a:gd name="T46" fmla="*/ 11 w 463"/>
              <a:gd name="T47" fmla="*/ 1423 h 1470"/>
              <a:gd name="T48" fmla="*/ 108 w 463"/>
              <a:gd name="T49" fmla="*/ 1468 h 1470"/>
              <a:gd name="T50" fmla="*/ 96 w 463"/>
              <a:gd name="T51" fmla="*/ 1398 h 1470"/>
              <a:gd name="T52" fmla="*/ 153 w 463"/>
              <a:gd name="T53" fmla="*/ 1231 h 1470"/>
              <a:gd name="T54" fmla="*/ 220 w 463"/>
              <a:gd name="T55" fmla="*/ 1100 h 1470"/>
              <a:gd name="T56" fmla="*/ 215 w 463"/>
              <a:gd name="T57" fmla="*/ 1363 h 1470"/>
              <a:gd name="T58" fmla="*/ 242 w 463"/>
              <a:gd name="T59" fmla="*/ 1391 h 1470"/>
              <a:gd name="T60" fmla="*/ 297 w 463"/>
              <a:gd name="T61" fmla="*/ 1388 h 1470"/>
              <a:gd name="T62" fmla="*/ 429 w 463"/>
              <a:gd name="T63" fmla="*/ 1397 h 1470"/>
              <a:gd name="T64" fmla="*/ 342 w 463"/>
              <a:gd name="T65" fmla="*/ 1344 h 1470"/>
              <a:gd name="T66" fmla="*/ 316 w 463"/>
              <a:gd name="T67" fmla="*/ 1300 h 1470"/>
              <a:gd name="T68" fmla="*/ 337 w 463"/>
              <a:gd name="T69" fmla="*/ 1080 h 1470"/>
              <a:gd name="T70" fmla="*/ 376 w 463"/>
              <a:gd name="T71" fmla="*/ 792 h 1470"/>
              <a:gd name="T72" fmla="*/ 388 w 463"/>
              <a:gd name="T73" fmla="*/ 747 h 1470"/>
              <a:gd name="T74" fmla="*/ 359 w 463"/>
              <a:gd name="T75" fmla="*/ 534 h 1470"/>
              <a:gd name="T76" fmla="*/ 385 w 463"/>
              <a:gd name="T77" fmla="*/ 500 h 1470"/>
              <a:gd name="T78" fmla="*/ 454 w 463"/>
              <a:gd name="T79" fmla="*/ 422 h 1470"/>
              <a:gd name="T80" fmla="*/ 330 w 463"/>
              <a:gd name="T81" fmla="*/ 437 h 1470"/>
              <a:gd name="T82" fmla="*/ 327 w 463"/>
              <a:gd name="T83" fmla="*/ 411 h 1470"/>
              <a:gd name="T84" fmla="*/ 311 w 463"/>
              <a:gd name="T85" fmla="*/ 458 h 1470"/>
              <a:gd name="T86" fmla="*/ 353 w 463"/>
              <a:gd name="T87" fmla="*/ 483 h 1470"/>
              <a:gd name="T88" fmla="*/ 350 w 463"/>
              <a:gd name="T89" fmla="*/ 540 h 1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63" h="1470">
                <a:moveTo>
                  <a:pt x="454" y="422"/>
                </a:moveTo>
                <a:cubicBezTo>
                  <a:pt x="448" y="394"/>
                  <a:pt x="430" y="395"/>
                  <a:pt x="412" y="379"/>
                </a:cubicBezTo>
                <a:cubicBezTo>
                  <a:pt x="395" y="363"/>
                  <a:pt x="381" y="350"/>
                  <a:pt x="379" y="321"/>
                </a:cubicBezTo>
                <a:cubicBezTo>
                  <a:pt x="376" y="291"/>
                  <a:pt x="344" y="267"/>
                  <a:pt x="323" y="262"/>
                </a:cubicBezTo>
                <a:cubicBezTo>
                  <a:pt x="304" y="258"/>
                  <a:pt x="286" y="248"/>
                  <a:pt x="281" y="246"/>
                </a:cubicBezTo>
                <a:cubicBezTo>
                  <a:pt x="280" y="254"/>
                  <a:pt x="283" y="272"/>
                  <a:pt x="285" y="285"/>
                </a:cubicBezTo>
                <a:cubicBezTo>
                  <a:pt x="284" y="286"/>
                  <a:pt x="282" y="284"/>
                  <a:pt x="281" y="281"/>
                </a:cubicBezTo>
                <a:cubicBezTo>
                  <a:pt x="274" y="266"/>
                  <a:pt x="272" y="258"/>
                  <a:pt x="267" y="261"/>
                </a:cubicBezTo>
                <a:cubicBezTo>
                  <a:pt x="263" y="263"/>
                  <a:pt x="260" y="273"/>
                  <a:pt x="257" y="282"/>
                </a:cubicBezTo>
                <a:cubicBezTo>
                  <a:pt x="241" y="262"/>
                  <a:pt x="203" y="221"/>
                  <a:pt x="184" y="204"/>
                </a:cubicBezTo>
                <a:cubicBezTo>
                  <a:pt x="185" y="202"/>
                  <a:pt x="187" y="200"/>
                  <a:pt x="189" y="199"/>
                </a:cubicBezTo>
                <a:cubicBezTo>
                  <a:pt x="194" y="208"/>
                  <a:pt x="205" y="223"/>
                  <a:pt x="217" y="229"/>
                </a:cubicBezTo>
                <a:cubicBezTo>
                  <a:pt x="232" y="237"/>
                  <a:pt x="266" y="257"/>
                  <a:pt x="266" y="257"/>
                </a:cubicBezTo>
                <a:cubicBezTo>
                  <a:pt x="266" y="257"/>
                  <a:pt x="273" y="241"/>
                  <a:pt x="275" y="231"/>
                </a:cubicBezTo>
                <a:cubicBezTo>
                  <a:pt x="275" y="230"/>
                  <a:pt x="275" y="230"/>
                  <a:pt x="275" y="230"/>
                </a:cubicBezTo>
                <a:cubicBezTo>
                  <a:pt x="275" y="231"/>
                  <a:pt x="275" y="231"/>
                  <a:pt x="275" y="231"/>
                </a:cubicBezTo>
                <a:cubicBezTo>
                  <a:pt x="275" y="230"/>
                  <a:pt x="275" y="228"/>
                  <a:pt x="275" y="227"/>
                </a:cubicBezTo>
                <a:cubicBezTo>
                  <a:pt x="275" y="220"/>
                  <a:pt x="273" y="215"/>
                  <a:pt x="280" y="213"/>
                </a:cubicBezTo>
                <a:cubicBezTo>
                  <a:pt x="288" y="211"/>
                  <a:pt x="299" y="185"/>
                  <a:pt x="302" y="169"/>
                </a:cubicBezTo>
                <a:cubicBezTo>
                  <a:pt x="306" y="153"/>
                  <a:pt x="306" y="139"/>
                  <a:pt x="313" y="121"/>
                </a:cubicBezTo>
                <a:cubicBezTo>
                  <a:pt x="321" y="104"/>
                  <a:pt x="320" y="87"/>
                  <a:pt x="312" y="65"/>
                </a:cubicBezTo>
                <a:cubicBezTo>
                  <a:pt x="312" y="65"/>
                  <a:pt x="312" y="65"/>
                  <a:pt x="312" y="65"/>
                </a:cubicBezTo>
                <a:cubicBezTo>
                  <a:pt x="300" y="14"/>
                  <a:pt x="277" y="28"/>
                  <a:pt x="277" y="28"/>
                </a:cubicBezTo>
                <a:cubicBezTo>
                  <a:pt x="246" y="0"/>
                  <a:pt x="210" y="26"/>
                  <a:pt x="194" y="42"/>
                </a:cubicBezTo>
                <a:cubicBezTo>
                  <a:pt x="194" y="42"/>
                  <a:pt x="194" y="42"/>
                  <a:pt x="193" y="42"/>
                </a:cubicBezTo>
                <a:cubicBezTo>
                  <a:pt x="190" y="44"/>
                  <a:pt x="188" y="47"/>
                  <a:pt x="186" y="51"/>
                </a:cubicBezTo>
                <a:cubicBezTo>
                  <a:pt x="186" y="51"/>
                  <a:pt x="186" y="51"/>
                  <a:pt x="186" y="51"/>
                </a:cubicBezTo>
                <a:cubicBezTo>
                  <a:pt x="171" y="73"/>
                  <a:pt x="175" y="119"/>
                  <a:pt x="175" y="119"/>
                </a:cubicBezTo>
                <a:cubicBezTo>
                  <a:pt x="175" y="119"/>
                  <a:pt x="173" y="120"/>
                  <a:pt x="171" y="131"/>
                </a:cubicBezTo>
                <a:cubicBezTo>
                  <a:pt x="170" y="142"/>
                  <a:pt x="175" y="159"/>
                  <a:pt x="178" y="165"/>
                </a:cubicBezTo>
                <a:cubicBezTo>
                  <a:pt x="180" y="171"/>
                  <a:pt x="185" y="172"/>
                  <a:pt x="186" y="177"/>
                </a:cubicBezTo>
                <a:cubicBezTo>
                  <a:pt x="186" y="177"/>
                  <a:pt x="184" y="189"/>
                  <a:pt x="181" y="201"/>
                </a:cubicBezTo>
                <a:cubicBezTo>
                  <a:pt x="181" y="201"/>
                  <a:pt x="181" y="201"/>
                  <a:pt x="180" y="201"/>
                </a:cubicBezTo>
                <a:cubicBezTo>
                  <a:pt x="179" y="203"/>
                  <a:pt x="181" y="206"/>
                  <a:pt x="175" y="217"/>
                </a:cubicBezTo>
                <a:cubicBezTo>
                  <a:pt x="166" y="231"/>
                  <a:pt x="153" y="236"/>
                  <a:pt x="121" y="253"/>
                </a:cubicBezTo>
                <a:cubicBezTo>
                  <a:pt x="90" y="269"/>
                  <a:pt x="82" y="302"/>
                  <a:pt x="79" y="333"/>
                </a:cubicBezTo>
                <a:cubicBezTo>
                  <a:pt x="76" y="365"/>
                  <a:pt x="71" y="389"/>
                  <a:pt x="76" y="396"/>
                </a:cubicBezTo>
                <a:cubicBezTo>
                  <a:pt x="81" y="403"/>
                  <a:pt x="93" y="443"/>
                  <a:pt x="104" y="477"/>
                </a:cubicBezTo>
                <a:cubicBezTo>
                  <a:pt x="116" y="510"/>
                  <a:pt x="111" y="549"/>
                  <a:pt x="109" y="564"/>
                </a:cubicBezTo>
                <a:cubicBezTo>
                  <a:pt x="107" y="578"/>
                  <a:pt x="98" y="591"/>
                  <a:pt x="99" y="610"/>
                </a:cubicBezTo>
                <a:cubicBezTo>
                  <a:pt x="100" y="629"/>
                  <a:pt x="98" y="648"/>
                  <a:pt x="95" y="677"/>
                </a:cubicBezTo>
                <a:cubicBezTo>
                  <a:pt x="93" y="705"/>
                  <a:pt x="76" y="759"/>
                  <a:pt x="85" y="763"/>
                </a:cubicBezTo>
                <a:cubicBezTo>
                  <a:pt x="93" y="768"/>
                  <a:pt x="96" y="767"/>
                  <a:pt x="96" y="780"/>
                </a:cubicBezTo>
                <a:cubicBezTo>
                  <a:pt x="96" y="793"/>
                  <a:pt x="90" y="876"/>
                  <a:pt x="69" y="975"/>
                </a:cubicBezTo>
                <a:cubicBezTo>
                  <a:pt x="48" y="1075"/>
                  <a:pt x="16" y="1296"/>
                  <a:pt x="9" y="1338"/>
                </a:cubicBezTo>
                <a:cubicBezTo>
                  <a:pt x="2" y="1379"/>
                  <a:pt x="8" y="1383"/>
                  <a:pt x="8" y="1383"/>
                </a:cubicBezTo>
                <a:cubicBezTo>
                  <a:pt x="8" y="1383"/>
                  <a:pt x="8" y="1386"/>
                  <a:pt x="4" y="1398"/>
                </a:cubicBezTo>
                <a:cubicBezTo>
                  <a:pt x="0" y="1410"/>
                  <a:pt x="4" y="1418"/>
                  <a:pt x="11" y="1423"/>
                </a:cubicBezTo>
                <a:cubicBezTo>
                  <a:pt x="18" y="1428"/>
                  <a:pt x="19" y="1438"/>
                  <a:pt x="34" y="1449"/>
                </a:cubicBezTo>
                <a:cubicBezTo>
                  <a:pt x="48" y="1460"/>
                  <a:pt x="90" y="1470"/>
                  <a:pt x="108" y="1468"/>
                </a:cubicBezTo>
                <a:cubicBezTo>
                  <a:pt x="126" y="1466"/>
                  <a:pt x="121" y="1460"/>
                  <a:pt x="120" y="1442"/>
                </a:cubicBezTo>
                <a:cubicBezTo>
                  <a:pt x="119" y="1424"/>
                  <a:pt x="96" y="1398"/>
                  <a:pt x="96" y="1398"/>
                </a:cubicBezTo>
                <a:cubicBezTo>
                  <a:pt x="96" y="1398"/>
                  <a:pt x="95" y="1393"/>
                  <a:pt x="101" y="1390"/>
                </a:cubicBezTo>
                <a:cubicBezTo>
                  <a:pt x="107" y="1386"/>
                  <a:pt x="132" y="1306"/>
                  <a:pt x="153" y="1231"/>
                </a:cubicBezTo>
                <a:cubicBezTo>
                  <a:pt x="175" y="1157"/>
                  <a:pt x="214" y="1022"/>
                  <a:pt x="214" y="1022"/>
                </a:cubicBezTo>
                <a:cubicBezTo>
                  <a:pt x="214" y="1022"/>
                  <a:pt x="217" y="1061"/>
                  <a:pt x="220" y="1100"/>
                </a:cubicBezTo>
                <a:cubicBezTo>
                  <a:pt x="222" y="1139"/>
                  <a:pt x="224" y="1267"/>
                  <a:pt x="220" y="1300"/>
                </a:cubicBezTo>
                <a:cubicBezTo>
                  <a:pt x="215" y="1333"/>
                  <a:pt x="215" y="1363"/>
                  <a:pt x="215" y="1363"/>
                </a:cubicBezTo>
                <a:cubicBezTo>
                  <a:pt x="215" y="1363"/>
                  <a:pt x="215" y="1367"/>
                  <a:pt x="215" y="1378"/>
                </a:cubicBezTo>
                <a:cubicBezTo>
                  <a:pt x="215" y="1389"/>
                  <a:pt x="223" y="1389"/>
                  <a:pt x="242" y="1391"/>
                </a:cubicBezTo>
                <a:cubicBezTo>
                  <a:pt x="261" y="1393"/>
                  <a:pt x="287" y="1392"/>
                  <a:pt x="287" y="1392"/>
                </a:cubicBezTo>
                <a:cubicBezTo>
                  <a:pt x="287" y="1392"/>
                  <a:pt x="286" y="1383"/>
                  <a:pt x="297" y="1388"/>
                </a:cubicBezTo>
                <a:cubicBezTo>
                  <a:pt x="307" y="1392"/>
                  <a:pt x="329" y="1403"/>
                  <a:pt x="349" y="1403"/>
                </a:cubicBezTo>
                <a:cubicBezTo>
                  <a:pt x="369" y="1403"/>
                  <a:pt x="429" y="1412"/>
                  <a:pt x="429" y="1397"/>
                </a:cubicBezTo>
                <a:cubicBezTo>
                  <a:pt x="429" y="1382"/>
                  <a:pt x="406" y="1376"/>
                  <a:pt x="385" y="1376"/>
                </a:cubicBezTo>
                <a:cubicBezTo>
                  <a:pt x="365" y="1376"/>
                  <a:pt x="342" y="1344"/>
                  <a:pt x="342" y="1344"/>
                </a:cubicBezTo>
                <a:cubicBezTo>
                  <a:pt x="342" y="1344"/>
                  <a:pt x="342" y="1344"/>
                  <a:pt x="348" y="1340"/>
                </a:cubicBezTo>
                <a:cubicBezTo>
                  <a:pt x="353" y="1337"/>
                  <a:pt x="320" y="1312"/>
                  <a:pt x="316" y="1300"/>
                </a:cubicBezTo>
                <a:cubicBezTo>
                  <a:pt x="311" y="1288"/>
                  <a:pt x="312" y="1286"/>
                  <a:pt x="316" y="1257"/>
                </a:cubicBezTo>
                <a:cubicBezTo>
                  <a:pt x="319" y="1229"/>
                  <a:pt x="327" y="1136"/>
                  <a:pt x="337" y="1080"/>
                </a:cubicBezTo>
                <a:cubicBezTo>
                  <a:pt x="346" y="1023"/>
                  <a:pt x="358" y="968"/>
                  <a:pt x="365" y="920"/>
                </a:cubicBezTo>
                <a:cubicBezTo>
                  <a:pt x="372" y="871"/>
                  <a:pt x="376" y="792"/>
                  <a:pt x="376" y="792"/>
                </a:cubicBezTo>
                <a:cubicBezTo>
                  <a:pt x="376" y="792"/>
                  <a:pt x="380" y="791"/>
                  <a:pt x="387" y="785"/>
                </a:cubicBezTo>
                <a:cubicBezTo>
                  <a:pt x="394" y="779"/>
                  <a:pt x="392" y="764"/>
                  <a:pt x="388" y="747"/>
                </a:cubicBezTo>
                <a:cubicBezTo>
                  <a:pt x="385" y="729"/>
                  <a:pt x="380" y="656"/>
                  <a:pt x="377" y="621"/>
                </a:cubicBezTo>
                <a:cubicBezTo>
                  <a:pt x="373" y="586"/>
                  <a:pt x="359" y="534"/>
                  <a:pt x="359" y="534"/>
                </a:cubicBezTo>
                <a:cubicBezTo>
                  <a:pt x="359" y="534"/>
                  <a:pt x="370" y="529"/>
                  <a:pt x="377" y="522"/>
                </a:cubicBezTo>
                <a:cubicBezTo>
                  <a:pt x="384" y="516"/>
                  <a:pt x="385" y="500"/>
                  <a:pt x="385" y="500"/>
                </a:cubicBezTo>
                <a:cubicBezTo>
                  <a:pt x="385" y="500"/>
                  <a:pt x="428" y="504"/>
                  <a:pt x="446" y="496"/>
                </a:cubicBezTo>
                <a:cubicBezTo>
                  <a:pt x="463" y="489"/>
                  <a:pt x="460" y="450"/>
                  <a:pt x="454" y="422"/>
                </a:cubicBezTo>
                <a:close/>
                <a:moveTo>
                  <a:pt x="311" y="458"/>
                </a:moveTo>
                <a:cubicBezTo>
                  <a:pt x="311" y="458"/>
                  <a:pt x="330" y="452"/>
                  <a:pt x="330" y="437"/>
                </a:cubicBezTo>
                <a:cubicBezTo>
                  <a:pt x="330" y="421"/>
                  <a:pt x="315" y="411"/>
                  <a:pt x="308" y="410"/>
                </a:cubicBezTo>
                <a:cubicBezTo>
                  <a:pt x="301" y="410"/>
                  <a:pt x="313" y="399"/>
                  <a:pt x="327" y="411"/>
                </a:cubicBezTo>
                <a:cubicBezTo>
                  <a:pt x="342" y="423"/>
                  <a:pt x="353" y="475"/>
                  <a:pt x="353" y="475"/>
                </a:cubicBezTo>
                <a:cubicBezTo>
                  <a:pt x="353" y="475"/>
                  <a:pt x="323" y="463"/>
                  <a:pt x="311" y="458"/>
                </a:cubicBezTo>
                <a:close/>
                <a:moveTo>
                  <a:pt x="350" y="540"/>
                </a:moveTo>
                <a:cubicBezTo>
                  <a:pt x="350" y="540"/>
                  <a:pt x="352" y="500"/>
                  <a:pt x="353" y="483"/>
                </a:cubicBezTo>
                <a:cubicBezTo>
                  <a:pt x="362" y="531"/>
                  <a:pt x="362" y="531"/>
                  <a:pt x="362" y="531"/>
                </a:cubicBezTo>
                <a:lnTo>
                  <a:pt x="350" y="540"/>
                </a:lnTo>
                <a:close/>
              </a:path>
            </a:pathLst>
          </a:custGeom>
          <a:solidFill>
            <a:srgbClr val="2A80B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800" b="0" i="0" u="none" strike="noStrike" kern="0" cap="none" spc="0" normalizeH="0" baseline="0" noProof="0" dirty="0" err="1">
                <a:ln>
                  <a:noFill/>
                </a:ln>
                <a:solidFill>
                  <a:srgbClr val="95A5A6"/>
                </a:solidFill>
                <a:effectLst/>
                <a:uLnTx/>
                <a:uFillTx/>
              </a:rPr>
              <a:t>z</a:t>
            </a:r>
            <a:endParaRPr kumimoji="0" lang="id-ID" sz="1800" b="0" i="0" u="none" strike="noStrike" kern="0" cap="none" spc="0" normalizeH="0" baseline="0" noProof="0" dirty="0">
              <a:ln>
                <a:noFill/>
              </a:ln>
              <a:solidFill>
                <a:srgbClr val="95A5A6"/>
              </a:solidFill>
              <a:effectLst/>
              <a:uLnTx/>
              <a:uFillTx/>
            </a:endParaRPr>
          </a:p>
        </p:txBody>
      </p:sp>
      <p:pic>
        <p:nvPicPr>
          <p:cNvPr id="56" name="Picture 55" descr="lgo sigap.png">
            <a:extLst>
              <a:ext uri="{FF2B5EF4-FFF2-40B4-BE49-F238E27FC236}">
                <a16:creationId xmlns:a16="http://schemas.microsoft.com/office/drawing/2014/main" xmlns="" id="{A79E2473-2D59-40B8-82B6-0276DEB92A4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309584" y="2685"/>
            <a:ext cx="2877879" cy="110958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C1238DE0-F9E5-AFA9-36FD-80863FB364BC}"/>
              </a:ext>
            </a:extLst>
          </p:cNvPr>
          <p:cNvSpPr txBox="1"/>
          <p:nvPr/>
        </p:nvSpPr>
        <p:spPr>
          <a:xfrm>
            <a:off x="741718" y="1053277"/>
            <a:ext cx="12833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Ketua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ova" panose="020B0504020202020204" pitchFamily="34" charset="0"/>
                <a:cs typeface="Segoe UI Semilight" panose="020B0402040204020203" pitchFamily="34" charset="0"/>
              </a:rPr>
              <a:t> LPJK</a:t>
            </a:r>
          </a:p>
        </p:txBody>
      </p:sp>
    </p:spTree>
    <p:extLst>
      <p:ext uri="{BB962C8B-B14F-4D97-AF65-F5344CB8AC3E}">
        <p14:creationId xmlns:p14="http://schemas.microsoft.com/office/powerpoint/2010/main" val="4112332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5" grpId="0" animBg="1"/>
      <p:bldP spid="54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DCA36D2-EEF5-21EE-3283-F0CBB589C6A7}"/>
              </a:ext>
            </a:extLst>
          </p:cNvPr>
          <p:cNvSpPr/>
          <p:nvPr/>
        </p:nvSpPr>
        <p:spPr>
          <a:xfrm>
            <a:off x="407988" y="1064301"/>
            <a:ext cx="11376024" cy="506503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407988" y="79358"/>
            <a:ext cx="10444891" cy="84325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Cara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porkan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Tenaga Ahli (TA) yang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erlibat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dalam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endParaRPr lang="en-US" sz="2400" dirty="0">
              <a:solidFill>
                <a:schemeClr val="tx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  <a:p>
            <a:r>
              <a:rPr lang="en-US" sz="2000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lui</a:t>
            </a:r>
            <a:r>
              <a:rPr lang="en-US" sz="2000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Upload Excel (2/5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30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87DECBBD-79E5-BFD1-B894-A60988804F3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690" t="24538" r="6666" b="7654"/>
          <a:stretch/>
        </p:blipFill>
        <p:spPr>
          <a:xfrm>
            <a:off x="1140165" y="1064300"/>
            <a:ext cx="9911669" cy="50623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D0A0DB9-2CE9-6997-1D8A-BB6C98285F28}"/>
              </a:ext>
            </a:extLst>
          </p:cNvPr>
          <p:cNvSpPr/>
          <p:nvPr/>
        </p:nvSpPr>
        <p:spPr>
          <a:xfrm>
            <a:off x="2684366" y="3843561"/>
            <a:ext cx="1045808" cy="37503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3AB35627-7EA6-F8FA-DD0C-7D61AF974CD2}"/>
              </a:ext>
            </a:extLst>
          </p:cNvPr>
          <p:cNvSpPr/>
          <p:nvPr/>
        </p:nvSpPr>
        <p:spPr>
          <a:xfrm>
            <a:off x="3817258" y="3765800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3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56679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407988" y="79358"/>
            <a:ext cx="10444891" cy="84325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Cara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porkan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Tenaga Ahli (TA) yang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erlibat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dalam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endParaRPr lang="en-US" sz="2400" dirty="0">
              <a:solidFill>
                <a:schemeClr val="tx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  <a:p>
            <a:r>
              <a:rPr lang="en-US" sz="2000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lui</a:t>
            </a:r>
            <a:r>
              <a:rPr lang="en-US" sz="2000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Upload Excel (3/5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31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E45B886C-93A1-5795-0ECE-98975CE0B2E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571" t="24961" r="5591" b="46665"/>
          <a:stretch/>
        </p:blipFill>
        <p:spPr>
          <a:xfrm>
            <a:off x="1224642" y="994698"/>
            <a:ext cx="9246184" cy="19449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451A5888-504C-80E4-F3B6-8419244626A1}"/>
              </a:ext>
            </a:extLst>
          </p:cNvPr>
          <p:cNvGrpSpPr/>
          <p:nvPr/>
        </p:nvGrpSpPr>
        <p:grpSpPr>
          <a:xfrm>
            <a:off x="2371563" y="3077498"/>
            <a:ext cx="6952343" cy="3701144"/>
            <a:chOff x="4441663" y="2767663"/>
            <a:chExt cx="6952343" cy="3701144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xmlns="" id="{9444A489-A85A-441B-32E1-8EF227B7377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32584" r="42976" b="13421"/>
            <a:stretch/>
          </p:blipFill>
          <p:spPr>
            <a:xfrm>
              <a:off x="4441663" y="2767663"/>
              <a:ext cx="6952343" cy="370114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D841D997-D19E-166B-BE1D-A4FA037A7E6D}"/>
                </a:ext>
              </a:extLst>
            </p:cNvPr>
            <p:cNvSpPr/>
            <p:nvPr/>
          </p:nvSpPr>
          <p:spPr>
            <a:xfrm>
              <a:off x="5225144" y="3004457"/>
              <a:ext cx="1045028" cy="3327190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22DD856E-CCC5-65D3-8D64-D6C796A3DD43}"/>
                </a:ext>
              </a:extLst>
            </p:cNvPr>
            <p:cNvSpPr/>
            <p:nvPr/>
          </p:nvSpPr>
          <p:spPr>
            <a:xfrm>
              <a:off x="6270172" y="3003731"/>
              <a:ext cx="1133928" cy="3327190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FC53B4A-1C28-2FE7-D906-C6CAA5103AF8}"/>
              </a:ext>
            </a:extLst>
          </p:cNvPr>
          <p:cNvSpPr/>
          <p:nvPr/>
        </p:nvSpPr>
        <p:spPr>
          <a:xfrm>
            <a:off x="5921052" y="1869618"/>
            <a:ext cx="1045808" cy="37503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C6AC2448-6B9C-462C-14BC-3AD631D465D0}"/>
              </a:ext>
            </a:extLst>
          </p:cNvPr>
          <p:cNvSpPr/>
          <p:nvPr/>
        </p:nvSpPr>
        <p:spPr>
          <a:xfrm>
            <a:off x="7053944" y="1791857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4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E877F5E8-1B9E-C86F-22EB-B6073D09B1F9}"/>
              </a:ext>
            </a:extLst>
          </p:cNvPr>
          <p:cNvSpPr/>
          <p:nvPr/>
        </p:nvSpPr>
        <p:spPr>
          <a:xfrm>
            <a:off x="5376881" y="3829169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5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61EF4BE0-4E25-0A4D-F2CD-645F3BA881AB}"/>
              </a:ext>
            </a:extLst>
          </p:cNvPr>
          <p:cNvSpPr txBox="1"/>
          <p:nvPr/>
        </p:nvSpPr>
        <p:spPr>
          <a:xfrm>
            <a:off x="5957572" y="3793195"/>
            <a:ext cx="27722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>
                <a:latin typeface="Century Gothic" panose="020B0502020202020204" pitchFamily="34" charset="0"/>
              </a:rPr>
              <a:t>Mengisi</a:t>
            </a:r>
            <a:r>
              <a:rPr lang="en-US" sz="1600" dirty="0">
                <a:latin typeface="Century Gothic" panose="020B0502020202020204" pitchFamily="34" charset="0"/>
              </a:rPr>
              <a:t> NIK dan </a:t>
            </a:r>
            <a:r>
              <a:rPr lang="en-US" sz="1600" dirty="0" err="1">
                <a:latin typeface="Century Gothic" panose="020B0502020202020204" pitchFamily="34" charset="0"/>
              </a:rPr>
              <a:t>metode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tenaga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ahli</a:t>
            </a:r>
            <a:r>
              <a:rPr lang="en-US" sz="1600" dirty="0">
                <a:latin typeface="Century Gothic" panose="020B0502020202020204" pitchFamily="34" charset="0"/>
              </a:rPr>
              <a:t> yang </a:t>
            </a:r>
            <a:r>
              <a:rPr lang="en-US" sz="1600" dirty="0" err="1">
                <a:latin typeface="Century Gothic" panose="020B0502020202020204" pitchFamily="34" charset="0"/>
              </a:rPr>
              <a:t>terlibat</a:t>
            </a:r>
            <a:endParaRPr lang="en-ID" sz="1600" dirty="0">
              <a:latin typeface="Century Gothic" panose="020B0502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03072646-B36E-F68E-FD32-749A956EE46B}"/>
              </a:ext>
            </a:extLst>
          </p:cNvPr>
          <p:cNvSpPr/>
          <p:nvPr/>
        </p:nvSpPr>
        <p:spPr>
          <a:xfrm>
            <a:off x="1238671" y="2336730"/>
            <a:ext cx="1045808" cy="37503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8B38DF03-117D-1FB9-252D-2324BC734F01}"/>
              </a:ext>
            </a:extLst>
          </p:cNvPr>
          <p:cNvSpPr/>
          <p:nvPr/>
        </p:nvSpPr>
        <p:spPr>
          <a:xfrm>
            <a:off x="2371563" y="2258969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6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11405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407988" y="79358"/>
            <a:ext cx="10444891" cy="84325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Cara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porkan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Tenaga Ahli (TA) yang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erlibat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dalam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endParaRPr lang="en-US" sz="2400" dirty="0">
              <a:solidFill>
                <a:schemeClr val="tx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  <a:p>
            <a:r>
              <a:rPr lang="en-US" sz="2000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lui</a:t>
            </a:r>
            <a:r>
              <a:rPr lang="en-US" sz="2000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Upload Excel (4/5)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552EBE16-F567-8111-188F-D7D1D668C783}"/>
              </a:ext>
            </a:extLst>
          </p:cNvPr>
          <p:cNvGrpSpPr/>
          <p:nvPr/>
        </p:nvGrpSpPr>
        <p:grpSpPr>
          <a:xfrm>
            <a:off x="407989" y="1088572"/>
            <a:ext cx="7415212" cy="2462778"/>
            <a:chOff x="407989" y="1088572"/>
            <a:chExt cx="7415212" cy="2462778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F840B4D9-EAED-92E5-99AA-8732E57A197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810" t="23691" r="6428" b="32145"/>
            <a:stretch/>
          </p:blipFill>
          <p:spPr>
            <a:xfrm>
              <a:off x="407989" y="1088572"/>
              <a:ext cx="7415212" cy="24627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xmlns="" id="{A49EE3C1-52FF-CD94-B7CB-57F1DD94F13B}"/>
                </a:ext>
              </a:extLst>
            </p:cNvPr>
            <p:cNvSpPr txBox="1"/>
            <p:nvPr/>
          </p:nvSpPr>
          <p:spPr>
            <a:xfrm>
              <a:off x="1244600" y="2190750"/>
              <a:ext cx="10668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err="1">
                  <a:solidFill>
                    <a:srgbClr val="C00000"/>
                  </a:solidFill>
                </a:rPr>
                <a:t>xxx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165F436A-4434-C868-E08A-3EF60356C65A}"/>
                </a:ext>
              </a:extLst>
            </p:cNvPr>
            <p:cNvSpPr txBox="1"/>
            <p:nvPr/>
          </p:nvSpPr>
          <p:spPr>
            <a:xfrm>
              <a:off x="1225550" y="2863854"/>
              <a:ext cx="10668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err="1">
                  <a:solidFill>
                    <a:srgbClr val="C00000"/>
                  </a:solidFill>
                </a:rPr>
                <a:t>xxx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341CE683-A62F-8AB4-E9BC-321AF12D15D3}"/>
              </a:ext>
            </a:extLst>
          </p:cNvPr>
          <p:cNvSpPr/>
          <p:nvPr/>
        </p:nvSpPr>
        <p:spPr>
          <a:xfrm>
            <a:off x="6319622" y="2220730"/>
            <a:ext cx="875656" cy="270181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D6C50DB9-2066-A6D8-1EBE-AD887FE054BD}"/>
              </a:ext>
            </a:extLst>
          </p:cNvPr>
          <p:cNvSpPr/>
          <p:nvPr/>
        </p:nvSpPr>
        <p:spPr>
          <a:xfrm>
            <a:off x="7422534" y="2055779"/>
            <a:ext cx="530551" cy="530551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7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050038" y="6595446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050037" y="6595445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32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FC7A8B84-4007-18E6-A9B4-6689CB31A0FC}"/>
              </a:ext>
            </a:extLst>
          </p:cNvPr>
          <p:cNvGrpSpPr/>
          <p:nvPr/>
        </p:nvGrpSpPr>
        <p:grpSpPr>
          <a:xfrm>
            <a:off x="2813503" y="3630707"/>
            <a:ext cx="9218062" cy="3147935"/>
            <a:chOff x="2813503" y="3630707"/>
            <a:chExt cx="9218062" cy="3147935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xmlns="" id="{39CE7B5D-F469-32C3-19F5-1DE34221E5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8802" t="25780" r="5590" b="28296"/>
            <a:stretch/>
          </p:blipFill>
          <p:spPr>
            <a:xfrm>
              <a:off x="2813503" y="3630707"/>
              <a:ext cx="9218062" cy="3147935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xmlns="" id="{3B50B92B-89F0-D906-8383-47F614C3CC0B}"/>
                </a:ext>
              </a:extLst>
            </p:cNvPr>
            <p:cNvSpPr txBox="1"/>
            <p:nvPr/>
          </p:nvSpPr>
          <p:spPr>
            <a:xfrm>
              <a:off x="3121819" y="4489709"/>
              <a:ext cx="11612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err="1">
                  <a:solidFill>
                    <a:srgbClr val="C00000"/>
                  </a:solidFill>
                </a:rPr>
                <a:t>xxxxx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xmlns="" id="{406C80C6-0422-ED9A-C82A-57A894345CC0}"/>
                </a:ext>
              </a:extLst>
            </p:cNvPr>
            <p:cNvSpPr/>
            <p:nvPr/>
          </p:nvSpPr>
          <p:spPr>
            <a:xfrm>
              <a:off x="2996213" y="4930738"/>
              <a:ext cx="3185512" cy="1470061"/>
            </a:xfrm>
            <a:prstGeom prst="rect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xmlns="" id="{5EA3AD08-9EE9-731B-E94B-EB86112C55C7}"/>
                </a:ext>
              </a:extLst>
            </p:cNvPr>
            <p:cNvSpPr/>
            <p:nvPr/>
          </p:nvSpPr>
          <p:spPr>
            <a:xfrm>
              <a:off x="6309309" y="4953240"/>
              <a:ext cx="530551" cy="53055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8</a:t>
              </a:r>
              <a:endParaRPr lang="en-ID" sz="1600" b="1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3DB72AD8-A7CE-2B19-7B05-5E5339966CD4}"/>
                </a:ext>
              </a:extLst>
            </p:cNvPr>
            <p:cNvSpPr txBox="1"/>
            <p:nvPr/>
          </p:nvSpPr>
          <p:spPr>
            <a:xfrm>
              <a:off x="6973998" y="4930739"/>
              <a:ext cx="336062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>
                  <a:latin typeface="Century Gothic" panose="020B0502020202020204" pitchFamily="34" charset="0"/>
                </a:rPr>
                <a:t>Memilih</a:t>
              </a:r>
              <a:r>
                <a:rPr lang="en-US" sz="1600" dirty="0">
                  <a:latin typeface="Century Gothic" panose="020B0502020202020204" pitchFamily="34" charset="0"/>
                </a:rPr>
                <a:t> </a:t>
              </a:r>
              <a:r>
                <a:rPr lang="en-US" sz="1600" dirty="0" err="1">
                  <a:latin typeface="Century Gothic" panose="020B0502020202020204" pitchFamily="34" charset="0"/>
                </a:rPr>
                <a:t>unsur</a:t>
              </a:r>
              <a:r>
                <a:rPr lang="en-US" sz="1600" dirty="0">
                  <a:latin typeface="Century Gothic" panose="020B0502020202020204" pitchFamily="34" charset="0"/>
                </a:rPr>
                <a:t> </a:t>
              </a:r>
              <a:r>
                <a:rPr lang="en-US" sz="1600" dirty="0" err="1">
                  <a:latin typeface="Century Gothic" panose="020B0502020202020204" pitchFamily="34" charset="0"/>
                </a:rPr>
                <a:t>tenaga</a:t>
              </a:r>
              <a:r>
                <a:rPr lang="en-US" sz="1600" dirty="0">
                  <a:latin typeface="Century Gothic" panose="020B0502020202020204" pitchFamily="34" charset="0"/>
                </a:rPr>
                <a:t> </a:t>
              </a:r>
              <a:r>
                <a:rPr lang="en-US" sz="1600" dirty="0" err="1">
                  <a:latin typeface="Century Gothic" panose="020B0502020202020204" pitchFamily="34" charset="0"/>
                </a:rPr>
                <a:t>ahli</a:t>
              </a:r>
              <a:r>
                <a:rPr lang="en-US" sz="1600" dirty="0">
                  <a:latin typeface="Century Gothic" panose="020B0502020202020204" pitchFamily="34" charset="0"/>
                </a:rPr>
                <a:t> yang </a:t>
              </a:r>
              <a:r>
                <a:rPr lang="en-US" sz="1600" dirty="0" err="1">
                  <a:latin typeface="Century Gothic" panose="020B0502020202020204" pitchFamily="34" charset="0"/>
                </a:rPr>
                <a:t>terlibat</a:t>
              </a:r>
              <a:r>
                <a:rPr lang="en-US" sz="1600" dirty="0">
                  <a:latin typeface="Century Gothic" panose="020B0502020202020204" pitchFamily="34" charset="0"/>
                </a:rPr>
                <a:t>, </a:t>
              </a:r>
              <a:r>
                <a:rPr lang="en-US" sz="1600" dirty="0" err="1">
                  <a:latin typeface="Century Gothic" panose="020B0502020202020204" pitchFamily="34" charset="0"/>
                </a:rPr>
                <a:t>kemudian</a:t>
              </a:r>
              <a:r>
                <a:rPr lang="en-US" sz="1600" dirty="0">
                  <a:latin typeface="Century Gothic" panose="020B0502020202020204" pitchFamily="34" charset="0"/>
                </a:rPr>
                <a:t> save</a:t>
              </a:r>
              <a:endParaRPr lang="en-ID" sz="1600" dirty="0"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649017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407988" y="79358"/>
            <a:ext cx="10444891" cy="84325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Cara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porkan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Tenaga Ahli (TA) yang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Terlibat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dalam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endParaRPr lang="en-US" sz="2400" dirty="0">
              <a:solidFill>
                <a:schemeClr val="tx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  <a:p>
            <a:r>
              <a:rPr lang="en-US" sz="2000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lalui</a:t>
            </a:r>
            <a:r>
              <a:rPr lang="en-US" sz="2000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Upload Excel (5/5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33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B74CF0A0-C388-74F8-FF50-954B9B785E75}"/>
              </a:ext>
            </a:extLst>
          </p:cNvPr>
          <p:cNvGrpSpPr/>
          <p:nvPr/>
        </p:nvGrpSpPr>
        <p:grpSpPr>
          <a:xfrm>
            <a:off x="407988" y="1071024"/>
            <a:ext cx="8934138" cy="2956089"/>
            <a:chOff x="407988" y="1071024"/>
            <a:chExt cx="8934138" cy="295608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F9E8073A-D004-EA55-F9CD-432DBA3632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9426" t="24467" r="7295" b="32406"/>
            <a:stretch/>
          </p:blipFill>
          <p:spPr>
            <a:xfrm>
              <a:off x="407988" y="1071024"/>
              <a:ext cx="8934138" cy="2956089"/>
            </a:xfrm>
            <a:prstGeom prst="rect">
              <a:avLst/>
            </a:prstGeom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DCC74C31-77EB-75FB-2EAE-034624ABC4F3}"/>
                </a:ext>
              </a:extLst>
            </p:cNvPr>
            <p:cNvSpPr/>
            <p:nvPr/>
          </p:nvSpPr>
          <p:spPr>
            <a:xfrm>
              <a:off x="7918319" y="2414056"/>
              <a:ext cx="623863" cy="375030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xmlns="" id="{2B906D82-BDC2-AFFC-B3D2-D46C26B06AEF}"/>
                </a:ext>
              </a:extLst>
            </p:cNvPr>
            <p:cNvSpPr/>
            <p:nvPr/>
          </p:nvSpPr>
          <p:spPr>
            <a:xfrm>
              <a:off x="8604363" y="2336295"/>
              <a:ext cx="530551" cy="53055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9</a:t>
              </a:r>
              <a:endParaRPr lang="en-ID" sz="1600" b="1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xmlns="" id="{55587EBC-6322-ABF4-9609-F56A028650C3}"/>
                </a:ext>
              </a:extLst>
            </p:cNvPr>
            <p:cNvSpPr txBox="1"/>
            <p:nvPr/>
          </p:nvSpPr>
          <p:spPr>
            <a:xfrm>
              <a:off x="1073562" y="2414056"/>
              <a:ext cx="11612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err="1">
                  <a:solidFill>
                    <a:srgbClr val="C00000"/>
                  </a:solidFill>
                </a:rPr>
                <a:t>xxxxx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E324C1CF-5B74-CB68-B115-B42B11E3FFE2}"/>
                </a:ext>
              </a:extLst>
            </p:cNvPr>
            <p:cNvSpPr txBox="1"/>
            <p:nvPr/>
          </p:nvSpPr>
          <p:spPr>
            <a:xfrm>
              <a:off x="1073561" y="3232335"/>
              <a:ext cx="11612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err="1">
                  <a:solidFill>
                    <a:srgbClr val="C00000"/>
                  </a:solidFill>
                </a:rPr>
                <a:t>xxxxx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80026B28-A844-CFBA-8A29-692715FB0B35}"/>
              </a:ext>
            </a:extLst>
          </p:cNvPr>
          <p:cNvSpPr txBox="1"/>
          <p:nvPr/>
        </p:nvSpPr>
        <p:spPr>
          <a:xfrm>
            <a:off x="9404307" y="1541608"/>
            <a:ext cx="257695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>
                <a:latin typeface="Century Gothic" panose="020B0502020202020204" pitchFamily="34" charset="0"/>
              </a:rPr>
              <a:t>Klik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simpan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untuk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mengimport</a:t>
            </a:r>
            <a:r>
              <a:rPr lang="en-US" sz="1600" dirty="0">
                <a:latin typeface="Century Gothic" panose="020B0502020202020204" pitchFamily="34" charset="0"/>
              </a:rPr>
              <a:t> data </a:t>
            </a:r>
            <a:r>
              <a:rPr lang="en-US" sz="1600" dirty="0" err="1">
                <a:latin typeface="Century Gothic" panose="020B0502020202020204" pitchFamily="34" charset="0"/>
              </a:rPr>
              <a:t>sehingga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akan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tampil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b="1" dirty="0">
                <a:latin typeface="Century Gothic" panose="020B0502020202020204" pitchFamily="34" charset="0"/>
              </a:rPr>
              <a:t>daftar </a:t>
            </a:r>
            <a:r>
              <a:rPr lang="en-US" sz="1600" b="1" dirty="0" err="1">
                <a:latin typeface="Century Gothic" panose="020B0502020202020204" pitchFamily="34" charset="0"/>
              </a:rPr>
              <a:t>tenaga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ahli</a:t>
            </a:r>
            <a:r>
              <a:rPr lang="en-US" sz="1600" b="1" dirty="0">
                <a:latin typeface="Century Gothic" panose="020B0502020202020204" pitchFamily="34" charset="0"/>
              </a:rPr>
              <a:t> yang </a:t>
            </a:r>
            <a:r>
              <a:rPr lang="en-US" sz="1600" b="1" dirty="0" err="1">
                <a:latin typeface="Century Gothic" panose="020B0502020202020204" pitchFamily="34" charset="0"/>
              </a:rPr>
              <a:t>terlibat</a:t>
            </a:r>
            <a:endParaRPr lang="en-ID" sz="1600" b="1" dirty="0">
              <a:latin typeface="Century Gothic" panose="020B0502020202020204" pitchFamily="34" charset="0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79E5AA7E-D3E4-4AA8-D9B4-C576F65C94CD}"/>
              </a:ext>
            </a:extLst>
          </p:cNvPr>
          <p:cNvGrpSpPr/>
          <p:nvPr/>
        </p:nvGrpSpPr>
        <p:grpSpPr>
          <a:xfrm>
            <a:off x="3540641" y="3663797"/>
            <a:ext cx="6869729" cy="2876703"/>
            <a:chOff x="3540641" y="3663797"/>
            <a:chExt cx="6869729" cy="287670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xmlns="" id="{17750BC8-2A7F-0D26-6AFB-2517372ACE0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9286" t="20938" r="7436" b="25453"/>
            <a:stretch/>
          </p:blipFill>
          <p:spPr>
            <a:xfrm>
              <a:off x="3540641" y="3714935"/>
              <a:ext cx="6869729" cy="2825565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6DB8CDA7-EB20-006A-5574-4D0046566AD6}"/>
                </a:ext>
              </a:extLst>
            </p:cNvPr>
            <p:cNvSpPr txBox="1"/>
            <p:nvPr/>
          </p:nvSpPr>
          <p:spPr>
            <a:xfrm>
              <a:off x="5401833" y="5390283"/>
              <a:ext cx="11612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err="1">
                  <a:solidFill>
                    <a:srgbClr val="C00000"/>
                  </a:solidFill>
                </a:rPr>
                <a:t>xxxxx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1ACC83E9-C715-2450-397D-C946399CC199}"/>
                </a:ext>
              </a:extLst>
            </p:cNvPr>
            <p:cNvSpPr txBox="1"/>
            <p:nvPr/>
          </p:nvSpPr>
          <p:spPr>
            <a:xfrm>
              <a:off x="5401833" y="6070212"/>
              <a:ext cx="116125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b="1" dirty="0" err="1">
                  <a:solidFill>
                    <a:srgbClr val="C00000"/>
                  </a:solidFill>
                </a:rPr>
                <a:t>xxxxx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016D476C-3581-1393-21E0-04A101A6C184}"/>
                </a:ext>
              </a:extLst>
            </p:cNvPr>
            <p:cNvSpPr txBox="1"/>
            <p:nvPr/>
          </p:nvSpPr>
          <p:spPr>
            <a:xfrm>
              <a:off x="4380991" y="5350010"/>
              <a:ext cx="772034" cy="3416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000" b="1" dirty="0" err="1">
                  <a:solidFill>
                    <a:srgbClr val="C00000"/>
                  </a:solidFill>
                </a:rPr>
                <a:t>xxxxx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xmlns="" id="{925C73C1-0983-6AD3-D01E-4D03628A2338}"/>
                </a:ext>
              </a:extLst>
            </p:cNvPr>
            <p:cNvSpPr txBox="1"/>
            <p:nvPr/>
          </p:nvSpPr>
          <p:spPr>
            <a:xfrm>
              <a:off x="4380990" y="6106536"/>
              <a:ext cx="876809" cy="2185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000" b="1" dirty="0" err="1">
                  <a:solidFill>
                    <a:srgbClr val="C00000"/>
                  </a:solidFill>
                </a:rPr>
                <a:t>xxxxxxxxxxx</a:t>
              </a:r>
              <a:endParaRPr lang="en-ID" sz="1000" b="1" dirty="0">
                <a:solidFill>
                  <a:srgbClr val="C00000"/>
                </a:solidFill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xmlns="" id="{BA42D3B9-3B0A-86C5-3F5E-2BC372FF1F77}"/>
                </a:ext>
              </a:extLst>
            </p:cNvPr>
            <p:cNvSpPr/>
            <p:nvPr/>
          </p:nvSpPr>
          <p:spPr>
            <a:xfrm>
              <a:off x="5303525" y="3663797"/>
              <a:ext cx="1376675" cy="375030"/>
            </a:xfrm>
            <a:prstGeom prst="rect">
              <a:avLst/>
            </a:prstGeom>
            <a:noFill/>
            <a:ln w="381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xmlns="" id="{6C714A8F-600F-4A52-0CB6-7312096539BA}"/>
                </a:ext>
              </a:extLst>
            </p:cNvPr>
            <p:cNvSpPr/>
            <p:nvPr/>
          </p:nvSpPr>
          <p:spPr>
            <a:xfrm>
              <a:off x="6775188" y="3712914"/>
              <a:ext cx="674923" cy="501369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10</a:t>
              </a:r>
              <a:endParaRPr lang="en-ID" sz="1600" b="1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xmlns="" id="{35AD7CE9-7A3A-21AB-AE81-06353BDBA1EC}"/>
                </a:ext>
              </a:extLst>
            </p:cNvPr>
            <p:cNvSpPr txBox="1"/>
            <p:nvPr/>
          </p:nvSpPr>
          <p:spPr>
            <a:xfrm>
              <a:off x="7450111" y="3693163"/>
              <a:ext cx="234626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err="1">
                  <a:latin typeface="Century Gothic" panose="020B0502020202020204" pitchFamily="34" charset="0"/>
                </a:rPr>
                <a:t>Lanjut</a:t>
              </a:r>
              <a:r>
                <a:rPr lang="en-US" sz="1600" dirty="0">
                  <a:latin typeface="Century Gothic" panose="020B0502020202020204" pitchFamily="34" charset="0"/>
                </a:rPr>
                <a:t> </a:t>
              </a:r>
              <a:r>
                <a:rPr lang="en-US" sz="1600" dirty="0" err="1">
                  <a:latin typeface="Century Gothic" panose="020B0502020202020204" pitchFamily="34" charset="0"/>
                </a:rPr>
                <a:t>ke</a:t>
              </a:r>
              <a:r>
                <a:rPr lang="en-US" sz="1600" dirty="0">
                  <a:latin typeface="Century Gothic" panose="020B0502020202020204" pitchFamily="34" charset="0"/>
                </a:rPr>
                <a:t> </a:t>
              </a:r>
              <a:r>
                <a:rPr lang="en-US" sz="1600" dirty="0" err="1">
                  <a:latin typeface="Century Gothic" panose="020B0502020202020204" pitchFamily="34" charset="0"/>
                </a:rPr>
                <a:t>unggah</a:t>
              </a:r>
              <a:r>
                <a:rPr lang="en-US" sz="1600" dirty="0">
                  <a:latin typeface="Century Gothic" panose="020B0502020202020204" pitchFamily="34" charset="0"/>
                </a:rPr>
                <a:t> </a:t>
              </a:r>
              <a:r>
                <a:rPr lang="en-US" sz="1600" dirty="0" err="1">
                  <a:latin typeface="Century Gothic" panose="020B0502020202020204" pitchFamily="34" charset="0"/>
                </a:rPr>
                <a:t>berkas</a:t>
              </a:r>
              <a:r>
                <a:rPr lang="en-US" sz="1600" dirty="0">
                  <a:latin typeface="Century Gothic" panose="020B0502020202020204" pitchFamily="34" charset="0"/>
                </a:rPr>
                <a:t> </a:t>
              </a:r>
              <a:r>
                <a:rPr lang="en-US" sz="1600" dirty="0" err="1">
                  <a:latin typeface="Century Gothic" panose="020B0502020202020204" pitchFamily="34" charset="0"/>
                </a:rPr>
                <a:t>laporan</a:t>
              </a:r>
              <a:endParaRPr lang="en-ID" sz="1600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DF6921EC-9414-DA1C-15A6-628DA872341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726405">
            <a:off x="9409768" y="2972726"/>
            <a:ext cx="1546144" cy="200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09332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mountain, valley, canyon, nature&#10;&#10;Description automatically generated">
            <a:extLst>
              <a:ext uri="{FF2B5EF4-FFF2-40B4-BE49-F238E27FC236}">
                <a16:creationId xmlns:a16="http://schemas.microsoft.com/office/drawing/2014/main" xmlns="" id="{9CA8A497-9639-3B21-9820-50A9CC47660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90685"/>
            <a:ext cx="12192000" cy="3967314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4937860-2AEB-700D-01D9-30BEEAFB7510}"/>
              </a:ext>
            </a:extLst>
          </p:cNvPr>
          <p:cNvSpPr/>
          <p:nvPr/>
        </p:nvSpPr>
        <p:spPr>
          <a:xfrm>
            <a:off x="0" y="2890684"/>
            <a:ext cx="12192000" cy="3967316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5DF16468-97B7-242A-7A70-87D7CC777945}"/>
              </a:ext>
            </a:extLst>
          </p:cNvPr>
          <p:cNvSpPr/>
          <p:nvPr/>
        </p:nvSpPr>
        <p:spPr>
          <a:xfrm>
            <a:off x="407988" y="79358"/>
            <a:ext cx="10444891" cy="84325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Cara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Mengunggah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Berkas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Laporan</a:t>
            </a:r>
            <a:r>
              <a:rPr lang="en-US" sz="2400" b="1" dirty="0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 </a:t>
            </a:r>
            <a:r>
              <a:rPr lang="en-US" sz="2400" b="1" dirty="0" err="1">
                <a:solidFill>
                  <a:schemeClr val="tx1"/>
                </a:solidFill>
                <a:latin typeface="Century Gothic" panose="020B0502020202020204" pitchFamily="34" charset="0"/>
                <a:cs typeface="Calibri Light" panose="020F0302020204030204" pitchFamily="34" charset="0"/>
              </a:rPr>
              <a:t>Kegiatan</a:t>
            </a:r>
            <a:endParaRPr lang="en-US" sz="2000" dirty="0">
              <a:solidFill>
                <a:schemeClr val="tx1"/>
              </a:solidFill>
              <a:latin typeface="Century Gothic" panose="020B0502020202020204" pitchFamily="34" charset="0"/>
              <a:cs typeface="Calibri Light" panose="020F030202020403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607D4A06-0B97-7D5D-58E8-E7AFF55242A8}"/>
              </a:ext>
            </a:extLst>
          </p:cNvPr>
          <p:cNvSpPr/>
          <p:nvPr/>
        </p:nvSpPr>
        <p:spPr>
          <a:xfrm>
            <a:off x="11510413" y="6331648"/>
            <a:ext cx="273600" cy="274320"/>
          </a:xfrm>
          <a:prstGeom prst="rect">
            <a:avLst/>
          </a:prstGeom>
          <a:solidFill>
            <a:srgbClr val="D5204B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/>
          </a:p>
        </p:txBody>
      </p: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xmlns="" id="{CBD71BDE-61FA-1594-60CB-C714F20D117F}"/>
              </a:ext>
            </a:extLst>
          </p:cNvPr>
          <p:cNvSpPr txBox="1">
            <a:spLocks/>
          </p:cNvSpPr>
          <p:nvPr/>
        </p:nvSpPr>
        <p:spPr>
          <a:xfrm>
            <a:off x="11510412" y="6331647"/>
            <a:ext cx="273600" cy="274321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B85BDB3-3CFC-403C-9871-14776D829718}" type="slidenum">
              <a:rPr lang="en-US" sz="1000" b="1" smtClean="0">
                <a:solidFill>
                  <a:schemeClr val="bg1"/>
                </a:solidFill>
              </a:rPr>
              <a:pPr algn="ctr"/>
              <a:t>34</a:t>
            </a:fld>
            <a:endParaRPr lang="en-US" sz="1000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F56DD5FD-B2DF-5029-7068-A3A353FFB69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689" t="18126" r="6681" b="15174"/>
          <a:stretch/>
        </p:blipFill>
        <p:spPr>
          <a:xfrm>
            <a:off x="1149246" y="1128010"/>
            <a:ext cx="9893508" cy="497120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3936E11-9A29-DD91-A5C2-CD6CB33FF6E5}"/>
              </a:ext>
            </a:extLst>
          </p:cNvPr>
          <p:cNvSpPr/>
          <p:nvPr/>
        </p:nvSpPr>
        <p:spPr>
          <a:xfrm>
            <a:off x="6209440" y="2968444"/>
            <a:ext cx="940868" cy="37503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2135E3D3-869E-98C0-1CF8-7D82CD34010C}"/>
              </a:ext>
            </a:extLst>
          </p:cNvPr>
          <p:cNvSpPr/>
          <p:nvPr/>
        </p:nvSpPr>
        <p:spPr>
          <a:xfrm>
            <a:off x="7270238" y="2903531"/>
            <a:ext cx="530551" cy="53055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1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AC88115F-044D-DBAA-DC22-4700DA469801}"/>
              </a:ext>
            </a:extLst>
          </p:cNvPr>
          <p:cNvSpPr txBox="1"/>
          <p:nvPr/>
        </p:nvSpPr>
        <p:spPr>
          <a:xfrm>
            <a:off x="7920719" y="2951891"/>
            <a:ext cx="257695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err="1">
                <a:latin typeface="Century Gothic" panose="020B0502020202020204" pitchFamily="34" charset="0"/>
              </a:rPr>
              <a:t>Unduh</a:t>
            </a:r>
            <a:r>
              <a:rPr lang="en-US" sz="1600" dirty="0">
                <a:latin typeface="Century Gothic" panose="020B0502020202020204" pitchFamily="34" charset="0"/>
              </a:rPr>
              <a:t> format </a:t>
            </a:r>
            <a:r>
              <a:rPr lang="en-US" sz="1600" dirty="0" err="1">
                <a:latin typeface="Century Gothic" panose="020B0502020202020204" pitchFamily="34" charset="0"/>
              </a:rPr>
              <a:t>laporan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kegiatan</a:t>
            </a:r>
            <a:r>
              <a:rPr lang="en-US" sz="1600" dirty="0">
                <a:latin typeface="Century Gothic" panose="020B0502020202020204" pitchFamily="34" charset="0"/>
              </a:rPr>
              <a:t> dan </a:t>
            </a:r>
            <a:r>
              <a:rPr lang="en-US" sz="1600" dirty="0" err="1">
                <a:latin typeface="Century Gothic" panose="020B0502020202020204" pitchFamily="34" charset="0"/>
              </a:rPr>
              <a:t>menyusun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laporan</a:t>
            </a:r>
            <a:r>
              <a:rPr lang="en-US" sz="1600" dirty="0">
                <a:latin typeface="Century Gothic" panose="020B0502020202020204" pitchFamily="34" charset="0"/>
              </a:rPr>
              <a:t> </a:t>
            </a:r>
            <a:r>
              <a:rPr lang="en-US" sz="1600" dirty="0" err="1">
                <a:latin typeface="Century Gothic" panose="020B0502020202020204" pitchFamily="34" charset="0"/>
              </a:rPr>
              <a:t>kegiatan</a:t>
            </a:r>
            <a:endParaRPr lang="en-ID" sz="1600" b="1" dirty="0">
              <a:latin typeface="Century Gothic" panose="020B0502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91862E3E-B6FE-19DC-E406-19B780CBA050}"/>
              </a:ext>
            </a:extLst>
          </p:cNvPr>
          <p:cNvSpPr/>
          <p:nvPr/>
        </p:nvSpPr>
        <p:spPr>
          <a:xfrm>
            <a:off x="1224197" y="2716016"/>
            <a:ext cx="2804076" cy="2725414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32725F7D-1052-3079-6784-1336C97A794E}"/>
              </a:ext>
            </a:extLst>
          </p:cNvPr>
          <p:cNvSpPr/>
          <p:nvPr/>
        </p:nvSpPr>
        <p:spPr>
          <a:xfrm>
            <a:off x="4103224" y="4910879"/>
            <a:ext cx="530551" cy="53055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C8028C4B-C05D-17F3-AEC6-E0F724F2B843}"/>
              </a:ext>
            </a:extLst>
          </p:cNvPr>
          <p:cNvSpPr/>
          <p:nvPr/>
        </p:nvSpPr>
        <p:spPr>
          <a:xfrm>
            <a:off x="1235204" y="5523246"/>
            <a:ext cx="940868" cy="375030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112440BC-567C-CE8F-3400-1799679DBB6A}"/>
              </a:ext>
            </a:extLst>
          </p:cNvPr>
          <p:cNvSpPr/>
          <p:nvPr/>
        </p:nvSpPr>
        <p:spPr>
          <a:xfrm>
            <a:off x="2266022" y="5503303"/>
            <a:ext cx="530551" cy="530551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Century Gothic" panose="020B0502020202020204" pitchFamily="34" charset="0"/>
              </a:rPr>
              <a:t>3</a:t>
            </a:r>
            <a:endParaRPr lang="en-ID" sz="16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171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4BB3BC6-2400-134B-A6E9-8C129C59DB33}"/>
              </a:ext>
            </a:extLst>
          </p:cNvPr>
          <p:cNvSpPr txBox="1"/>
          <p:nvPr/>
        </p:nvSpPr>
        <p:spPr>
          <a:xfrm>
            <a:off x="3959570" y="121953"/>
            <a:ext cx="665306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STATISTIK</a:t>
            </a:r>
            <a:r>
              <a:rPr lang="en-US" sz="3200" b="1" spc="-150" dirty="0">
                <a:solidFill>
                  <a:prstClr val="black"/>
                </a:solidFill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3200" b="1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PENYELENGGARAAN KEGIATAN PKB </a:t>
            </a:r>
            <a:r>
              <a:rPr kumimoji="0" lang="en-US" sz="1800" b="1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PER 20 DESEMBER 2023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CEF0652-F860-72F6-83A1-50534AE95316}"/>
              </a:ext>
            </a:extLst>
          </p:cNvPr>
          <p:cNvSpPr/>
          <p:nvPr/>
        </p:nvSpPr>
        <p:spPr>
          <a:xfrm>
            <a:off x="4065183" y="4703060"/>
            <a:ext cx="7848000" cy="164466"/>
          </a:xfrm>
          <a:prstGeom prst="rect">
            <a:avLst/>
          </a:prstGeom>
          <a:solidFill>
            <a:srgbClr val="2039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332184D6-CAB5-5F4B-E0DF-4BC5322E049D}"/>
              </a:ext>
            </a:extLst>
          </p:cNvPr>
          <p:cNvCxnSpPr/>
          <p:nvPr/>
        </p:nvCxnSpPr>
        <p:spPr>
          <a:xfrm>
            <a:off x="9473011" y="1390449"/>
            <a:ext cx="0" cy="46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2809AED-A287-1673-7BC5-F3647426DB3E}"/>
              </a:ext>
            </a:extLst>
          </p:cNvPr>
          <p:cNvSpPr txBox="1"/>
          <p:nvPr/>
        </p:nvSpPr>
        <p:spPr>
          <a:xfrm>
            <a:off x="6175983" y="1430258"/>
            <a:ext cx="272036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Jumla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PKB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reguler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yang di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setujui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64D5883-93FB-895E-75A6-47BBE90FD9C2}"/>
              </a:ext>
            </a:extLst>
          </p:cNvPr>
          <p:cNvSpPr txBox="1"/>
          <p:nvPr/>
        </p:nvSpPr>
        <p:spPr>
          <a:xfrm>
            <a:off x="9546335" y="1418271"/>
            <a:ext cx="20932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590 </a:t>
            </a:r>
            <a:r>
              <a:rPr kumimoji="0" lang="en-US" sz="2400" b="1" i="0" u="none" strike="noStrike" kern="1200" cap="none" spc="-150" normalizeH="0" baseline="0" noProof="0" dirty="0" err="1">
                <a:ln>
                  <a:noFill/>
                </a:ln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endParaRPr kumimoji="0" lang="en-US" sz="2400" b="1" i="0" u="none" strike="noStrike" kern="1200" cap="none" spc="-150" normalizeH="0" baseline="0" noProof="0" dirty="0">
              <a:ln>
                <a:noFill/>
              </a:ln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sp>
        <p:nvSpPr>
          <p:cNvPr id="18" name="Flowchart: Off-page Connector 45">
            <a:extLst>
              <a:ext uri="{FF2B5EF4-FFF2-40B4-BE49-F238E27FC236}">
                <a16:creationId xmlns:a16="http://schemas.microsoft.com/office/drawing/2014/main" xmlns="" id="{3AE57374-6557-5A19-1767-AAEBAC2E9FEE}"/>
              </a:ext>
            </a:extLst>
          </p:cNvPr>
          <p:cNvSpPr/>
          <p:nvPr/>
        </p:nvSpPr>
        <p:spPr>
          <a:xfrm rot="16200000">
            <a:off x="4396542" y="1110492"/>
            <a:ext cx="1385600" cy="2048315"/>
          </a:xfrm>
          <a:prstGeom prst="flowChartOffpageConnector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38574D72-5320-6D61-8B08-A56AD130AFAB}"/>
              </a:ext>
            </a:extLst>
          </p:cNvPr>
          <p:cNvSpPr txBox="1"/>
          <p:nvPr/>
        </p:nvSpPr>
        <p:spPr>
          <a:xfrm>
            <a:off x="4142310" y="1666619"/>
            <a:ext cx="17261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2000" b="1" i="0" u="none" strike="noStrike" kern="1200" cap="none" spc="-1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endParaRPr kumimoji="0" lang="en-US" sz="2000" b="1" i="0" u="none" strike="noStrike" kern="120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spc="-150" dirty="0">
                <a:solidFill>
                  <a:srgbClr val="002060"/>
                </a:solidFill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(659 </a:t>
            </a:r>
            <a:r>
              <a:rPr lang="en-US" sz="2000" b="1" spc="-150" dirty="0" err="1">
                <a:solidFill>
                  <a:srgbClr val="002060"/>
                </a:solidFill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r>
              <a:rPr lang="en-US" sz="2000" b="1" spc="-150" dirty="0">
                <a:solidFill>
                  <a:srgbClr val="002060"/>
                </a:solidFill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)</a:t>
            </a:r>
            <a:endParaRPr kumimoji="0" lang="en-US" sz="2000" b="1" i="0" u="none" strike="noStrike" kern="1200" cap="none" spc="-15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9CD2F306-F788-BEB8-384E-6B2220D8169F}"/>
              </a:ext>
            </a:extLst>
          </p:cNvPr>
          <p:cNvSpPr txBox="1"/>
          <p:nvPr/>
        </p:nvSpPr>
        <p:spPr>
          <a:xfrm>
            <a:off x="6175982" y="1996453"/>
            <a:ext cx="27203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Jumla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pengembang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utam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PKB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xmlns="" id="{A720B359-650C-6BAD-9283-D7AD4A57CEEB}"/>
              </a:ext>
            </a:extLst>
          </p:cNvPr>
          <p:cNvCxnSpPr/>
          <p:nvPr/>
        </p:nvCxnSpPr>
        <p:spPr>
          <a:xfrm>
            <a:off x="9473011" y="2182569"/>
            <a:ext cx="0" cy="46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B7C4655-594A-FB7F-A18C-EC3187F702D6}"/>
              </a:ext>
            </a:extLst>
          </p:cNvPr>
          <p:cNvSpPr txBox="1"/>
          <p:nvPr/>
        </p:nvSpPr>
        <p:spPr>
          <a:xfrm>
            <a:off x="9546335" y="2210391"/>
            <a:ext cx="20932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69 </a:t>
            </a:r>
            <a:r>
              <a:rPr kumimoji="0" lang="en-US" sz="2400" b="1" i="0" u="none" strike="noStrike" kern="1200" cap="none" spc="-15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endParaRPr kumimoji="0" lang="en-US" sz="2400" b="1" i="0" u="none" strike="noStrike" kern="1200" cap="none" spc="-15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724394F6-CA73-E6B2-75C9-7CF77BA2546C}"/>
              </a:ext>
            </a:extLst>
          </p:cNvPr>
          <p:cNvCxnSpPr/>
          <p:nvPr/>
        </p:nvCxnSpPr>
        <p:spPr>
          <a:xfrm>
            <a:off x="9473010" y="3111490"/>
            <a:ext cx="0" cy="46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6E5450CE-DD35-5431-A8B6-252D48A29A17}"/>
              </a:ext>
            </a:extLst>
          </p:cNvPr>
          <p:cNvSpPr txBox="1"/>
          <p:nvPr/>
        </p:nvSpPr>
        <p:spPr>
          <a:xfrm>
            <a:off x="6175982" y="3151299"/>
            <a:ext cx="30519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Jumla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PKB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reguler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yang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dilaporka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CD5135C7-A3C4-A674-6A94-3DABDC7F6495}"/>
              </a:ext>
            </a:extLst>
          </p:cNvPr>
          <p:cNvSpPr txBox="1"/>
          <p:nvPr/>
        </p:nvSpPr>
        <p:spPr>
          <a:xfrm>
            <a:off x="9546334" y="3139312"/>
            <a:ext cx="20932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50" normalizeH="0" baseline="0" noProof="0" dirty="0">
                <a:ln>
                  <a:noFill/>
                </a:ln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358 </a:t>
            </a:r>
            <a:r>
              <a:rPr kumimoji="0" lang="en-US" sz="2400" b="1" i="0" u="none" strike="noStrike" kern="1200" cap="none" spc="-150" normalizeH="0" baseline="0" noProof="0" dirty="0" err="1">
                <a:ln>
                  <a:noFill/>
                </a:ln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endParaRPr kumimoji="0" lang="en-US" sz="2400" b="1" i="0" u="none" strike="noStrike" kern="1200" cap="none" spc="-150" normalizeH="0" baseline="0" noProof="0" dirty="0">
              <a:ln>
                <a:noFill/>
              </a:ln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sp>
        <p:nvSpPr>
          <p:cNvPr id="40" name="Flowchart: Off-page Connector 45">
            <a:extLst>
              <a:ext uri="{FF2B5EF4-FFF2-40B4-BE49-F238E27FC236}">
                <a16:creationId xmlns:a16="http://schemas.microsoft.com/office/drawing/2014/main" xmlns="" id="{F6B72910-1C50-C4DA-D1F8-D3D78029B4C7}"/>
              </a:ext>
            </a:extLst>
          </p:cNvPr>
          <p:cNvSpPr/>
          <p:nvPr/>
        </p:nvSpPr>
        <p:spPr>
          <a:xfrm rot="16200000">
            <a:off x="4396541" y="2831533"/>
            <a:ext cx="1385600" cy="2048315"/>
          </a:xfrm>
          <a:prstGeom prst="flowChartOffpageConnector">
            <a:avLst/>
          </a:prstGeom>
          <a:solidFill>
            <a:srgbClr val="48B8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18FA3024-123A-4505-3B35-772AA87103CD}"/>
              </a:ext>
            </a:extLst>
          </p:cNvPr>
          <p:cNvSpPr txBox="1"/>
          <p:nvPr/>
        </p:nvSpPr>
        <p:spPr>
          <a:xfrm>
            <a:off x="4122988" y="3369697"/>
            <a:ext cx="17261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-1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2000" b="1" i="0" u="none" strike="noStrike" kern="1200" cap="none" spc="-1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Pelaporan</a:t>
            </a:r>
            <a:endParaRPr kumimoji="0" lang="en-US" sz="2000" b="1" i="0" u="none" strike="noStrike" kern="1200" cap="none" spc="-15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spc="-150" dirty="0">
                <a:solidFill>
                  <a:srgbClr val="002060"/>
                </a:solidFill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(427 </a:t>
            </a:r>
            <a:r>
              <a:rPr lang="en-US" sz="2000" b="1" spc="-150" dirty="0" err="1">
                <a:solidFill>
                  <a:srgbClr val="002060"/>
                </a:solidFill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r>
              <a:rPr lang="en-US" sz="2000" b="1" spc="-150" dirty="0">
                <a:solidFill>
                  <a:srgbClr val="002060"/>
                </a:solidFill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)</a:t>
            </a:r>
            <a:endParaRPr kumimoji="0" lang="en-US" sz="2000" b="1" i="0" u="none" strike="noStrike" kern="1200" cap="none" spc="-15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A66CE93C-6F72-AD58-C0C2-68C25FC2DE13}"/>
              </a:ext>
            </a:extLst>
          </p:cNvPr>
          <p:cNvSpPr txBox="1"/>
          <p:nvPr/>
        </p:nvSpPr>
        <p:spPr>
          <a:xfrm>
            <a:off x="6175982" y="3794581"/>
            <a:ext cx="31252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Jumla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pengembang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utama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 PKB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dilaporka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xmlns="" id="{E4C87006-AC3F-9847-2A4B-CD0742D4D468}"/>
              </a:ext>
            </a:extLst>
          </p:cNvPr>
          <p:cNvCxnSpPr/>
          <p:nvPr/>
        </p:nvCxnSpPr>
        <p:spPr>
          <a:xfrm>
            <a:off x="9473010" y="3903610"/>
            <a:ext cx="0" cy="46800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BF6ED121-C330-F495-3A8E-4FE4A2F65E00}"/>
              </a:ext>
            </a:extLst>
          </p:cNvPr>
          <p:cNvSpPr txBox="1"/>
          <p:nvPr/>
        </p:nvSpPr>
        <p:spPr>
          <a:xfrm>
            <a:off x="9546334" y="3931432"/>
            <a:ext cx="20932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1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69 </a:t>
            </a:r>
            <a:r>
              <a:rPr kumimoji="0" lang="en-US" sz="2400" b="1" i="0" u="none" strike="noStrike" kern="1200" cap="none" spc="-15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Poppins" panose="00000500000000000000" pitchFamily="2" charset="0"/>
                <a:ea typeface="Source Sans Pro" panose="020B0503030403020204" pitchFamily="34" charset="0"/>
                <a:cs typeface="Poppins" panose="00000500000000000000" pitchFamily="2" charset="0"/>
              </a:rPr>
              <a:t>Kegiatan</a:t>
            </a:r>
            <a:endParaRPr kumimoji="0" lang="en-US" sz="2400" b="1" i="0" u="none" strike="noStrike" kern="1200" cap="none" spc="-15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ea typeface="Source Sans Pro" panose="020B0503030403020204" pitchFamily="34" charset="0"/>
              <a:cs typeface="Poppins" panose="00000500000000000000" pitchFamily="2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31D4845F-0283-BFBB-8C46-0F06C087A409}"/>
              </a:ext>
            </a:extLst>
          </p:cNvPr>
          <p:cNvSpPr txBox="1"/>
          <p:nvPr/>
        </p:nvSpPr>
        <p:spPr>
          <a:xfrm>
            <a:off x="679929" y="5025661"/>
            <a:ext cx="27938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16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en-US" sz="1600" b="1" dirty="0">
                <a:solidFill>
                  <a:prstClr val="black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3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6%)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osia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fes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A3E4446A-51C9-4957-2425-DD363179171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63" y="5118118"/>
            <a:ext cx="518633" cy="518633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FB57A550-6545-F431-2C6D-143280D29F86}"/>
              </a:ext>
            </a:extLst>
          </p:cNvPr>
          <p:cNvSpPr txBox="1"/>
          <p:nvPr/>
        </p:nvSpPr>
        <p:spPr>
          <a:xfrm>
            <a:off x="7116223" y="5016258"/>
            <a:ext cx="22004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7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8,65%)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osia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BU</a:t>
            </a: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CA401761-784B-F950-2660-1E2B9D11EC7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7734" y="5091006"/>
            <a:ext cx="518633" cy="518633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4E02EA8E-3A31-AF49-4D09-4406A6B65EC0}"/>
              </a:ext>
            </a:extLst>
          </p:cNvPr>
          <p:cNvSpPr txBox="1"/>
          <p:nvPr/>
        </p:nvSpPr>
        <p:spPr>
          <a:xfrm>
            <a:off x="9923901" y="4987056"/>
            <a:ext cx="22681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0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12,15%)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merintah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xmlns="" id="{22D7CCD6-3C96-BDE8-9DE2-099081F737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7532" y="6062154"/>
            <a:ext cx="488080" cy="488080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E38E5743-6914-83CF-2A8E-AA2AFFC14D76}"/>
              </a:ext>
            </a:extLst>
          </p:cNvPr>
          <p:cNvSpPr txBox="1"/>
          <p:nvPr/>
        </p:nvSpPr>
        <p:spPr>
          <a:xfrm>
            <a:off x="5085633" y="5923076"/>
            <a:ext cx="22004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7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4,1%)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95505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PPK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xmlns="" id="{E9BF9709-A19B-25E5-E20E-A22C52F5BEE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19" y="6038294"/>
            <a:ext cx="488080" cy="488080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BC7C3F50-D790-14BE-2C2C-5BB7F5D4C1AF}"/>
              </a:ext>
            </a:extLst>
          </p:cNvPr>
          <p:cNvSpPr txBox="1"/>
          <p:nvPr/>
        </p:nvSpPr>
        <p:spPr>
          <a:xfrm>
            <a:off x="1348461" y="5923076"/>
            <a:ext cx="279384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0,15%)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sultan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ontraktor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xmlns="" id="{AA924802-D43D-1CAC-7D26-BD207BFEAED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0610" y="5126161"/>
            <a:ext cx="488080" cy="488080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E487C692-EDD7-459B-29DD-C2CC408E6211}"/>
              </a:ext>
            </a:extLst>
          </p:cNvPr>
          <p:cNvSpPr txBox="1"/>
          <p:nvPr/>
        </p:nvSpPr>
        <p:spPr>
          <a:xfrm>
            <a:off x="3644941" y="5045760"/>
            <a:ext cx="33001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0,9%)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osias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ntai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sok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6" name="Picture 65">
            <a:extLst>
              <a:ext uri="{FF2B5EF4-FFF2-40B4-BE49-F238E27FC236}">
                <a16:creationId xmlns:a16="http://schemas.microsoft.com/office/drawing/2014/main" xmlns="" id="{445C91B3-6570-9D1C-D844-590C2CFEEB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307" y="6017992"/>
            <a:ext cx="518633" cy="518633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4BA2EFF6-CA77-3093-8E35-003611C99C33}"/>
              </a:ext>
            </a:extLst>
          </p:cNvPr>
          <p:cNvSpPr txBox="1"/>
          <p:nvPr/>
        </p:nvSpPr>
        <p:spPr>
          <a:xfrm>
            <a:off x="7942473" y="5914042"/>
            <a:ext cx="388762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egiatan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0,46%)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nyelenggara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ainny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xmlns="" id="{E3BBB22D-ECEB-6A45-0BE7-CE037D65B67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2296" y="5029199"/>
            <a:ext cx="707887" cy="707887"/>
          </a:xfrm>
          <a:prstGeom prst="rect">
            <a:avLst/>
          </a:prstGeom>
        </p:spPr>
      </p:pic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xmlns="" id="{8782D3B8-44BE-F7E0-158A-54627302B513}"/>
              </a:ext>
            </a:extLst>
          </p:cNvPr>
          <p:cNvGraphicFramePr/>
          <p:nvPr/>
        </p:nvGraphicFramePr>
        <p:xfrm>
          <a:off x="118476" y="188556"/>
          <a:ext cx="3594696" cy="4640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C2C3BB51-816C-FC92-59D2-E8A1E01F04C3}"/>
              </a:ext>
            </a:extLst>
          </p:cNvPr>
          <p:cNvSpPr txBox="1"/>
          <p:nvPr/>
        </p:nvSpPr>
        <p:spPr>
          <a:xfrm>
            <a:off x="601014" y="380478"/>
            <a:ext cx="2793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Tahoma" panose="020B0604030504040204" pitchFamily="34" charset="0"/>
                <a:cs typeface="Poppins" panose="00000500000000000000" pitchFamily="2" charset="0"/>
              </a:rPr>
              <a:t>Jumlah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Tahoma" panose="020B0604030504040204" pitchFamily="34" charset="0"/>
                <a:cs typeface="Poppins" panose="00000500000000000000" pitchFamily="2" charset="0"/>
              </a:rPr>
              <a:t>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Tahoma" panose="020B0604030504040204" pitchFamily="34" charset="0"/>
                <a:cs typeface="Poppins" panose="00000500000000000000" pitchFamily="2" charset="0"/>
              </a:rPr>
              <a:t>Kegiata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ea typeface="Tahoma" panose="020B0604030504040204" pitchFamily="34" charset="0"/>
                <a:cs typeface="Poppins" panose="00000500000000000000" pitchFamily="2" charset="0"/>
              </a:rPr>
              <a:t> PK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err="1">
                <a:solidFill>
                  <a:prstClr val="black"/>
                </a:solidFill>
                <a:latin typeface="Poppins" panose="00000500000000000000" pitchFamily="2" charset="0"/>
                <a:ea typeface="Tahoma" panose="020B0604030504040204" pitchFamily="34" charset="0"/>
                <a:cs typeface="Poppins" panose="00000500000000000000" pitchFamily="2" charset="0"/>
              </a:rPr>
              <a:t>Tercatat</a:t>
            </a:r>
            <a:r>
              <a:rPr lang="en-US" sz="1400" b="1" dirty="0">
                <a:solidFill>
                  <a:prstClr val="black"/>
                </a:solidFill>
                <a:latin typeface="Poppins" panose="00000500000000000000" pitchFamily="2" charset="0"/>
                <a:ea typeface="Tahoma" panose="020B0604030504040204" pitchFamily="34" charset="0"/>
                <a:cs typeface="Poppins" panose="00000500000000000000" pitchFamily="2" charset="0"/>
              </a:rPr>
              <a:t> di SIKI-PKB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Poppins" panose="00000500000000000000" pitchFamily="2" charset="0"/>
              <a:ea typeface="Tahoma" panose="020B0604030504040204" pitchFamily="34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5109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>
            <a:extLst>
              <a:ext uri="{FF2B5EF4-FFF2-40B4-BE49-F238E27FC236}">
                <a16:creationId xmlns:a16="http://schemas.microsoft.com/office/drawing/2014/main" xmlns="" id="{60D3CF4B-6E36-43A0-A6B5-CB5C41110436}"/>
              </a:ext>
            </a:extLst>
          </p:cNvPr>
          <p:cNvSpPr/>
          <p:nvPr/>
        </p:nvSpPr>
        <p:spPr>
          <a:xfrm>
            <a:off x="-1" y="0"/>
            <a:ext cx="4956629" cy="6858000"/>
          </a:xfrm>
          <a:prstGeom prst="rect">
            <a:avLst/>
          </a:prstGeom>
          <a:solidFill>
            <a:srgbClr val="08517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56B70140-4E06-634C-AC7F-76A83A9AB9FE}"/>
              </a:ext>
            </a:extLst>
          </p:cNvPr>
          <p:cNvSpPr/>
          <p:nvPr/>
        </p:nvSpPr>
        <p:spPr>
          <a:xfrm>
            <a:off x="5355772" y="167461"/>
            <a:ext cx="5529942" cy="892997"/>
          </a:xfrm>
          <a:prstGeom prst="rect">
            <a:avLst/>
          </a:prstGeom>
          <a:solidFill>
            <a:srgbClr val="085171">
              <a:alpha val="9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xmlns="" id="{AEA2154A-BC4E-FB49-8DE5-6B3B51A41A23}"/>
              </a:ext>
            </a:extLst>
          </p:cNvPr>
          <p:cNvSpPr txBox="1">
            <a:spLocks/>
          </p:cNvSpPr>
          <p:nvPr/>
        </p:nvSpPr>
        <p:spPr>
          <a:xfrm>
            <a:off x="5892801" y="223094"/>
            <a:ext cx="5109029" cy="8317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36638D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Kegiatan PKB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Diselenggarak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oleh Dinas Bina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Marg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dan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nataan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Ruang Provinsi </a:t>
            </a:r>
            <a:r>
              <a:rPr lang="en-US" sz="1400" dirty="0" err="1">
                <a:solidFill>
                  <a:schemeClr val="bg1"/>
                </a:solidFill>
                <a:latin typeface="Century Gothic" panose="020B0502020202020204" pitchFamily="34" charset="0"/>
              </a:rPr>
              <a:t>Jawa</a:t>
            </a:r>
            <a:r>
              <a:rPr lang="en-US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 Barat </a:t>
            </a:r>
          </a:p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entury Gothic" panose="020B0502020202020204" pitchFamily="34" charset="0"/>
              </a:rPr>
              <a:t>(Per 22 Februari 2024)</a:t>
            </a:r>
            <a:endParaRPr kumimoji="0" lang="en-ID" sz="14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13C3C5A6-60F3-9044-948A-6EFF68C4BE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1156426"/>
              </p:ext>
            </p:extLst>
          </p:nvPr>
        </p:nvGraphicFramePr>
        <p:xfrm>
          <a:off x="5109030" y="1233763"/>
          <a:ext cx="6905170" cy="5283480"/>
        </p:xfrm>
        <a:graphic>
          <a:graphicData uri="http://schemas.openxmlformats.org/drawingml/2006/table">
            <a:tbl>
              <a:tblPr>
                <a:tableStyleId>{EB344D84-9AFB-497E-A393-DC336BA19D2E}</a:tableStyleId>
              </a:tblPr>
              <a:tblGrid>
                <a:gridCol w="419662">
                  <a:extLst>
                    <a:ext uri="{9D8B030D-6E8A-4147-A177-3AD203B41FA5}">
                      <a16:colId xmlns:a16="http://schemas.microsoft.com/office/drawing/2014/main" xmlns="" val="405322825"/>
                    </a:ext>
                  </a:extLst>
                </a:gridCol>
                <a:gridCol w="3635938">
                  <a:extLst>
                    <a:ext uri="{9D8B030D-6E8A-4147-A177-3AD203B41FA5}">
                      <a16:colId xmlns:a16="http://schemas.microsoft.com/office/drawing/2014/main" xmlns="" val="1584379960"/>
                    </a:ext>
                  </a:extLst>
                </a:gridCol>
                <a:gridCol w="877474">
                  <a:extLst>
                    <a:ext uri="{9D8B030D-6E8A-4147-A177-3AD203B41FA5}">
                      <a16:colId xmlns:a16="http://schemas.microsoft.com/office/drawing/2014/main" xmlns="" val="3825599072"/>
                    </a:ext>
                  </a:extLst>
                </a:gridCol>
                <a:gridCol w="877474">
                  <a:extLst>
                    <a:ext uri="{9D8B030D-6E8A-4147-A177-3AD203B41FA5}">
                      <a16:colId xmlns:a16="http://schemas.microsoft.com/office/drawing/2014/main" xmlns="" val="3124551450"/>
                    </a:ext>
                  </a:extLst>
                </a:gridCol>
                <a:gridCol w="1094622">
                  <a:extLst>
                    <a:ext uri="{9D8B030D-6E8A-4147-A177-3AD203B41FA5}">
                      <a16:colId xmlns:a16="http://schemas.microsoft.com/office/drawing/2014/main" xmlns="" val="2932911601"/>
                    </a:ext>
                  </a:extLst>
                </a:gridCol>
              </a:tblGrid>
              <a:tr h="397728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1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o</a:t>
                      </a:r>
                      <a:endParaRPr lang="en-ID" sz="105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1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ama </a:t>
                      </a:r>
                      <a:r>
                        <a:rPr lang="en-ID" sz="1050" b="1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egiatan</a:t>
                      </a:r>
                      <a:endParaRPr lang="en-ID" sz="105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dah Dilaporkan</a:t>
                      </a:r>
                      <a:endParaRPr lang="en-ID" sz="105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elum dilaporkan</a:t>
                      </a:r>
                      <a:endParaRPr lang="en-ID" sz="105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1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anggal</a:t>
                      </a:r>
                      <a:r>
                        <a:rPr lang="en-ID" sz="1050" b="1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50" b="1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egiatan</a:t>
                      </a:r>
                      <a:endParaRPr lang="en-ID" sz="105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83469548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13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7/09/2023</a:t>
                      </a:r>
                    </a:p>
                  </a:txBody>
                  <a:tcPr marL="9280" marR="9280" marT="9280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04115002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2 TA 2024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2/02/2024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3361440934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3 TA 2024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6/02/2024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2132541348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1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9-10/03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2767888546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2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0/03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4058968034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3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-13/04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1139002585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4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4-25/05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2100003263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5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6-07/06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3586331838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6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7/06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456609909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0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7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3-04/07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3045156252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1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8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2-13/07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314894544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2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Webinar PKB dan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plika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IMPAN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1/07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2147024404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9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4-15/08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4105901724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4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 Tenaga Ahli Konstruksi Seri 11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7/09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2900451545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10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9/08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3441219866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6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12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/09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113958883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7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 Tenaga Ahli Konstruksi Seri 14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10-11/10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648004867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8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 Tenaga Ahli Konstruksi Seri 15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4/10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1551496224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9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 Tenaga Ahli Konstruksi Seri 16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1/10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4018565413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osialisa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rizin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erusaha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erbasis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Isiko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melalu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OSS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0/11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3229533430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1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 Tenaga Ahli Konstruksi Seri 17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28/11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488892536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2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 Tenaga Ahli Konstruksi Seri 18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0/11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1619992117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3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 Tenaga Ahli Konstruksi Seri 19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06/12/2023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1925184641"/>
                  </a:ext>
                </a:extLst>
              </a:tr>
              <a:tr h="203573">
                <a:tc>
                  <a:txBody>
                    <a:bodyPr/>
                    <a:lstStyle/>
                    <a:p>
                      <a:pPr algn="ctr" fontAlgn="b"/>
                      <a:r>
                        <a:rPr lang="en-ID" sz="1050" b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4</a:t>
                      </a:r>
                      <a:endParaRPr lang="en-ID" sz="105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elatihan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Tenaga Ahli </a:t>
                      </a:r>
                      <a:r>
                        <a:rPr lang="en-ID" sz="1050" b="0" u="none" strike="noStrike" dirty="0" err="1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Konstruksi</a:t>
                      </a:r>
                      <a:r>
                        <a:rPr lang="en-ID" sz="1050" b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Seri 01 TA 2024</a:t>
                      </a:r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D" sz="105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en-ID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algn="ctr" fontAlgn="b"/>
                      <a:endParaRPr lang="en-ID" sz="105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7762" marR="7762" marT="7762" marB="0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ID" sz="105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30/01/2024</a:t>
                      </a:r>
                    </a:p>
                  </a:txBody>
                  <a:tcPr marL="9280" marR="9280" marT="9280" marB="0" anchor="b"/>
                </a:tc>
                <a:extLst>
                  <a:ext uri="{0D108BD9-81ED-4DB2-BD59-A6C34878D82A}">
                    <a16:rowId xmlns:a16="http://schemas.microsoft.com/office/drawing/2014/main" xmlns="" val="3339502037"/>
                  </a:ext>
                </a:extLst>
              </a:tr>
            </a:tbl>
          </a:graphicData>
        </a:graphic>
      </p:graphicFrame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xmlns="" id="{F90A0F36-42E7-3328-85AA-4E17E7EFE880}"/>
              </a:ext>
            </a:extLst>
          </p:cNvPr>
          <p:cNvSpPr/>
          <p:nvPr/>
        </p:nvSpPr>
        <p:spPr>
          <a:xfrm>
            <a:off x="5109030" y="340765"/>
            <a:ext cx="537029" cy="508439"/>
          </a:xfrm>
          <a:prstGeom prst="roundRect">
            <a:avLst>
              <a:gd name="adj" fmla="val 9704"/>
            </a:avLst>
          </a:prstGeom>
          <a:solidFill>
            <a:srgbClr val="FFC624"/>
          </a:solidFill>
          <a:ln w="12700" cap="flat" cmpd="sng" algn="ctr">
            <a:noFill/>
            <a:prstDash val="solid"/>
            <a:miter lim="800000"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Franklin Gothic Medium Cond" panose="020B0606030402020204" pitchFamily="34" charset="0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A284F3B0-C449-E85C-38C7-38C7BDE0180F}"/>
              </a:ext>
            </a:extLst>
          </p:cNvPr>
          <p:cNvSpPr txBox="1">
            <a:spLocks/>
          </p:cNvSpPr>
          <p:nvPr/>
        </p:nvSpPr>
        <p:spPr>
          <a:xfrm>
            <a:off x="152402" y="40109"/>
            <a:ext cx="4584490" cy="11977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36638D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PENYELENGGARAAN KEGIATAN PKB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  <a:latin typeface="Century Gothic" panose="020B0502020202020204" pitchFamily="34" charset="0"/>
              </a:rPr>
              <a:t>UNSUR PEMERINTAH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entury Gothic" panose="020B0502020202020204" pitchFamily="34" charset="0"/>
              </a:rPr>
              <a:t>(Per 20 Desember 2023)</a:t>
            </a:r>
            <a:endParaRPr kumimoji="0" lang="en-ID" sz="18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EF6F5E1-0698-C505-9DB9-2DDECC5D8CCF}"/>
              </a:ext>
            </a:extLst>
          </p:cNvPr>
          <p:cNvSpPr/>
          <p:nvPr/>
        </p:nvSpPr>
        <p:spPr>
          <a:xfrm>
            <a:off x="5232400" y="6606135"/>
            <a:ext cx="326571" cy="1883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60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3E0E7C5-C8C9-8FD7-AEB3-78BE1BD4EC89}"/>
              </a:ext>
            </a:extLst>
          </p:cNvPr>
          <p:cNvSpPr txBox="1"/>
          <p:nvPr/>
        </p:nvSpPr>
        <p:spPr>
          <a:xfrm>
            <a:off x="5664200" y="6555335"/>
            <a:ext cx="480422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Century Gothic" panose="020B0502020202020204" pitchFamily="34" charset="0"/>
              </a:rPr>
              <a:t>: sudah </a:t>
            </a:r>
            <a:r>
              <a:rPr lang="en-US" sz="1000" i="1" dirty="0" err="1">
                <a:latin typeface="Century Gothic" panose="020B0502020202020204" pitchFamily="34" charset="0"/>
              </a:rPr>
              <a:t>lebih</a:t>
            </a:r>
            <a:r>
              <a:rPr lang="en-US" sz="1000" i="1" dirty="0">
                <a:latin typeface="Century Gothic" panose="020B0502020202020204" pitchFamily="34" charset="0"/>
              </a:rPr>
              <a:t> </a:t>
            </a:r>
            <a:r>
              <a:rPr lang="en-US" sz="1000" i="1" dirty="0" err="1">
                <a:latin typeface="Century Gothic" panose="020B0502020202020204" pitchFamily="34" charset="0"/>
              </a:rPr>
              <a:t>dari</a:t>
            </a:r>
            <a:r>
              <a:rPr lang="en-US" sz="1000" i="1" dirty="0">
                <a:latin typeface="Century Gothic" panose="020B0502020202020204" pitchFamily="34" charset="0"/>
              </a:rPr>
              <a:t> 14 </a:t>
            </a:r>
            <a:r>
              <a:rPr lang="en-US" sz="1000" i="1" dirty="0" err="1">
                <a:latin typeface="Century Gothic" panose="020B0502020202020204" pitchFamily="34" charset="0"/>
              </a:rPr>
              <a:t>hari</a:t>
            </a:r>
            <a:r>
              <a:rPr lang="en-US" sz="1000" i="1" dirty="0">
                <a:latin typeface="Century Gothic" panose="020B0502020202020204" pitchFamily="34" charset="0"/>
              </a:rPr>
              <a:t>, sehingga menjadi kegiatan </a:t>
            </a:r>
            <a:r>
              <a:rPr lang="en-US" sz="1000" i="1" dirty="0" err="1">
                <a:latin typeface="Century Gothic" panose="020B0502020202020204" pitchFamily="34" charset="0"/>
              </a:rPr>
              <a:t>tidak</a:t>
            </a:r>
            <a:r>
              <a:rPr lang="en-US" sz="1000" i="1" dirty="0">
                <a:latin typeface="Century Gothic" panose="020B0502020202020204" pitchFamily="34" charset="0"/>
              </a:rPr>
              <a:t> </a:t>
            </a:r>
            <a:r>
              <a:rPr lang="en-US" sz="1000" i="1" dirty="0" err="1">
                <a:latin typeface="Century Gothic" panose="020B0502020202020204" pitchFamily="34" charset="0"/>
              </a:rPr>
              <a:t>terverifikasi</a:t>
            </a:r>
            <a:endParaRPr lang="en-ID" sz="1000" i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xmlns="" id="{19AADB36-9AE3-6C82-2572-24667986FF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441680"/>
              </p:ext>
            </p:extLst>
          </p:nvPr>
        </p:nvGraphicFramePr>
        <p:xfrm>
          <a:off x="152402" y="1191084"/>
          <a:ext cx="4804226" cy="57574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DA14044-F2A3-8F74-894E-91E4BA89184B}"/>
              </a:ext>
            </a:extLst>
          </p:cNvPr>
          <p:cNvSpPr/>
          <p:nvPr/>
        </p:nvSpPr>
        <p:spPr>
          <a:xfrm>
            <a:off x="76200" y="1684013"/>
            <a:ext cx="4804226" cy="434714"/>
          </a:xfrm>
          <a:prstGeom prst="rect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86660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91"/>
          <a:stretch>
            <a:fillRect/>
          </a:stretch>
        </p:blipFill>
        <p:spPr>
          <a:xfrm>
            <a:off x="-14514" y="0"/>
            <a:ext cx="12206514" cy="6852678"/>
          </a:xfrm>
          <a:prstGeom prst="rect">
            <a:avLst/>
          </a:prstGeom>
        </p:spPr>
      </p:pic>
      <p:sp>
        <p:nvSpPr>
          <p:cNvPr id="4" name="Freeform: Shape 3"/>
          <p:cNvSpPr/>
          <p:nvPr/>
        </p:nvSpPr>
        <p:spPr>
          <a:xfrm>
            <a:off x="4653339" y="3867"/>
            <a:ext cx="7525048" cy="6857998"/>
          </a:xfrm>
          <a:custGeom>
            <a:avLst/>
            <a:gdLst>
              <a:gd name="connsiteX0" fmla="*/ 3696494 w 7525048"/>
              <a:gd name="connsiteY0" fmla="*/ 0 h 6857998"/>
              <a:gd name="connsiteX1" fmla="*/ 7525048 w 7525048"/>
              <a:gd name="connsiteY1" fmla="*/ 0 h 6857998"/>
              <a:gd name="connsiteX2" fmla="*/ 7525048 w 7525048"/>
              <a:gd name="connsiteY2" fmla="*/ 6857998 h 6857998"/>
              <a:gd name="connsiteX3" fmla="*/ 5237 w 7525048"/>
              <a:gd name="connsiteY3" fmla="*/ 6857998 h 6857998"/>
              <a:gd name="connsiteX4" fmla="*/ 3411790 w 7525048"/>
              <a:gd name="connsiteY4" fmla="*/ 2657473 h 6857998"/>
              <a:gd name="connsiteX5" fmla="*/ 3826445 w 7525048"/>
              <a:gd name="connsiteY5" fmla="*/ 16159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25048" h="6857998">
                <a:moveTo>
                  <a:pt x="3696494" y="0"/>
                </a:moveTo>
                <a:lnTo>
                  <a:pt x="7525048" y="0"/>
                </a:lnTo>
                <a:lnTo>
                  <a:pt x="7525048" y="6857998"/>
                </a:lnTo>
                <a:lnTo>
                  <a:pt x="5237" y="6857998"/>
                </a:lnTo>
                <a:cubicBezTo>
                  <a:pt x="-138415" y="3986211"/>
                  <a:pt x="2714686" y="3214685"/>
                  <a:pt x="3411790" y="2657473"/>
                </a:cubicBezTo>
                <a:cubicBezTo>
                  <a:pt x="4065325" y="2135087"/>
                  <a:pt x="4513982" y="1117381"/>
                  <a:pt x="3826445" y="161590"/>
                </a:cubicBezTo>
                <a:close/>
              </a:path>
            </a:pathLst>
          </a:cu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14" name="Freeform: Shape 13"/>
          <p:cNvSpPr/>
          <p:nvPr/>
        </p:nvSpPr>
        <p:spPr>
          <a:xfrm>
            <a:off x="-14514" y="-319268"/>
            <a:ext cx="9177886" cy="7757883"/>
          </a:xfrm>
          <a:custGeom>
            <a:avLst/>
            <a:gdLst>
              <a:gd name="connsiteX0" fmla="*/ 0 w 12192000"/>
              <a:gd name="connsiteY0" fmla="*/ 0 h 6858000"/>
              <a:gd name="connsiteX1" fmla="*/ 8363446 w 12192000"/>
              <a:gd name="connsiteY1" fmla="*/ 0 h 6858000"/>
              <a:gd name="connsiteX2" fmla="*/ 8493397 w 12192000"/>
              <a:gd name="connsiteY2" fmla="*/ 161590 h 6858000"/>
              <a:gd name="connsiteX3" fmla="*/ 8078742 w 12192000"/>
              <a:gd name="connsiteY3" fmla="*/ 2657473 h 6858000"/>
              <a:gd name="connsiteX4" fmla="*/ 4672189 w 12192000"/>
              <a:gd name="connsiteY4" fmla="*/ 6857998 h 6858000"/>
              <a:gd name="connsiteX5" fmla="*/ 12192000 w 12192000"/>
              <a:gd name="connsiteY5" fmla="*/ 6857998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  <a:gd name="connsiteX0-1" fmla="*/ 0 w 12192000"/>
              <a:gd name="connsiteY0-2" fmla="*/ 0 h 6858000"/>
              <a:gd name="connsiteX1-3" fmla="*/ 8363446 w 12192000"/>
              <a:gd name="connsiteY1-4" fmla="*/ 0 h 6858000"/>
              <a:gd name="connsiteX2-5" fmla="*/ 8493397 w 12192000"/>
              <a:gd name="connsiteY2-6" fmla="*/ 161590 h 6858000"/>
              <a:gd name="connsiteX3-7" fmla="*/ 8078742 w 12192000"/>
              <a:gd name="connsiteY3-8" fmla="*/ 2657473 h 6858000"/>
              <a:gd name="connsiteX4-9" fmla="*/ 4672189 w 12192000"/>
              <a:gd name="connsiteY4-10" fmla="*/ 6857998 h 6858000"/>
              <a:gd name="connsiteX5-11" fmla="*/ 12192000 w 12192000"/>
              <a:gd name="connsiteY5-12" fmla="*/ 6857998 h 6858000"/>
              <a:gd name="connsiteX6-13" fmla="*/ 0 w 12192000"/>
              <a:gd name="connsiteY6-14" fmla="*/ 6858000 h 6858000"/>
              <a:gd name="connsiteX7-15" fmla="*/ 0 w 12192000"/>
              <a:gd name="connsiteY7-16" fmla="*/ 0 h 6858000"/>
              <a:gd name="connsiteX0-17" fmla="*/ 0 w 8837726"/>
              <a:gd name="connsiteY0-18" fmla="*/ 0 h 6858000"/>
              <a:gd name="connsiteX1-19" fmla="*/ 8363446 w 8837726"/>
              <a:gd name="connsiteY1-20" fmla="*/ 0 h 6858000"/>
              <a:gd name="connsiteX2-21" fmla="*/ 8493397 w 8837726"/>
              <a:gd name="connsiteY2-22" fmla="*/ 161590 h 6858000"/>
              <a:gd name="connsiteX3-23" fmla="*/ 8078742 w 8837726"/>
              <a:gd name="connsiteY3-24" fmla="*/ 2657473 h 6858000"/>
              <a:gd name="connsiteX4-25" fmla="*/ 4672189 w 8837726"/>
              <a:gd name="connsiteY4-26" fmla="*/ 6857998 h 6858000"/>
              <a:gd name="connsiteX5-27" fmla="*/ 0 w 8837726"/>
              <a:gd name="connsiteY5-28" fmla="*/ 6858000 h 6858000"/>
              <a:gd name="connsiteX6-29" fmla="*/ 0 w 8837726"/>
              <a:gd name="connsiteY6-30" fmla="*/ 0 h 6858000"/>
              <a:gd name="connsiteX0-31" fmla="*/ 0 w 8812037"/>
              <a:gd name="connsiteY0-32" fmla="*/ 0 h 6887026"/>
              <a:gd name="connsiteX1-33" fmla="*/ 8363446 w 8812037"/>
              <a:gd name="connsiteY1-34" fmla="*/ 0 h 6887026"/>
              <a:gd name="connsiteX2-35" fmla="*/ 8493397 w 8812037"/>
              <a:gd name="connsiteY2-36" fmla="*/ 161590 h 6887026"/>
              <a:gd name="connsiteX3-37" fmla="*/ 8078742 w 8812037"/>
              <a:gd name="connsiteY3-38" fmla="*/ 2657473 h 6887026"/>
              <a:gd name="connsiteX4-39" fmla="*/ 5238246 w 8812037"/>
              <a:gd name="connsiteY4-40" fmla="*/ 6887026 h 6887026"/>
              <a:gd name="connsiteX5-41" fmla="*/ 0 w 8812037"/>
              <a:gd name="connsiteY5-42" fmla="*/ 6858000 h 6887026"/>
              <a:gd name="connsiteX6-43" fmla="*/ 0 w 8812037"/>
              <a:gd name="connsiteY6-44" fmla="*/ 0 h 6887026"/>
              <a:gd name="connsiteX0-45" fmla="*/ 0 w 8773983"/>
              <a:gd name="connsiteY0-46" fmla="*/ 0 h 7540169"/>
              <a:gd name="connsiteX1-47" fmla="*/ 8363446 w 8773983"/>
              <a:gd name="connsiteY1-48" fmla="*/ 0 h 7540169"/>
              <a:gd name="connsiteX2-49" fmla="*/ 8493397 w 8773983"/>
              <a:gd name="connsiteY2-50" fmla="*/ 161590 h 7540169"/>
              <a:gd name="connsiteX3-51" fmla="*/ 8078742 w 8773983"/>
              <a:gd name="connsiteY3-52" fmla="*/ 2657473 h 7540169"/>
              <a:gd name="connsiteX4-53" fmla="*/ 6370360 w 8773983"/>
              <a:gd name="connsiteY4-54" fmla="*/ 7540169 h 7540169"/>
              <a:gd name="connsiteX5-55" fmla="*/ 0 w 8773983"/>
              <a:gd name="connsiteY5-56" fmla="*/ 6858000 h 7540169"/>
              <a:gd name="connsiteX6-57" fmla="*/ 0 w 8773983"/>
              <a:gd name="connsiteY6-58" fmla="*/ 0 h 7540169"/>
              <a:gd name="connsiteX0-59" fmla="*/ 0 w 8773983"/>
              <a:gd name="connsiteY0-60" fmla="*/ 0 h 7540169"/>
              <a:gd name="connsiteX1-61" fmla="*/ 8363446 w 8773983"/>
              <a:gd name="connsiteY1-62" fmla="*/ 0 h 7540169"/>
              <a:gd name="connsiteX2-63" fmla="*/ 8493397 w 8773983"/>
              <a:gd name="connsiteY2-64" fmla="*/ 161590 h 7540169"/>
              <a:gd name="connsiteX3-65" fmla="*/ 8078742 w 8773983"/>
              <a:gd name="connsiteY3-66" fmla="*/ 2657473 h 7540169"/>
              <a:gd name="connsiteX4-67" fmla="*/ 6370360 w 8773983"/>
              <a:gd name="connsiteY4-68" fmla="*/ 7540169 h 7540169"/>
              <a:gd name="connsiteX5-69" fmla="*/ 0 w 8773983"/>
              <a:gd name="connsiteY5-70" fmla="*/ 6858000 h 7540169"/>
              <a:gd name="connsiteX6-71" fmla="*/ 0 w 8773983"/>
              <a:gd name="connsiteY6-72" fmla="*/ 0 h 7540169"/>
              <a:gd name="connsiteX0-73" fmla="*/ 0 w 8741453"/>
              <a:gd name="connsiteY0-74" fmla="*/ 0 h 7540169"/>
              <a:gd name="connsiteX1-75" fmla="*/ 8363446 w 8741453"/>
              <a:gd name="connsiteY1-76" fmla="*/ 0 h 7540169"/>
              <a:gd name="connsiteX2-77" fmla="*/ 8493397 w 8741453"/>
              <a:gd name="connsiteY2-78" fmla="*/ 161590 h 7540169"/>
              <a:gd name="connsiteX3-79" fmla="*/ 7904570 w 8741453"/>
              <a:gd name="connsiteY3-80" fmla="*/ 2483301 h 7540169"/>
              <a:gd name="connsiteX4-81" fmla="*/ 6370360 w 8741453"/>
              <a:gd name="connsiteY4-82" fmla="*/ 7540169 h 7540169"/>
              <a:gd name="connsiteX5-83" fmla="*/ 0 w 8741453"/>
              <a:gd name="connsiteY5-84" fmla="*/ 6858000 h 7540169"/>
              <a:gd name="connsiteX6-85" fmla="*/ 0 w 8741453"/>
              <a:gd name="connsiteY6-86" fmla="*/ 0 h 7540169"/>
              <a:gd name="connsiteX0-87" fmla="*/ 0 w 9020351"/>
              <a:gd name="connsiteY0-88" fmla="*/ 0 h 7540169"/>
              <a:gd name="connsiteX1-89" fmla="*/ 8363446 w 9020351"/>
              <a:gd name="connsiteY1-90" fmla="*/ 0 h 7540169"/>
              <a:gd name="connsiteX2-91" fmla="*/ 8493397 w 9020351"/>
              <a:gd name="connsiteY2-92" fmla="*/ 161590 h 7540169"/>
              <a:gd name="connsiteX3-93" fmla="*/ 7904570 w 9020351"/>
              <a:gd name="connsiteY3-94" fmla="*/ 2483301 h 7540169"/>
              <a:gd name="connsiteX4-95" fmla="*/ 6370360 w 9020351"/>
              <a:gd name="connsiteY4-96" fmla="*/ 7540169 h 7540169"/>
              <a:gd name="connsiteX5-97" fmla="*/ 0 w 9020351"/>
              <a:gd name="connsiteY5-98" fmla="*/ 6858000 h 7540169"/>
              <a:gd name="connsiteX6-99" fmla="*/ 0 w 9020351"/>
              <a:gd name="connsiteY6-100" fmla="*/ 0 h 7540169"/>
              <a:gd name="connsiteX0-101" fmla="*/ 0 w 9394162"/>
              <a:gd name="connsiteY0-102" fmla="*/ 56124 h 7596293"/>
              <a:gd name="connsiteX1-103" fmla="*/ 8363446 w 9394162"/>
              <a:gd name="connsiteY1-104" fmla="*/ 56124 h 7596293"/>
              <a:gd name="connsiteX2-105" fmla="*/ 9219111 w 9394162"/>
              <a:gd name="connsiteY2-106" fmla="*/ 0 h 7596293"/>
              <a:gd name="connsiteX3-107" fmla="*/ 7904570 w 9394162"/>
              <a:gd name="connsiteY3-108" fmla="*/ 2539425 h 7596293"/>
              <a:gd name="connsiteX4-109" fmla="*/ 6370360 w 9394162"/>
              <a:gd name="connsiteY4-110" fmla="*/ 7596293 h 7596293"/>
              <a:gd name="connsiteX5-111" fmla="*/ 0 w 9394162"/>
              <a:gd name="connsiteY5-112" fmla="*/ 6914124 h 7596293"/>
              <a:gd name="connsiteX6-113" fmla="*/ 0 w 9394162"/>
              <a:gd name="connsiteY6-114" fmla="*/ 56124 h 7596293"/>
              <a:gd name="connsiteX0-115" fmla="*/ 0 w 9392944"/>
              <a:gd name="connsiteY0-116" fmla="*/ 56124 h 7596293"/>
              <a:gd name="connsiteX1-117" fmla="*/ 8363446 w 9392944"/>
              <a:gd name="connsiteY1-118" fmla="*/ 56124 h 7596293"/>
              <a:gd name="connsiteX2-119" fmla="*/ 9219111 w 9392944"/>
              <a:gd name="connsiteY2-120" fmla="*/ 0 h 7596293"/>
              <a:gd name="connsiteX3-121" fmla="*/ 7890056 w 9392944"/>
              <a:gd name="connsiteY3-122" fmla="*/ 2466854 h 7596293"/>
              <a:gd name="connsiteX4-123" fmla="*/ 6370360 w 9392944"/>
              <a:gd name="connsiteY4-124" fmla="*/ 7596293 h 7596293"/>
              <a:gd name="connsiteX5-125" fmla="*/ 0 w 9392944"/>
              <a:gd name="connsiteY5-126" fmla="*/ 6914124 h 7596293"/>
              <a:gd name="connsiteX6-127" fmla="*/ 0 w 9392944"/>
              <a:gd name="connsiteY6-128" fmla="*/ 56124 h 7596293"/>
              <a:gd name="connsiteX0-129" fmla="*/ 0 w 9424258"/>
              <a:gd name="connsiteY0-130" fmla="*/ 56124 h 7596293"/>
              <a:gd name="connsiteX1-131" fmla="*/ 8363446 w 9424258"/>
              <a:gd name="connsiteY1-132" fmla="*/ 56124 h 7596293"/>
              <a:gd name="connsiteX2-133" fmla="*/ 9219111 w 9424258"/>
              <a:gd name="connsiteY2-134" fmla="*/ 0 h 7596293"/>
              <a:gd name="connsiteX3-135" fmla="*/ 7890056 w 9424258"/>
              <a:gd name="connsiteY3-136" fmla="*/ 2466854 h 7596293"/>
              <a:gd name="connsiteX4-137" fmla="*/ 6370360 w 9424258"/>
              <a:gd name="connsiteY4-138" fmla="*/ 7596293 h 7596293"/>
              <a:gd name="connsiteX5-139" fmla="*/ 0 w 9424258"/>
              <a:gd name="connsiteY5-140" fmla="*/ 6914124 h 7596293"/>
              <a:gd name="connsiteX6-141" fmla="*/ 0 w 9424258"/>
              <a:gd name="connsiteY6-142" fmla="*/ 56124 h 7596293"/>
              <a:gd name="connsiteX0-143" fmla="*/ 0 w 9453933"/>
              <a:gd name="connsiteY0-144" fmla="*/ 56124 h 7596293"/>
              <a:gd name="connsiteX1-145" fmla="*/ 8363446 w 9453933"/>
              <a:gd name="connsiteY1-146" fmla="*/ 56124 h 7596293"/>
              <a:gd name="connsiteX2-147" fmla="*/ 9219111 w 9453933"/>
              <a:gd name="connsiteY2-148" fmla="*/ 0 h 7596293"/>
              <a:gd name="connsiteX3-149" fmla="*/ 8122285 w 9453933"/>
              <a:gd name="connsiteY3-150" fmla="*/ 2641026 h 7596293"/>
              <a:gd name="connsiteX4-151" fmla="*/ 6370360 w 9453933"/>
              <a:gd name="connsiteY4-152" fmla="*/ 7596293 h 7596293"/>
              <a:gd name="connsiteX5-153" fmla="*/ 0 w 9453933"/>
              <a:gd name="connsiteY5-154" fmla="*/ 6914124 h 7596293"/>
              <a:gd name="connsiteX6-155" fmla="*/ 0 w 9453933"/>
              <a:gd name="connsiteY6-156" fmla="*/ 56124 h 7596293"/>
              <a:gd name="connsiteX0-157" fmla="*/ 0 w 9453933"/>
              <a:gd name="connsiteY0-158" fmla="*/ 319314 h 7859483"/>
              <a:gd name="connsiteX1-159" fmla="*/ 8029618 w 9453933"/>
              <a:gd name="connsiteY1-160" fmla="*/ 0 h 7859483"/>
              <a:gd name="connsiteX2-161" fmla="*/ 9219111 w 9453933"/>
              <a:gd name="connsiteY2-162" fmla="*/ 263190 h 7859483"/>
              <a:gd name="connsiteX3-163" fmla="*/ 8122285 w 9453933"/>
              <a:gd name="connsiteY3-164" fmla="*/ 2904216 h 7859483"/>
              <a:gd name="connsiteX4-165" fmla="*/ 6370360 w 9453933"/>
              <a:gd name="connsiteY4-166" fmla="*/ 7859483 h 7859483"/>
              <a:gd name="connsiteX5-167" fmla="*/ 0 w 9453933"/>
              <a:gd name="connsiteY5-168" fmla="*/ 7177314 h 7859483"/>
              <a:gd name="connsiteX6-169" fmla="*/ 0 w 9453933"/>
              <a:gd name="connsiteY6-170" fmla="*/ 319314 h 7859483"/>
              <a:gd name="connsiteX0-171" fmla="*/ 0 w 9244191"/>
              <a:gd name="connsiteY0-172" fmla="*/ 319314 h 7859483"/>
              <a:gd name="connsiteX1-173" fmla="*/ 8029618 w 9244191"/>
              <a:gd name="connsiteY1-174" fmla="*/ 0 h 7859483"/>
              <a:gd name="connsiteX2-175" fmla="*/ 9030425 w 9244191"/>
              <a:gd name="connsiteY2-176" fmla="*/ 219647 h 7859483"/>
              <a:gd name="connsiteX3-177" fmla="*/ 8122285 w 9244191"/>
              <a:gd name="connsiteY3-178" fmla="*/ 2904216 h 7859483"/>
              <a:gd name="connsiteX4-179" fmla="*/ 6370360 w 9244191"/>
              <a:gd name="connsiteY4-180" fmla="*/ 7859483 h 7859483"/>
              <a:gd name="connsiteX5-181" fmla="*/ 0 w 9244191"/>
              <a:gd name="connsiteY5-182" fmla="*/ 7177314 h 7859483"/>
              <a:gd name="connsiteX6-183" fmla="*/ 0 w 9244191"/>
              <a:gd name="connsiteY6-184" fmla="*/ 319314 h 7859483"/>
              <a:gd name="connsiteX0-185" fmla="*/ 0 w 9159140"/>
              <a:gd name="connsiteY0-186" fmla="*/ 319314 h 7859483"/>
              <a:gd name="connsiteX1-187" fmla="*/ 8029618 w 9159140"/>
              <a:gd name="connsiteY1-188" fmla="*/ 0 h 7859483"/>
              <a:gd name="connsiteX2-189" fmla="*/ 9030425 w 9159140"/>
              <a:gd name="connsiteY2-190" fmla="*/ 219647 h 7859483"/>
              <a:gd name="connsiteX3-191" fmla="*/ 8122285 w 9159140"/>
              <a:gd name="connsiteY3-192" fmla="*/ 2904216 h 7859483"/>
              <a:gd name="connsiteX4-193" fmla="*/ 6370360 w 9159140"/>
              <a:gd name="connsiteY4-194" fmla="*/ 7859483 h 7859483"/>
              <a:gd name="connsiteX5-195" fmla="*/ 0 w 9159140"/>
              <a:gd name="connsiteY5-196" fmla="*/ 7177314 h 7859483"/>
              <a:gd name="connsiteX6-197" fmla="*/ 0 w 9159140"/>
              <a:gd name="connsiteY6-198" fmla="*/ 319314 h 7859483"/>
              <a:gd name="connsiteX0-199" fmla="*/ 0 w 9173062"/>
              <a:gd name="connsiteY0-200" fmla="*/ 319314 h 7859483"/>
              <a:gd name="connsiteX1-201" fmla="*/ 8029618 w 9173062"/>
              <a:gd name="connsiteY1-202" fmla="*/ 0 h 7859483"/>
              <a:gd name="connsiteX2-203" fmla="*/ 9030425 w 9173062"/>
              <a:gd name="connsiteY2-204" fmla="*/ 219647 h 7859483"/>
              <a:gd name="connsiteX3-205" fmla="*/ 8252914 w 9173062"/>
              <a:gd name="connsiteY3-206" fmla="*/ 2991302 h 7859483"/>
              <a:gd name="connsiteX4-207" fmla="*/ 6370360 w 9173062"/>
              <a:gd name="connsiteY4-208" fmla="*/ 7859483 h 7859483"/>
              <a:gd name="connsiteX5-209" fmla="*/ 0 w 9173062"/>
              <a:gd name="connsiteY5-210" fmla="*/ 7177314 h 7859483"/>
              <a:gd name="connsiteX6-211" fmla="*/ 0 w 9173062"/>
              <a:gd name="connsiteY6-212" fmla="*/ 319314 h 7859483"/>
              <a:gd name="connsiteX0-213" fmla="*/ 0 w 9182405"/>
              <a:gd name="connsiteY0-214" fmla="*/ 319314 h 7728854"/>
              <a:gd name="connsiteX1-215" fmla="*/ 8029618 w 9182405"/>
              <a:gd name="connsiteY1-216" fmla="*/ 0 h 7728854"/>
              <a:gd name="connsiteX2-217" fmla="*/ 9030425 w 9182405"/>
              <a:gd name="connsiteY2-218" fmla="*/ 219647 h 7728854"/>
              <a:gd name="connsiteX3-219" fmla="*/ 8252914 w 9182405"/>
              <a:gd name="connsiteY3-220" fmla="*/ 2991302 h 7728854"/>
              <a:gd name="connsiteX4-221" fmla="*/ 5876875 w 9182405"/>
              <a:gd name="connsiteY4-222" fmla="*/ 7728854 h 7728854"/>
              <a:gd name="connsiteX5-223" fmla="*/ 0 w 9182405"/>
              <a:gd name="connsiteY5-224" fmla="*/ 7177314 h 7728854"/>
              <a:gd name="connsiteX6-225" fmla="*/ 0 w 9182405"/>
              <a:gd name="connsiteY6-226" fmla="*/ 319314 h 7728854"/>
              <a:gd name="connsiteX0-227" fmla="*/ 0 w 9177886"/>
              <a:gd name="connsiteY0-228" fmla="*/ 319314 h 7757883"/>
              <a:gd name="connsiteX1-229" fmla="*/ 8029618 w 9177886"/>
              <a:gd name="connsiteY1-230" fmla="*/ 0 h 7757883"/>
              <a:gd name="connsiteX2-231" fmla="*/ 9030425 w 9177886"/>
              <a:gd name="connsiteY2-232" fmla="*/ 219647 h 7757883"/>
              <a:gd name="connsiteX3-233" fmla="*/ 8252914 w 9177886"/>
              <a:gd name="connsiteY3-234" fmla="*/ 2991302 h 7757883"/>
              <a:gd name="connsiteX4-235" fmla="*/ 6109104 w 9177886"/>
              <a:gd name="connsiteY4-236" fmla="*/ 7757883 h 7757883"/>
              <a:gd name="connsiteX5-237" fmla="*/ 0 w 9177886"/>
              <a:gd name="connsiteY5-238" fmla="*/ 7177314 h 7757883"/>
              <a:gd name="connsiteX6-239" fmla="*/ 0 w 9177886"/>
              <a:gd name="connsiteY6-240" fmla="*/ 319314 h 7757883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9177886" h="7757883">
                <a:moveTo>
                  <a:pt x="0" y="319314"/>
                </a:moveTo>
                <a:lnTo>
                  <a:pt x="8029618" y="0"/>
                </a:lnTo>
                <a:lnTo>
                  <a:pt x="9030425" y="219647"/>
                </a:lnTo>
                <a:cubicBezTo>
                  <a:pt x="9500247" y="2017267"/>
                  <a:pt x="8739801" y="1734929"/>
                  <a:pt x="8252914" y="2991302"/>
                </a:cubicBezTo>
                <a:cubicBezTo>
                  <a:pt x="7766027" y="4247675"/>
                  <a:pt x="3759280" y="4508725"/>
                  <a:pt x="6109104" y="7757883"/>
                </a:cubicBezTo>
                <a:lnTo>
                  <a:pt x="0" y="7177314"/>
                </a:lnTo>
                <a:lnTo>
                  <a:pt x="0" y="319314"/>
                </a:lnTo>
                <a:close/>
              </a:path>
            </a:pathLst>
          </a:custGeom>
          <a:solidFill>
            <a:schemeClr val="tx1">
              <a:alpha val="24000"/>
            </a:schemeClr>
          </a:solidFill>
          <a:ln>
            <a:noFill/>
          </a:ln>
          <a:effectLst>
            <a:softEdge rad="2286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D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Freeform: Shape 6"/>
          <p:cNvSpPr/>
          <p:nvPr/>
        </p:nvSpPr>
        <p:spPr>
          <a:xfrm>
            <a:off x="-14514" y="46"/>
            <a:ext cx="8837726" cy="6858000"/>
          </a:xfrm>
          <a:custGeom>
            <a:avLst/>
            <a:gdLst>
              <a:gd name="connsiteX0" fmla="*/ 0 w 12192000"/>
              <a:gd name="connsiteY0" fmla="*/ 0 h 6858000"/>
              <a:gd name="connsiteX1" fmla="*/ 8363446 w 12192000"/>
              <a:gd name="connsiteY1" fmla="*/ 0 h 6858000"/>
              <a:gd name="connsiteX2" fmla="*/ 8493397 w 12192000"/>
              <a:gd name="connsiteY2" fmla="*/ 161590 h 6858000"/>
              <a:gd name="connsiteX3" fmla="*/ 8078742 w 12192000"/>
              <a:gd name="connsiteY3" fmla="*/ 2657473 h 6858000"/>
              <a:gd name="connsiteX4" fmla="*/ 4672189 w 12192000"/>
              <a:gd name="connsiteY4" fmla="*/ 6857998 h 6858000"/>
              <a:gd name="connsiteX5" fmla="*/ 12192000 w 12192000"/>
              <a:gd name="connsiteY5" fmla="*/ 6857998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  <a:gd name="connsiteX0-1" fmla="*/ 0 w 12192000"/>
              <a:gd name="connsiteY0-2" fmla="*/ 0 h 6858000"/>
              <a:gd name="connsiteX1-3" fmla="*/ 8363446 w 12192000"/>
              <a:gd name="connsiteY1-4" fmla="*/ 0 h 6858000"/>
              <a:gd name="connsiteX2-5" fmla="*/ 8493397 w 12192000"/>
              <a:gd name="connsiteY2-6" fmla="*/ 161590 h 6858000"/>
              <a:gd name="connsiteX3-7" fmla="*/ 8078742 w 12192000"/>
              <a:gd name="connsiteY3-8" fmla="*/ 2657473 h 6858000"/>
              <a:gd name="connsiteX4-9" fmla="*/ 4672189 w 12192000"/>
              <a:gd name="connsiteY4-10" fmla="*/ 6857998 h 6858000"/>
              <a:gd name="connsiteX5-11" fmla="*/ 12192000 w 12192000"/>
              <a:gd name="connsiteY5-12" fmla="*/ 6857998 h 6858000"/>
              <a:gd name="connsiteX6-13" fmla="*/ 0 w 12192000"/>
              <a:gd name="connsiteY6-14" fmla="*/ 6858000 h 6858000"/>
              <a:gd name="connsiteX7-15" fmla="*/ 0 w 12192000"/>
              <a:gd name="connsiteY7-16" fmla="*/ 0 h 6858000"/>
              <a:gd name="connsiteX0-17" fmla="*/ 0 w 8837726"/>
              <a:gd name="connsiteY0-18" fmla="*/ 0 h 6858000"/>
              <a:gd name="connsiteX1-19" fmla="*/ 8363446 w 8837726"/>
              <a:gd name="connsiteY1-20" fmla="*/ 0 h 6858000"/>
              <a:gd name="connsiteX2-21" fmla="*/ 8493397 w 8837726"/>
              <a:gd name="connsiteY2-22" fmla="*/ 161590 h 6858000"/>
              <a:gd name="connsiteX3-23" fmla="*/ 8078742 w 8837726"/>
              <a:gd name="connsiteY3-24" fmla="*/ 2657473 h 6858000"/>
              <a:gd name="connsiteX4-25" fmla="*/ 4672189 w 8837726"/>
              <a:gd name="connsiteY4-26" fmla="*/ 6857998 h 6858000"/>
              <a:gd name="connsiteX5-27" fmla="*/ 0 w 8837726"/>
              <a:gd name="connsiteY5-28" fmla="*/ 6858000 h 6858000"/>
              <a:gd name="connsiteX6-29" fmla="*/ 0 w 8837726"/>
              <a:gd name="connsiteY6-30" fmla="*/ 0 h 6858000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</a:cxnLst>
            <a:rect l="l" t="t" r="r" b="b"/>
            <a:pathLst>
              <a:path w="8837726" h="6858000">
                <a:moveTo>
                  <a:pt x="0" y="0"/>
                </a:moveTo>
                <a:lnTo>
                  <a:pt x="8363446" y="0"/>
                </a:lnTo>
                <a:lnTo>
                  <a:pt x="8493397" y="161590"/>
                </a:lnTo>
                <a:cubicBezTo>
                  <a:pt x="9180934" y="1117381"/>
                  <a:pt x="8732277" y="2135087"/>
                  <a:pt x="8078742" y="2657473"/>
                </a:cubicBezTo>
                <a:cubicBezTo>
                  <a:pt x="7381638" y="3214685"/>
                  <a:pt x="4528537" y="3986211"/>
                  <a:pt x="4672189" y="6857998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3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8" name="Freeform: Shape 207"/>
          <p:cNvSpPr/>
          <p:nvPr/>
        </p:nvSpPr>
        <p:spPr>
          <a:xfrm>
            <a:off x="-198118" y="-14513"/>
            <a:ext cx="8038547" cy="7236863"/>
          </a:xfrm>
          <a:custGeom>
            <a:avLst/>
            <a:gdLst>
              <a:gd name="connsiteX0" fmla="*/ 8038547 w 8038547"/>
              <a:gd name="connsiteY0" fmla="*/ 2622435 h 7236863"/>
              <a:gd name="connsiteX1" fmla="*/ 8024363 w 8038547"/>
              <a:gd name="connsiteY1" fmla="*/ 2671987 h 7236863"/>
              <a:gd name="connsiteX2" fmla="*/ 7902200 w 8038547"/>
              <a:gd name="connsiteY2" fmla="*/ 2739549 h 7236863"/>
              <a:gd name="connsiteX3" fmla="*/ 7984688 w 8038547"/>
              <a:gd name="connsiteY3" fmla="*/ 2671987 h 7236863"/>
              <a:gd name="connsiteX4" fmla="*/ 5167914 w 8038547"/>
              <a:gd name="connsiteY4" fmla="*/ 0 h 7236863"/>
              <a:gd name="connsiteX5" fmla="*/ 6141921 w 8038547"/>
              <a:gd name="connsiteY5" fmla="*/ 4066 h 7236863"/>
              <a:gd name="connsiteX6" fmla="*/ 6131113 w 8038547"/>
              <a:gd name="connsiteY6" fmla="*/ 25802 h 7236863"/>
              <a:gd name="connsiteX7" fmla="*/ 7213280 w 8038547"/>
              <a:gd name="connsiteY7" fmla="*/ 1607780 h 7236863"/>
              <a:gd name="connsiteX8" fmla="*/ 7018147 w 8038547"/>
              <a:gd name="connsiteY8" fmla="*/ 2591059 h 7236863"/>
              <a:gd name="connsiteX9" fmla="*/ 3414680 w 8038547"/>
              <a:gd name="connsiteY9" fmla="*/ 4969068 h 7236863"/>
              <a:gd name="connsiteX10" fmla="*/ 3021614 w 8038547"/>
              <a:gd name="connsiteY10" fmla="*/ 6757892 h 7236863"/>
              <a:gd name="connsiteX11" fmla="*/ 3067031 w 8038547"/>
              <a:gd name="connsiteY11" fmla="*/ 6872512 h 7236863"/>
              <a:gd name="connsiteX12" fmla="*/ 3167795 w 8038547"/>
              <a:gd name="connsiteY12" fmla="*/ 6874147 h 7236863"/>
              <a:gd name="connsiteX13" fmla="*/ 3169699 w 8038547"/>
              <a:gd name="connsiteY13" fmla="*/ 6901541 h 7236863"/>
              <a:gd name="connsiteX14" fmla="*/ 59367 w 8038547"/>
              <a:gd name="connsiteY14" fmla="*/ 7119255 h 7236863"/>
              <a:gd name="connsiteX15" fmla="*/ 90489 w 8038547"/>
              <a:gd name="connsiteY15" fmla="*/ 7236863 h 7236863"/>
              <a:gd name="connsiteX16" fmla="*/ 177930 w 8038547"/>
              <a:gd name="connsiteY16" fmla="*/ 3764382 h 7236863"/>
              <a:gd name="connsiteX17" fmla="*/ 6524494 w 8038547"/>
              <a:gd name="connsiteY17" fmla="*/ 2591059 h 7236863"/>
              <a:gd name="connsiteX18" fmla="*/ 6827299 w 8038547"/>
              <a:gd name="connsiteY18" fmla="*/ 1607780 h 7236863"/>
              <a:gd name="connsiteX19" fmla="*/ 5167914 w 8038547"/>
              <a:gd name="connsiteY19" fmla="*/ 0 h 7236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8038547" h="7236863">
                <a:moveTo>
                  <a:pt x="8038547" y="2622435"/>
                </a:moveTo>
                <a:lnTo>
                  <a:pt x="8024363" y="2671987"/>
                </a:lnTo>
                <a:lnTo>
                  <a:pt x="7902200" y="2739549"/>
                </a:lnTo>
                <a:lnTo>
                  <a:pt x="7984688" y="2671987"/>
                </a:lnTo>
                <a:close/>
                <a:moveTo>
                  <a:pt x="5167914" y="0"/>
                </a:moveTo>
                <a:lnTo>
                  <a:pt x="6141921" y="4066"/>
                </a:lnTo>
                <a:lnTo>
                  <a:pt x="6131113" y="25802"/>
                </a:lnTo>
                <a:cubicBezTo>
                  <a:pt x="6053757" y="301764"/>
                  <a:pt x="7648620" y="866036"/>
                  <a:pt x="7213280" y="1607780"/>
                </a:cubicBezTo>
                <a:cubicBezTo>
                  <a:pt x="6763895" y="2373451"/>
                  <a:pt x="7936555" y="2208644"/>
                  <a:pt x="7018147" y="2591059"/>
                </a:cubicBezTo>
                <a:cubicBezTo>
                  <a:pt x="6099737" y="2973474"/>
                  <a:pt x="4036920" y="4201064"/>
                  <a:pt x="3414680" y="4969068"/>
                </a:cubicBezTo>
                <a:cubicBezTo>
                  <a:pt x="2948001" y="5545071"/>
                  <a:pt x="2847031" y="6243782"/>
                  <a:pt x="3021614" y="6757892"/>
                </a:cubicBezTo>
                <a:lnTo>
                  <a:pt x="3067031" y="6872512"/>
                </a:lnTo>
                <a:lnTo>
                  <a:pt x="3167795" y="6874147"/>
                </a:lnTo>
                <a:lnTo>
                  <a:pt x="3169699" y="6901541"/>
                </a:lnTo>
                <a:lnTo>
                  <a:pt x="59367" y="7119255"/>
                </a:lnTo>
                <a:lnTo>
                  <a:pt x="90489" y="7236863"/>
                </a:lnTo>
                <a:cubicBezTo>
                  <a:pt x="-180426" y="6722753"/>
                  <a:pt x="250324" y="5261137"/>
                  <a:pt x="177930" y="3764382"/>
                </a:cubicBezTo>
                <a:cubicBezTo>
                  <a:pt x="1201572" y="5449293"/>
                  <a:pt x="5099316" y="2973474"/>
                  <a:pt x="6524494" y="2591059"/>
                </a:cubicBezTo>
                <a:cubicBezTo>
                  <a:pt x="7949670" y="2208644"/>
                  <a:pt x="6129950" y="2373451"/>
                  <a:pt x="6827299" y="1607780"/>
                </a:cubicBezTo>
                <a:cubicBezTo>
                  <a:pt x="7524648" y="842109"/>
                  <a:pt x="4865015" y="265544"/>
                  <a:pt x="5167914" y="0"/>
                </a:cubicBezTo>
                <a:close/>
              </a:path>
            </a:pathLst>
          </a:custGeom>
          <a:gradFill flip="none" rotWithShape="1">
            <a:gsLst>
              <a:gs pos="32000">
                <a:schemeClr val="accent1">
                  <a:lumMod val="75000"/>
                  <a:alpha val="5000"/>
                </a:schemeClr>
              </a:gs>
              <a:gs pos="100000">
                <a:schemeClr val="accent1"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0" name="Freeform: Shape 199"/>
          <p:cNvSpPr/>
          <p:nvPr/>
        </p:nvSpPr>
        <p:spPr>
          <a:xfrm>
            <a:off x="4501306" y="2"/>
            <a:ext cx="4350934" cy="6857997"/>
          </a:xfrm>
          <a:custGeom>
            <a:avLst/>
            <a:gdLst>
              <a:gd name="connsiteX0" fmla="*/ 3469732 w 4350934"/>
              <a:gd name="connsiteY0" fmla="*/ 0 h 6857997"/>
              <a:gd name="connsiteX1" fmla="*/ 3876655 w 4350934"/>
              <a:gd name="connsiteY1" fmla="*/ 0 h 6857997"/>
              <a:gd name="connsiteX2" fmla="*/ 4006605 w 4350934"/>
              <a:gd name="connsiteY2" fmla="*/ 161589 h 6857997"/>
              <a:gd name="connsiteX3" fmla="*/ 3591950 w 4350934"/>
              <a:gd name="connsiteY3" fmla="*/ 2657472 h 6857997"/>
              <a:gd name="connsiteX4" fmla="*/ 185397 w 4350934"/>
              <a:gd name="connsiteY4" fmla="*/ 6857997 h 6857997"/>
              <a:gd name="connsiteX5" fmla="*/ 89533 w 4350934"/>
              <a:gd name="connsiteY5" fmla="*/ 6857997 h 6857997"/>
              <a:gd name="connsiteX6" fmla="*/ 57186 w 4350934"/>
              <a:gd name="connsiteY6" fmla="*/ 6743377 h 6857997"/>
              <a:gd name="connsiteX7" fmla="*/ 337133 w 4350934"/>
              <a:gd name="connsiteY7" fmla="*/ 4954553 h 6857997"/>
              <a:gd name="connsiteX8" fmla="*/ 2903567 w 4350934"/>
              <a:gd name="connsiteY8" fmla="*/ 2576544 h 6857997"/>
              <a:gd name="connsiteX9" fmla="*/ 3042543 w 4350934"/>
              <a:gd name="connsiteY9" fmla="*/ 1593265 h 6857997"/>
              <a:gd name="connsiteX10" fmla="*/ 3613495 w 4350934"/>
              <a:gd name="connsiteY10" fmla="*/ 161590 h 6857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50934" h="6857997">
                <a:moveTo>
                  <a:pt x="3469732" y="0"/>
                </a:moveTo>
                <a:lnTo>
                  <a:pt x="3876655" y="0"/>
                </a:lnTo>
                <a:lnTo>
                  <a:pt x="4006605" y="161589"/>
                </a:lnTo>
                <a:cubicBezTo>
                  <a:pt x="4694142" y="1117380"/>
                  <a:pt x="4245485" y="2135086"/>
                  <a:pt x="3591950" y="2657472"/>
                </a:cubicBezTo>
                <a:cubicBezTo>
                  <a:pt x="2894846" y="3214684"/>
                  <a:pt x="41745" y="3986210"/>
                  <a:pt x="185397" y="6857997"/>
                </a:cubicBezTo>
                <a:lnTo>
                  <a:pt x="89533" y="6857997"/>
                </a:lnTo>
                <a:lnTo>
                  <a:pt x="57186" y="6743377"/>
                </a:lnTo>
                <a:cubicBezTo>
                  <a:pt x="-67154" y="6229267"/>
                  <a:pt x="4758" y="5530556"/>
                  <a:pt x="337133" y="4954553"/>
                </a:cubicBezTo>
                <a:cubicBezTo>
                  <a:pt x="780300" y="4186549"/>
                  <a:pt x="2249464" y="2958959"/>
                  <a:pt x="2903567" y="2576544"/>
                </a:cubicBezTo>
                <a:cubicBezTo>
                  <a:pt x="3557669" y="2194129"/>
                  <a:pt x="2924221" y="1995757"/>
                  <a:pt x="3042543" y="1593265"/>
                </a:cubicBezTo>
                <a:cubicBezTo>
                  <a:pt x="3160864" y="1190773"/>
                  <a:pt x="4374106" y="1117381"/>
                  <a:pt x="3613495" y="161590"/>
                </a:cubicBezTo>
                <a:close/>
              </a:path>
            </a:pathLst>
          </a:custGeom>
          <a:gradFill>
            <a:gsLst>
              <a:gs pos="0">
                <a:srgbClr val="A3D5FF">
                  <a:alpha val="9000"/>
                </a:srgbClr>
              </a:gs>
              <a:gs pos="100000">
                <a:srgbClr val="68B4F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1" name="Slide Number Placeholder 210"/>
          <p:cNvSpPr>
            <a:spLocks noGrp="1"/>
          </p:cNvSpPr>
          <p:nvPr>
            <p:ph type="sldNum" sz="quarter" idx="4294967295"/>
          </p:nvPr>
        </p:nvSpPr>
        <p:spPr>
          <a:xfrm>
            <a:off x="386637" y="6113658"/>
            <a:ext cx="184666" cy="184666"/>
          </a:xfrm>
          <a:prstGeom prst="rect">
            <a:avLst/>
          </a:prstGeom>
        </p:spPr>
        <p:txBody>
          <a:bodyPr vert="horz" wrap="none" lIns="0" tIns="0" rIns="0" bIns="0" rtlCol="0" anchor="ctr">
            <a:norm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11F5C09C-E732-4C10-8315-5D339FEEE77B}" type="slidenum">
              <a:rPr lang="en-ID" smtClean="0"/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t>37</a:t>
            </a:fld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12" name="Straight Connector 211"/>
          <p:cNvCxnSpPr/>
          <p:nvPr/>
        </p:nvCxnSpPr>
        <p:spPr>
          <a:xfrm>
            <a:off x="478971" y="2810085"/>
            <a:ext cx="0" cy="320421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ound Same Side Corner Rectangle 4"/>
          <p:cNvSpPr/>
          <p:nvPr/>
        </p:nvSpPr>
        <p:spPr>
          <a:xfrm rot="16200000">
            <a:off x="10355696" y="-647313"/>
            <a:ext cx="795131" cy="289427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3"/>
          <p:cNvPicPr>
            <a:picLocks noChangeAspect="1"/>
          </p:cNvPicPr>
          <p:nvPr/>
        </p:nvPicPr>
        <p:blipFill>
          <a:blip r:embed="rId4" cstate="screen"/>
          <a:stretch>
            <a:fillRect/>
          </a:stretch>
        </p:blipFill>
        <p:spPr>
          <a:xfrm>
            <a:off x="9872141" y="402259"/>
            <a:ext cx="2220938" cy="828053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F6A3C6A3-C4F4-463E-B6A4-E77AB47D6A1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6726" y="1895109"/>
            <a:ext cx="7990862" cy="5327241"/>
          </a:xfrm>
          <a:prstGeom prst="rect">
            <a:avLst/>
          </a:prstGeom>
        </p:spPr>
      </p:pic>
      <p:sp>
        <p:nvSpPr>
          <p:cNvPr id="203" name="TextBox 202"/>
          <p:cNvSpPr txBox="1"/>
          <p:nvPr/>
        </p:nvSpPr>
        <p:spPr>
          <a:xfrm>
            <a:off x="7354140" y="4144033"/>
            <a:ext cx="3912276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ID" sz="44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04" name="TextBox 203"/>
          <p:cNvSpPr txBox="1"/>
          <p:nvPr/>
        </p:nvSpPr>
        <p:spPr>
          <a:xfrm>
            <a:off x="7341556" y="4510848"/>
            <a:ext cx="4210467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fi-FI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anose="020B0502020202020204" pitchFamily="34" charset="0"/>
              </a:rPr>
              <a:t>PENGEMBANGAN KEPROFESIAN BERKELANJUTAN (PKB)</a:t>
            </a:r>
            <a:endParaRPr lang="fi-FI" sz="2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>
              <a:defRPr/>
            </a:pPr>
            <a:endParaRPr lang="en-US" sz="2000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fi-FI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cxnSp>
        <p:nvCxnSpPr>
          <p:cNvPr id="222" name="Straight Connector 221"/>
          <p:cNvCxnSpPr>
            <a:cxnSpLocks/>
          </p:cNvCxnSpPr>
          <p:nvPr/>
        </p:nvCxnSpPr>
        <p:spPr>
          <a:xfrm flipH="1">
            <a:off x="7354140" y="5960379"/>
            <a:ext cx="3843125" cy="0"/>
          </a:xfrm>
          <a:prstGeom prst="line">
            <a:avLst/>
          </a:prstGeom>
          <a:ln w="254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9097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1" name="Group 250">
            <a:extLst>
              <a:ext uri="{FF2B5EF4-FFF2-40B4-BE49-F238E27FC236}">
                <a16:creationId xmlns:a16="http://schemas.microsoft.com/office/drawing/2014/main" xmlns="" id="{E778C4A1-1703-47A8-8114-5B755A61ADF2}"/>
              </a:ext>
            </a:extLst>
          </p:cNvPr>
          <p:cNvGrpSpPr/>
          <p:nvPr/>
        </p:nvGrpSpPr>
        <p:grpSpPr>
          <a:xfrm>
            <a:off x="0" y="-1558193"/>
            <a:ext cx="12394280" cy="8416193"/>
            <a:chOff x="0" y="-1558193"/>
            <a:chExt cx="12394280" cy="8416193"/>
          </a:xfrm>
        </p:grpSpPr>
        <p:sp>
          <p:nvSpPr>
            <p:cNvPr id="215" name="Freeform: Shape 214">
              <a:extLst>
                <a:ext uri="{FF2B5EF4-FFF2-40B4-BE49-F238E27FC236}">
                  <a16:creationId xmlns:a16="http://schemas.microsoft.com/office/drawing/2014/main" xmlns="" id="{7E934679-49EB-43BE-9587-B358586E594F}"/>
                </a:ext>
              </a:extLst>
            </p:cNvPr>
            <p:cNvSpPr/>
            <p:nvPr/>
          </p:nvSpPr>
          <p:spPr>
            <a:xfrm rot="19172538" flipV="1">
              <a:off x="8675200" y="-1558193"/>
              <a:ext cx="3342588" cy="3880709"/>
            </a:xfrm>
            <a:custGeom>
              <a:avLst/>
              <a:gdLst>
                <a:gd name="connsiteX0" fmla="*/ 3328534 w 4515233"/>
                <a:gd name="connsiteY0" fmla="*/ 0 h 5242137"/>
                <a:gd name="connsiteX1" fmla="*/ 4515233 w 4515233"/>
                <a:gd name="connsiteY1" fmla="*/ 1391525 h 5242137"/>
                <a:gd name="connsiteX2" fmla="*/ 0 w 4515233"/>
                <a:gd name="connsiteY2" fmla="*/ 5242137 h 5242137"/>
                <a:gd name="connsiteX3" fmla="*/ 22524 w 4515233"/>
                <a:gd name="connsiteY3" fmla="*/ 5117709 h 5242137"/>
                <a:gd name="connsiteX4" fmla="*/ 243768 w 4515233"/>
                <a:gd name="connsiteY4" fmla="*/ 4512185 h 5242137"/>
                <a:gd name="connsiteX5" fmla="*/ 2533943 w 4515233"/>
                <a:gd name="connsiteY5" fmla="*/ 2134176 h 5242137"/>
                <a:gd name="connsiteX6" fmla="*/ 2657960 w 4515233"/>
                <a:gd name="connsiteY6" fmla="*/ 1150897 h 5242137"/>
                <a:gd name="connsiteX7" fmla="*/ 3344763 w 4515233"/>
                <a:gd name="connsiteY7" fmla="*/ 38648 h 5242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15233" h="5242137">
                  <a:moveTo>
                    <a:pt x="3328534" y="0"/>
                  </a:moveTo>
                  <a:lnTo>
                    <a:pt x="4515233" y="1391525"/>
                  </a:lnTo>
                  <a:lnTo>
                    <a:pt x="0" y="5242137"/>
                  </a:lnTo>
                  <a:lnTo>
                    <a:pt x="22524" y="5117709"/>
                  </a:lnTo>
                  <a:cubicBezTo>
                    <a:pt x="71862" y="4909821"/>
                    <a:pt x="144902" y="4704186"/>
                    <a:pt x="243768" y="4512185"/>
                  </a:cubicBezTo>
                  <a:cubicBezTo>
                    <a:pt x="639231" y="3744181"/>
                    <a:pt x="1950250" y="2516591"/>
                    <a:pt x="2533943" y="2134176"/>
                  </a:cubicBezTo>
                  <a:cubicBezTo>
                    <a:pt x="3117636" y="1751761"/>
                    <a:pt x="2552374" y="1553389"/>
                    <a:pt x="2657960" y="1150897"/>
                  </a:cubicBezTo>
                  <a:cubicBezTo>
                    <a:pt x="2750345" y="798717"/>
                    <a:pt x="3590795" y="698503"/>
                    <a:pt x="3344763" y="38648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D"/>
            </a:p>
          </p:txBody>
        </p:sp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xmlns="" id="{7E73C1B3-9E3E-4809-93E8-E305510B6265}"/>
                </a:ext>
              </a:extLst>
            </p:cNvPr>
            <p:cNvSpPr/>
            <p:nvPr/>
          </p:nvSpPr>
          <p:spPr>
            <a:xfrm>
              <a:off x="0" y="-546526"/>
              <a:ext cx="12394280" cy="7404525"/>
            </a:xfrm>
            <a:custGeom>
              <a:avLst/>
              <a:gdLst>
                <a:gd name="connsiteX0" fmla="*/ 0 w 12192000"/>
                <a:gd name="connsiteY0" fmla="*/ 0 h 6858000"/>
                <a:gd name="connsiteX1" fmla="*/ 7827675 w 12192000"/>
                <a:gd name="connsiteY1" fmla="*/ 0 h 6858000"/>
                <a:gd name="connsiteX2" fmla="*/ 7888220 w 12192000"/>
                <a:gd name="connsiteY2" fmla="*/ 49523 h 6858000"/>
                <a:gd name="connsiteX3" fmla="*/ 8303714 w 12192000"/>
                <a:gd name="connsiteY3" fmla="*/ 284323 h 6858000"/>
                <a:gd name="connsiteX4" fmla="*/ 10736028 w 12192000"/>
                <a:gd name="connsiteY4" fmla="*/ 523680 h 6858000"/>
                <a:gd name="connsiteX5" fmla="*/ 11278217 w 12192000"/>
                <a:gd name="connsiteY5" fmla="*/ 1017965 h 6858000"/>
                <a:gd name="connsiteX6" fmla="*/ 12162051 w 12192000"/>
                <a:gd name="connsiteY6" fmla="*/ 1232186 h 6858000"/>
                <a:gd name="connsiteX7" fmla="*/ 12192000 w 12192000"/>
                <a:gd name="connsiteY7" fmla="*/ 1298299 h 6858000"/>
                <a:gd name="connsiteX8" fmla="*/ 12192000 w 12192000"/>
                <a:gd name="connsiteY8" fmla="*/ 6858000 h 6858000"/>
                <a:gd name="connsiteX9" fmla="*/ 0 w 12192000"/>
                <a:gd name="connsiteY9" fmla="*/ 6858000 h 6858000"/>
                <a:gd name="connsiteX0" fmla="*/ 0 w 12192000"/>
                <a:gd name="connsiteY0" fmla="*/ 377371 h 7235371"/>
                <a:gd name="connsiteX1" fmla="*/ 7624475 w 12192000"/>
                <a:gd name="connsiteY1" fmla="*/ 0 h 7235371"/>
                <a:gd name="connsiteX2" fmla="*/ 7888220 w 12192000"/>
                <a:gd name="connsiteY2" fmla="*/ 426894 h 7235371"/>
                <a:gd name="connsiteX3" fmla="*/ 8303714 w 12192000"/>
                <a:gd name="connsiteY3" fmla="*/ 661694 h 7235371"/>
                <a:gd name="connsiteX4" fmla="*/ 10736028 w 12192000"/>
                <a:gd name="connsiteY4" fmla="*/ 901051 h 7235371"/>
                <a:gd name="connsiteX5" fmla="*/ 11278217 w 12192000"/>
                <a:gd name="connsiteY5" fmla="*/ 1395336 h 7235371"/>
                <a:gd name="connsiteX6" fmla="*/ 12162051 w 12192000"/>
                <a:gd name="connsiteY6" fmla="*/ 1609557 h 7235371"/>
                <a:gd name="connsiteX7" fmla="*/ 12192000 w 12192000"/>
                <a:gd name="connsiteY7" fmla="*/ 1675670 h 7235371"/>
                <a:gd name="connsiteX8" fmla="*/ 12192000 w 12192000"/>
                <a:gd name="connsiteY8" fmla="*/ 7235371 h 7235371"/>
                <a:gd name="connsiteX9" fmla="*/ 0 w 12192000"/>
                <a:gd name="connsiteY9" fmla="*/ 7235371 h 7235371"/>
                <a:gd name="connsiteX10" fmla="*/ 0 w 12192000"/>
                <a:gd name="connsiteY10" fmla="*/ 377371 h 7235371"/>
                <a:gd name="connsiteX0" fmla="*/ 0 w 12192000"/>
                <a:gd name="connsiteY0" fmla="*/ 377371 h 7235371"/>
                <a:gd name="connsiteX1" fmla="*/ 7624475 w 12192000"/>
                <a:gd name="connsiteY1" fmla="*/ 0 h 7235371"/>
                <a:gd name="connsiteX2" fmla="*/ 7931763 w 12192000"/>
                <a:gd name="connsiteY2" fmla="*/ 107580 h 7235371"/>
                <a:gd name="connsiteX3" fmla="*/ 8303714 w 12192000"/>
                <a:gd name="connsiteY3" fmla="*/ 661694 h 7235371"/>
                <a:gd name="connsiteX4" fmla="*/ 10736028 w 12192000"/>
                <a:gd name="connsiteY4" fmla="*/ 901051 h 7235371"/>
                <a:gd name="connsiteX5" fmla="*/ 11278217 w 12192000"/>
                <a:gd name="connsiteY5" fmla="*/ 1395336 h 7235371"/>
                <a:gd name="connsiteX6" fmla="*/ 12162051 w 12192000"/>
                <a:gd name="connsiteY6" fmla="*/ 1609557 h 7235371"/>
                <a:gd name="connsiteX7" fmla="*/ 12192000 w 12192000"/>
                <a:gd name="connsiteY7" fmla="*/ 1675670 h 7235371"/>
                <a:gd name="connsiteX8" fmla="*/ 12192000 w 12192000"/>
                <a:gd name="connsiteY8" fmla="*/ 7235371 h 7235371"/>
                <a:gd name="connsiteX9" fmla="*/ 0 w 12192000"/>
                <a:gd name="connsiteY9" fmla="*/ 7235371 h 7235371"/>
                <a:gd name="connsiteX10" fmla="*/ 0 w 12192000"/>
                <a:gd name="connsiteY10" fmla="*/ 377371 h 7235371"/>
                <a:gd name="connsiteX0" fmla="*/ 0 w 12192000"/>
                <a:gd name="connsiteY0" fmla="*/ 377371 h 7235371"/>
                <a:gd name="connsiteX1" fmla="*/ 7624475 w 12192000"/>
                <a:gd name="connsiteY1" fmla="*/ 0 h 7235371"/>
                <a:gd name="connsiteX2" fmla="*/ 7931763 w 12192000"/>
                <a:gd name="connsiteY2" fmla="*/ 107580 h 7235371"/>
                <a:gd name="connsiteX3" fmla="*/ 8724629 w 12192000"/>
                <a:gd name="connsiteY3" fmla="*/ 618151 h 7235371"/>
                <a:gd name="connsiteX4" fmla="*/ 10736028 w 12192000"/>
                <a:gd name="connsiteY4" fmla="*/ 901051 h 7235371"/>
                <a:gd name="connsiteX5" fmla="*/ 11278217 w 12192000"/>
                <a:gd name="connsiteY5" fmla="*/ 1395336 h 7235371"/>
                <a:gd name="connsiteX6" fmla="*/ 12162051 w 12192000"/>
                <a:gd name="connsiteY6" fmla="*/ 1609557 h 7235371"/>
                <a:gd name="connsiteX7" fmla="*/ 12192000 w 12192000"/>
                <a:gd name="connsiteY7" fmla="*/ 1675670 h 7235371"/>
                <a:gd name="connsiteX8" fmla="*/ 12192000 w 12192000"/>
                <a:gd name="connsiteY8" fmla="*/ 7235371 h 7235371"/>
                <a:gd name="connsiteX9" fmla="*/ 0 w 12192000"/>
                <a:gd name="connsiteY9" fmla="*/ 7235371 h 7235371"/>
                <a:gd name="connsiteX10" fmla="*/ 0 w 12192000"/>
                <a:gd name="connsiteY10" fmla="*/ 377371 h 7235371"/>
                <a:gd name="connsiteX0" fmla="*/ 0 w 12192000"/>
                <a:gd name="connsiteY0" fmla="*/ 377371 h 7235371"/>
                <a:gd name="connsiteX1" fmla="*/ 7624475 w 12192000"/>
                <a:gd name="connsiteY1" fmla="*/ 0 h 7235371"/>
                <a:gd name="connsiteX2" fmla="*/ 7931763 w 12192000"/>
                <a:gd name="connsiteY2" fmla="*/ 107580 h 7235371"/>
                <a:gd name="connsiteX3" fmla="*/ 8724629 w 12192000"/>
                <a:gd name="connsiteY3" fmla="*/ 618151 h 7235371"/>
                <a:gd name="connsiteX4" fmla="*/ 10736028 w 12192000"/>
                <a:gd name="connsiteY4" fmla="*/ 901051 h 7235371"/>
                <a:gd name="connsiteX5" fmla="*/ 11278217 w 12192000"/>
                <a:gd name="connsiteY5" fmla="*/ 1395336 h 7235371"/>
                <a:gd name="connsiteX6" fmla="*/ 12162051 w 12192000"/>
                <a:gd name="connsiteY6" fmla="*/ 1609557 h 7235371"/>
                <a:gd name="connsiteX7" fmla="*/ 12192000 w 12192000"/>
                <a:gd name="connsiteY7" fmla="*/ 1675670 h 7235371"/>
                <a:gd name="connsiteX8" fmla="*/ 12192000 w 12192000"/>
                <a:gd name="connsiteY8" fmla="*/ 7235371 h 7235371"/>
                <a:gd name="connsiteX9" fmla="*/ 0 w 12192000"/>
                <a:gd name="connsiteY9" fmla="*/ 7235371 h 7235371"/>
                <a:gd name="connsiteX10" fmla="*/ 0 w 12192000"/>
                <a:gd name="connsiteY10" fmla="*/ 377371 h 7235371"/>
                <a:gd name="connsiteX0" fmla="*/ 0 w 12192000"/>
                <a:gd name="connsiteY0" fmla="*/ 377371 h 7235371"/>
                <a:gd name="connsiteX1" fmla="*/ 7624475 w 12192000"/>
                <a:gd name="connsiteY1" fmla="*/ 0 h 7235371"/>
                <a:gd name="connsiteX2" fmla="*/ 7931763 w 12192000"/>
                <a:gd name="connsiteY2" fmla="*/ 107580 h 7235371"/>
                <a:gd name="connsiteX3" fmla="*/ 8724629 w 12192000"/>
                <a:gd name="connsiteY3" fmla="*/ 618151 h 7235371"/>
                <a:gd name="connsiteX4" fmla="*/ 10939228 w 12192000"/>
                <a:gd name="connsiteY4" fmla="*/ 901051 h 7235371"/>
                <a:gd name="connsiteX5" fmla="*/ 11278217 w 12192000"/>
                <a:gd name="connsiteY5" fmla="*/ 1395336 h 7235371"/>
                <a:gd name="connsiteX6" fmla="*/ 12162051 w 12192000"/>
                <a:gd name="connsiteY6" fmla="*/ 1609557 h 7235371"/>
                <a:gd name="connsiteX7" fmla="*/ 12192000 w 12192000"/>
                <a:gd name="connsiteY7" fmla="*/ 1675670 h 7235371"/>
                <a:gd name="connsiteX8" fmla="*/ 12192000 w 12192000"/>
                <a:gd name="connsiteY8" fmla="*/ 7235371 h 7235371"/>
                <a:gd name="connsiteX9" fmla="*/ 0 w 12192000"/>
                <a:gd name="connsiteY9" fmla="*/ 7235371 h 7235371"/>
                <a:gd name="connsiteX10" fmla="*/ 0 w 12192000"/>
                <a:gd name="connsiteY10" fmla="*/ 377371 h 7235371"/>
                <a:gd name="connsiteX0" fmla="*/ 0 w 12394280"/>
                <a:gd name="connsiteY0" fmla="*/ 377371 h 7235371"/>
                <a:gd name="connsiteX1" fmla="*/ 7624475 w 12394280"/>
                <a:gd name="connsiteY1" fmla="*/ 0 h 7235371"/>
                <a:gd name="connsiteX2" fmla="*/ 7931763 w 12394280"/>
                <a:gd name="connsiteY2" fmla="*/ 107580 h 7235371"/>
                <a:gd name="connsiteX3" fmla="*/ 8724629 w 12394280"/>
                <a:gd name="connsiteY3" fmla="*/ 618151 h 7235371"/>
                <a:gd name="connsiteX4" fmla="*/ 10939228 w 12394280"/>
                <a:gd name="connsiteY4" fmla="*/ 901051 h 7235371"/>
                <a:gd name="connsiteX5" fmla="*/ 11278217 w 12394280"/>
                <a:gd name="connsiteY5" fmla="*/ 1395336 h 7235371"/>
                <a:gd name="connsiteX6" fmla="*/ 12394280 w 12394280"/>
                <a:gd name="connsiteY6" fmla="*/ 1377329 h 7235371"/>
                <a:gd name="connsiteX7" fmla="*/ 12192000 w 12394280"/>
                <a:gd name="connsiteY7" fmla="*/ 1675670 h 7235371"/>
                <a:gd name="connsiteX8" fmla="*/ 12192000 w 12394280"/>
                <a:gd name="connsiteY8" fmla="*/ 7235371 h 7235371"/>
                <a:gd name="connsiteX9" fmla="*/ 0 w 12394280"/>
                <a:gd name="connsiteY9" fmla="*/ 7235371 h 7235371"/>
                <a:gd name="connsiteX10" fmla="*/ 0 w 12394280"/>
                <a:gd name="connsiteY10" fmla="*/ 377371 h 7235371"/>
                <a:gd name="connsiteX0" fmla="*/ 0 w 12394280"/>
                <a:gd name="connsiteY0" fmla="*/ 377371 h 7235371"/>
                <a:gd name="connsiteX1" fmla="*/ 7624475 w 12394280"/>
                <a:gd name="connsiteY1" fmla="*/ 0 h 7235371"/>
                <a:gd name="connsiteX2" fmla="*/ 7931763 w 12394280"/>
                <a:gd name="connsiteY2" fmla="*/ 107580 h 7235371"/>
                <a:gd name="connsiteX3" fmla="*/ 8724629 w 12394280"/>
                <a:gd name="connsiteY3" fmla="*/ 618151 h 7235371"/>
                <a:gd name="connsiteX4" fmla="*/ 10939228 w 12394280"/>
                <a:gd name="connsiteY4" fmla="*/ 901051 h 7235371"/>
                <a:gd name="connsiteX5" fmla="*/ 11278217 w 12394280"/>
                <a:gd name="connsiteY5" fmla="*/ 1395336 h 7235371"/>
                <a:gd name="connsiteX6" fmla="*/ 12394280 w 12394280"/>
                <a:gd name="connsiteY6" fmla="*/ 1377329 h 7235371"/>
                <a:gd name="connsiteX7" fmla="*/ 12192000 w 12394280"/>
                <a:gd name="connsiteY7" fmla="*/ 7235371 h 7235371"/>
                <a:gd name="connsiteX8" fmla="*/ 0 w 12394280"/>
                <a:gd name="connsiteY8" fmla="*/ 7235371 h 7235371"/>
                <a:gd name="connsiteX9" fmla="*/ 0 w 12394280"/>
                <a:gd name="connsiteY9" fmla="*/ 377371 h 7235371"/>
                <a:gd name="connsiteX0" fmla="*/ 0 w 12394280"/>
                <a:gd name="connsiteY0" fmla="*/ 377371 h 7235371"/>
                <a:gd name="connsiteX1" fmla="*/ 7624475 w 12394280"/>
                <a:gd name="connsiteY1" fmla="*/ 0 h 7235371"/>
                <a:gd name="connsiteX2" fmla="*/ 7931763 w 12394280"/>
                <a:gd name="connsiteY2" fmla="*/ 107580 h 7235371"/>
                <a:gd name="connsiteX3" fmla="*/ 8724629 w 12394280"/>
                <a:gd name="connsiteY3" fmla="*/ 618151 h 7235371"/>
                <a:gd name="connsiteX4" fmla="*/ 10939228 w 12394280"/>
                <a:gd name="connsiteY4" fmla="*/ 901051 h 7235371"/>
                <a:gd name="connsiteX5" fmla="*/ 11408846 w 12394280"/>
                <a:gd name="connsiteY5" fmla="*/ 1308250 h 7235371"/>
                <a:gd name="connsiteX6" fmla="*/ 12394280 w 12394280"/>
                <a:gd name="connsiteY6" fmla="*/ 1377329 h 7235371"/>
                <a:gd name="connsiteX7" fmla="*/ 12192000 w 12394280"/>
                <a:gd name="connsiteY7" fmla="*/ 7235371 h 7235371"/>
                <a:gd name="connsiteX8" fmla="*/ 0 w 12394280"/>
                <a:gd name="connsiteY8" fmla="*/ 7235371 h 7235371"/>
                <a:gd name="connsiteX9" fmla="*/ 0 w 12394280"/>
                <a:gd name="connsiteY9" fmla="*/ 377371 h 7235371"/>
                <a:gd name="connsiteX0" fmla="*/ 0 w 12394280"/>
                <a:gd name="connsiteY0" fmla="*/ 546525 h 7404525"/>
                <a:gd name="connsiteX1" fmla="*/ 7624475 w 12394280"/>
                <a:gd name="connsiteY1" fmla="*/ 169154 h 7404525"/>
                <a:gd name="connsiteX2" fmla="*/ 8439763 w 12394280"/>
                <a:gd name="connsiteY2" fmla="*/ 963 h 7404525"/>
                <a:gd name="connsiteX3" fmla="*/ 8724629 w 12394280"/>
                <a:gd name="connsiteY3" fmla="*/ 787305 h 7404525"/>
                <a:gd name="connsiteX4" fmla="*/ 10939228 w 12394280"/>
                <a:gd name="connsiteY4" fmla="*/ 1070205 h 7404525"/>
                <a:gd name="connsiteX5" fmla="*/ 11408846 w 12394280"/>
                <a:gd name="connsiteY5" fmla="*/ 1477404 h 7404525"/>
                <a:gd name="connsiteX6" fmla="*/ 12394280 w 12394280"/>
                <a:gd name="connsiteY6" fmla="*/ 1546483 h 7404525"/>
                <a:gd name="connsiteX7" fmla="*/ 12192000 w 12394280"/>
                <a:gd name="connsiteY7" fmla="*/ 7404525 h 7404525"/>
                <a:gd name="connsiteX8" fmla="*/ 0 w 12394280"/>
                <a:gd name="connsiteY8" fmla="*/ 7404525 h 7404525"/>
                <a:gd name="connsiteX9" fmla="*/ 0 w 12394280"/>
                <a:gd name="connsiteY9" fmla="*/ 546525 h 740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394280" h="7404525">
                  <a:moveTo>
                    <a:pt x="0" y="546525"/>
                  </a:moveTo>
                  <a:lnTo>
                    <a:pt x="7624475" y="169154"/>
                  </a:lnTo>
                  <a:cubicBezTo>
                    <a:pt x="7644657" y="185662"/>
                    <a:pt x="8419581" y="-15545"/>
                    <a:pt x="8439763" y="963"/>
                  </a:cubicBezTo>
                  <a:cubicBezTo>
                    <a:pt x="8567416" y="94362"/>
                    <a:pt x="8308052" y="609098"/>
                    <a:pt x="8724629" y="787305"/>
                  </a:cubicBezTo>
                  <a:cubicBezTo>
                    <a:pt x="9141207" y="965512"/>
                    <a:pt x="10491859" y="955189"/>
                    <a:pt x="10939228" y="1070205"/>
                  </a:cubicBezTo>
                  <a:cubicBezTo>
                    <a:pt x="11386598" y="1185222"/>
                    <a:pt x="11166337" y="1398024"/>
                    <a:pt x="11408846" y="1477404"/>
                  </a:cubicBezTo>
                  <a:cubicBezTo>
                    <a:pt x="11651355" y="1556784"/>
                    <a:pt x="12189185" y="1180435"/>
                    <a:pt x="12394280" y="1546483"/>
                  </a:cubicBezTo>
                  <a:lnTo>
                    <a:pt x="12192000" y="7404525"/>
                  </a:lnTo>
                  <a:lnTo>
                    <a:pt x="0" y="7404525"/>
                  </a:lnTo>
                  <a:lnTo>
                    <a:pt x="0" y="546525"/>
                  </a:lnTo>
                  <a:close/>
                </a:path>
              </a:pathLst>
            </a:custGeom>
            <a:solidFill>
              <a:schemeClr val="tx1">
                <a:alpha val="24000"/>
              </a:schemeClr>
            </a:solidFill>
            <a:ln>
              <a:noFill/>
            </a:ln>
            <a:effectLst>
              <a:softEdge rad="1524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D"/>
            </a:p>
          </p:txBody>
        </p:sp>
        <p:sp>
          <p:nvSpPr>
            <p:cNvPr id="218" name="Freeform: Shape 217">
              <a:extLst>
                <a:ext uri="{FF2B5EF4-FFF2-40B4-BE49-F238E27FC236}">
                  <a16:creationId xmlns:a16="http://schemas.microsoft.com/office/drawing/2014/main" xmlns="" id="{2B4EDE32-98B1-45FF-8477-7FA47320911C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>
                <a:gd name="connsiteX0" fmla="*/ 0 w 12192000"/>
                <a:gd name="connsiteY0" fmla="*/ 0 h 6858000"/>
                <a:gd name="connsiteX1" fmla="*/ 7827675 w 12192000"/>
                <a:gd name="connsiteY1" fmla="*/ 0 h 6858000"/>
                <a:gd name="connsiteX2" fmla="*/ 7888220 w 12192000"/>
                <a:gd name="connsiteY2" fmla="*/ 49523 h 6858000"/>
                <a:gd name="connsiteX3" fmla="*/ 8303714 w 12192000"/>
                <a:gd name="connsiteY3" fmla="*/ 284323 h 6858000"/>
                <a:gd name="connsiteX4" fmla="*/ 10736028 w 12192000"/>
                <a:gd name="connsiteY4" fmla="*/ 523680 h 6858000"/>
                <a:gd name="connsiteX5" fmla="*/ 11278217 w 12192000"/>
                <a:gd name="connsiteY5" fmla="*/ 1017965 h 6858000"/>
                <a:gd name="connsiteX6" fmla="*/ 12162051 w 12192000"/>
                <a:gd name="connsiteY6" fmla="*/ 1232186 h 6858000"/>
                <a:gd name="connsiteX7" fmla="*/ 12192000 w 12192000"/>
                <a:gd name="connsiteY7" fmla="*/ 1298299 h 6858000"/>
                <a:gd name="connsiteX8" fmla="*/ 12192000 w 12192000"/>
                <a:gd name="connsiteY8" fmla="*/ 6858000 h 6858000"/>
                <a:gd name="connsiteX9" fmla="*/ 0 w 12192000"/>
                <a:gd name="connsiteY9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192000" h="6858000">
                  <a:moveTo>
                    <a:pt x="0" y="0"/>
                  </a:moveTo>
                  <a:lnTo>
                    <a:pt x="7827675" y="0"/>
                  </a:lnTo>
                  <a:lnTo>
                    <a:pt x="7888220" y="49523"/>
                  </a:lnTo>
                  <a:cubicBezTo>
                    <a:pt x="8015873" y="142922"/>
                    <a:pt x="8155794" y="223665"/>
                    <a:pt x="8303714" y="284323"/>
                  </a:cubicBezTo>
                  <a:cubicBezTo>
                    <a:pt x="8895391" y="526955"/>
                    <a:pt x="10223549" y="588660"/>
                    <a:pt x="10736028" y="523680"/>
                  </a:cubicBezTo>
                  <a:cubicBezTo>
                    <a:pt x="11248508" y="458700"/>
                    <a:pt x="11025400" y="841971"/>
                    <a:pt x="11278217" y="1017965"/>
                  </a:cubicBezTo>
                  <a:cubicBezTo>
                    <a:pt x="11485605" y="1162337"/>
                    <a:pt x="11956956" y="866138"/>
                    <a:pt x="12162051" y="1232186"/>
                  </a:cubicBezTo>
                  <a:lnTo>
                    <a:pt x="12192000" y="1298299"/>
                  </a:lnTo>
                  <a:lnTo>
                    <a:pt x="12192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xmlns="" id="{C4BE3233-9A18-4B1F-BEA9-0D7F6C057184}"/>
              </a:ext>
            </a:extLst>
          </p:cNvPr>
          <p:cNvGrpSpPr/>
          <p:nvPr/>
        </p:nvGrpSpPr>
        <p:grpSpPr>
          <a:xfrm>
            <a:off x="-1169794" y="1765123"/>
            <a:ext cx="5668156" cy="6664030"/>
            <a:chOff x="-438116" y="2844640"/>
            <a:chExt cx="4124316" cy="4848943"/>
          </a:xfrm>
        </p:grpSpPr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xmlns="" id="{86B37016-68D5-4BC0-9243-68D1F54B7B2A}"/>
                </a:ext>
              </a:extLst>
            </p:cNvPr>
            <p:cNvSpPr/>
            <p:nvPr/>
          </p:nvSpPr>
          <p:spPr>
            <a:xfrm rot="20907912" flipH="1">
              <a:off x="-365015" y="2844640"/>
              <a:ext cx="1956943" cy="4251956"/>
            </a:xfrm>
            <a:custGeom>
              <a:avLst/>
              <a:gdLst>
                <a:gd name="connsiteX0" fmla="*/ 1170692 w 1956943"/>
                <a:gd name="connsiteY0" fmla="*/ 0 h 4251956"/>
                <a:gd name="connsiteX1" fmla="*/ 1102818 w 1956943"/>
                <a:gd name="connsiteY1" fmla="*/ 89578 h 4251956"/>
                <a:gd name="connsiteX2" fmla="*/ 875763 w 1956943"/>
                <a:gd name="connsiteY2" fmla="*/ 386426 h 4251956"/>
                <a:gd name="connsiteX3" fmla="*/ 980108 w 1956943"/>
                <a:gd name="connsiteY3" fmla="*/ 2626026 h 4251956"/>
                <a:gd name="connsiteX4" fmla="*/ 19101 w 1956943"/>
                <a:gd name="connsiteY4" fmla="*/ 4164234 h 4251956"/>
                <a:gd name="connsiteX5" fmla="*/ 0 w 1956943"/>
                <a:gd name="connsiteY5" fmla="*/ 4251956 h 4251956"/>
                <a:gd name="connsiteX6" fmla="*/ 1956943 w 1956943"/>
                <a:gd name="connsiteY6" fmla="*/ 3852573 h 4251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56943" h="4251956">
                  <a:moveTo>
                    <a:pt x="1170692" y="0"/>
                  </a:moveTo>
                  <a:lnTo>
                    <a:pt x="1102818" y="89578"/>
                  </a:lnTo>
                  <a:cubicBezTo>
                    <a:pt x="1012165" y="210152"/>
                    <a:pt x="935316" y="313122"/>
                    <a:pt x="875763" y="386426"/>
                  </a:cubicBezTo>
                  <a:cubicBezTo>
                    <a:pt x="399339" y="972857"/>
                    <a:pt x="1105009" y="1783061"/>
                    <a:pt x="980108" y="2626026"/>
                  </a:cubicBezTo>
                  <a:cubicBezTo>
                    <a:pt x="894238" y="3205565"/>
                    <a:pt x="224122" y="3471062"/>
                    <a:pt x="19101" y="4164234"/>
                  </a:cubicBezTo>
                  <a:lnTo>
                    <a:pt x="0" y="4251956"/>
                  </a:lnTo>
                  <a:lnTo>
                    <a:pt x="1956943" y="3852573"/>
                  </a:lnTo>
                  <a:close/>
                </a:path>
              </a:pathLst>
            </a:custGeom>
            <a:gradFill>
              <a:gsLst>
                <a:gs pos="0">
                  <a:srgbClr val="A3D5FF"/>
                </a:gs>
                <a:gs pos="86000">
                  <a:srgbClr val="68B4F2">
                    <a:alpha val="27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xmlns="" id="{1FBA745E-E88A-49E5-B903-23B43D276535}"/>
                </a:ext>
              </a:extLst>
            </p:cNvPr>
            <p:cNvSpPr/>
            <p:nvPr/>
          </p:nvSpPr>
          <p:spPr>
            <a:xfrm rot="18154550" flipH="1">
              <a:off x="541661" y="4549045"/>
              <a:ext cx="2164761" cy="4124316"/>
            </a:xfrm>
            <a:custGeom>
              <a:avLst/>
              <a:gdLst>
                <a:gd name="connsiteX0" fmla="*/ 871211 w 2164761"/>
                <a:gd name="connsiteY0" fmla="*/ 0 h 4124316"/>
                <a:gd name="connsiteX1" fmla="*/ 886175 w 2164761"/>
                <a:gd name="connsiteY1" fmla="*/ 62895 h 4124316"/>
                <a:gd name="connsiteX2" fmla="*/ 1081116 w 2164761"/>
                <a:gd name="connsiteY2" fmla="*/ 1419176 h 4124316"/>
                <a:gd name="connsiteX3" fmla="*/ 41063 w 2164761"/>
                <a:gd name="connsiteY3" fmla="*/ 4044355 h 4124316"/>
                <a:gd name="connsiteX4" fmla="*/ 57673 w 2164761"/>
                <a:gd name="connsiteY4" fmla="*/ 4124316 h 4124316"/>
                <a:gd name="connsiteX5" fmla="*/ 2164761 w 2164761"/>
                <a:gd name="connsiteY5" fmla="*/ 826491 h 41243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164761" h="4124316">
                  <a:moveTo>
                    <a:pt x="871211" y="0"/>
                  </a:moveTo>
                  <a:lnTo>
                    <a:pt x="886175" y="62895"/>
                  </a:lnTo>
                  <a:cubicBezTo>
                    <a:pt x="993451" y="488100"/>
                    <a:pt x="1147282" y="949070"/>
                    <a:pt x="1081116" y="1419176"/>
                  </a:cubicBezTo>
                  <a:cubicBezTo>
                    <a:pt x="961189" y="2271242"/>
                    <a:pt x="-234324" y="2514678"/>
                    <a:pt x="41063" y="4044355"/>
                  </a:cubicBezTo>
                  <a:lnTo>
                    <a:pt x="57673" y="4124316"/>
                  </a:lnTo>
                  <a:lnTo>
                    <a:pt x="2164761" y="826491"/>
                  </a:lnTo>
                  <a:close/>
                </a:path>
              </a:pathLst>
            </a:custGeom>
            <a:gradFill>
              <a:gsLst>
                <a:gs pos="0">
                  <a:srgbClr val="A3D5FF">
                    <a:alpha val="14000"/>
                  </a:srgbClr>
                </a:gs>
                <a:gs pos="99000">
                  <a:srgbClr val="68B4F2">
                    <a:alpha val="37000"/>
                  </a:srgb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ID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31A5AA3-7353-4B64-8C34-1E652562A08B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386637" y="6113658"/>
            <a:ext cx="184666" cy="184666"/>
          </a:xfrm>
          <a:prstGeom prst="rect">
            <a:avLst/>
          </a:prstGeom>
        </p:spPr>
        <p:txBody>
          <a:bodyPr/>
          <a:lstStyle/>
          <a:p>
            <a:fld id="{11F5C09C-E732-4C10-8315-5D339FEEE77B}" type="slidenum">
              <a:rPr lang="en-ID" smtClean="0"/>
              <a:pPr/>
              <a:t>38</a:t>
            </a:fld>
            <a:endParaRPr lang="en-ID" dirty="0"/>
          </a:p>
        </p:txBody>
      </p: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xmlns="" id="{D6A1B457-42BF-4719-A576-BC85DF617FE7}"/>
              </a:ext>
            </a:extLst>
          </p:cNvPr>
          <p:cNvCxnSpPr>
            <a:cxnSpLocks/>
          </p:cNvCxnSpPr>
          <p:nvPr/>
        </p:nvCxnSpPr>
        <p:spPr>
          <a:xfrm>
            <a:off x="-92162" y="3047349"/>
            <a:ext cx="0" cy="320421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8" name="Picture 4" descr="Stairs Steps Stock Vector Illustration and Royalty Free Stairs Steps Clipart">
            <a:extLst>
              <a:ext uri="{FF2B5EF4-FFF2-40B4-BE49-F238E27FC236}">
                <a16:creationId xmlns:a16="http://schemas.microsoft.com/office/drawing/2014/main" xmlns="" id="{E050896C-FAAB-E823-0373-05BAF78A40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64" y="1305176"/>
            <a:ext cx="10123087" cy="6186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B41FA9B-590D-E642-BEB0-B7681FB8C5DE}"/>
              </a:ext>
            </a:extLst>
          </p:cNvPr>
          <p:cNvSpPr txBox="1"/>
          <p:nvPr/>
        </p:nvSpPr>
        <p:spPr>
          <a:xfrm>
            <a:off x="6805547" y="4029281"/>
            <a:ext cx="2573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Mengembangkan</a:t>
            </a:r>
            <a:r>
              <a:rPr lang="en-US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endParaRPr lang="en-ID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D2C1639A-F6AB-EC9E-1369-1D31032E1113}"/>
              </a:ext>
            </a:extLst>
          </p:cNvPr>
          <p:cNvGrpSpPr/>
          <p:nvPr/>
        </p:nvGrpSpPr>
        <p:grpSpPr>
          <a:xfrm>
            <a:off x="1008633" y="2319519"/>
            <a:ext cx="2404901" cy="3597215"/>
            <a:chOff x="1086084" y="2116388"/>
            <a:chExt cx="2404901" cy="3597215"/>
          </a:xfrm>
        </p:grpSpPr>
        <p:pic>
          <p:nvPicPr>
            <p:cNvPr id="1026" name="Picture 2" descr="Occupation Cartoon Images - Free Download on Freepik">
              <a:extLst>
                <a:ext uri="{FF2B5EF4-FFF2-40B4-BE49-F238E27FC236}">
                  <a16:creationId xmlns:a16="http://schemas.microsoft.com/office/drawing/2014/main" xmlns="" id="{5084BA81-CFBE-20AF-A972-C928612BE4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152" t="51653" r="60907"/>
            <a:stretch/>
          </p:blipFill>
          <p:spPr bwMode="auto">
            <a:xfrm>
              <a:off x="1895576" y="2116388"/>
              <a:ext cx="831273" cy="19202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2" descr="Occupation Cartoon Images - Free Download on Freepik">
              <a:extLst>
                <a:ext uri="{FF2B5EF4-FFF2-40B4-BE49-F238E27FC236}">
                  <a16:creationId xmlns:a16="http://schemas.microsoft.com/office/drawing/2014/main" xmlns="" id="{74FB2CDF-2A3E-E3D7-2F93-8EFB38D684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743" t="5563" r="84744" b="53097"/>
            <a:stretch/>
          </p:blipFill>
          <p:spPr bwMode="auto">
            <a:xfrm>
              <a:off x="2744842" y="3429000"/>
              <a:ext cx="746143" cy="1641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Occupation Cartoon Images - Free Download on Freepik">
              <a:extLst>
                <a:ext uri="{FF2B5EF4-FFF2-40B4-BE49-F238E27FC236}">
                  <a16:creationId xmlns:a16="http://schemas.microsoft.com/office/drawing/2014/main" xmlns="" id="{1C02FA56-0ED9-8E00-FC03-083C279BDDA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3559" t="5883" r="40236" b="52776"/>
            <a:stretch/>
          </p:blipFill>
          <p:spPr bwMode="auto">
            <a:xfrm>
              <a:off x="1086084" y="3073263"/>
              <a:ext cx="966226" cy="16419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Occupation Cartoon Images - Free Download on Freepik">
              <a:extLst>
                <a:ext uri="{FF2B5EF4-FFF2-40B4-BE49-F238E27FC236}">
                  <a16:creationId xmlns:a16="http://schemas.microsoft.com/office/drawing/2014/main" xmlns="" id="{EC417958-3C48-9E4E-1F6D-8B4BA3D1684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4632" t="5883" r="22604" b="51653"/>
            <a:stretch/>
          </p:blipFill>
          <p:spPr bwMode="auto">
            <a:xfrm>
              <a:off x="1878520" y="4026985"/>
              <a:ext cx="761109" cy="1686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E85B49AB-7BAF-D20B-E715-B96877CA8C27}"/>
              </a:ext>
            </a:extLst>
          </p:cNvPr>
          <p:cNvSpPr txBox="1"/>
          <p:nvPr/>
        </p:nvSpPr>
        <p:spPr>
          <a:xfrm>
            <a:off x="897740" y="5747458"/>
            <a:ext cx="257356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dirty="0" err="1">
                <a:latin typeface="Century Gothic" panose="020B0502020202020204" pitchFamily="34" charset="0"/>
              </a:rPr>
              <a:t>Seorang</a:t>
            </a:r>
            <a:r>
              <a:rPr lang="en-US" sz="1600" b="1" dirty="0"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latin typeface="Century Gothic" panose="020B0502020202020204" pitchFamily="34" charset="0"/>
              </a:rPr>
              <a:t>Profesional</a:t>
            </a:r>
            <a:endParaRPr lang="en-ID" sz="1600" b="1" dirty="0"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C44C721A-A4F1-FA7C-6F18-39943089ADD1}"/>
              </a:ext>
            </a:extLst>
          </p:cNvPr>
          <p:cNvSpPr txBox="1"/>
          <p:nvPr/>
        </p:nvSpPr>
        <p:spPr>
          <a:xfrm>
            <a:off x="4610812" y="5755403"/>
            <a:ext cx="2573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Mempertahankan</a:t>
            </a:r>
            <a:r>
              <a:rPr lang="en-US" b="1" dirty="0">
                <a:solidFill>
                  <a:srgbClr val="00B050"/>
                </a:solidFill>
                <a:latin typeface="Century Gothic" panose="020B0502020202020204" pitchFamily="34" charset="0"/>
              </a:rPr>
              <a:t>/ </a:t>
            </a:r>
            <a:r>
              <a:rPr lang="en-US" b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Memelihara</a:t>
            </a:r>
            <a:endParaRPr lang="en-US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86CA86F-9523-EE05-BF95-613A0A680A95}"/>
              </a:ext>
            </a:extLst>
          </p:cNvPr>
          <p:cNvSpPr txBox="1"/>
          <p:nvPr/>
        </p:nvSpPr>
        <p:spPr>
          <a:xfrm>
            <a:off x="5659575" y="4937841"/>
            <a:ext cx="25735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 err="1">
                <a:solidFill>
                  <a:srgbClr val="C00000"/>
                </a:solidFill>
                <a:latin typeface="Century Gothic" panose="020B0502020202020204" pitchFamily="34" charset="0"/>
              </a:rPr>
              <a:t>Meningkatkan</a:t>
            </a:r>
            <a:endParaRPr lang="en-US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1E0A6424-EB4B-D474-F459-ACFD392AE90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6778" y="715475"/>
            <a:ext cx="1678063" cy="1678063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E4FFC853-41A2-EFF3-3E3E-5A4FE0B9ED34}"/>
              </a:ext>
            </a:extLst>
          </p:cNvPr>
          <p:cNvGrpSpPr/>
          <p:nvPr/>
        </p:nvGrpSpPr>
        <p:grpSpPr>
          <a:xfrm>
            <a:off x="4076998" y="3007851"/>
            <a:ext cx="3552576" cy="665349"/>
            <a:chOff x="4594340" y="2588330"/>
            <a:chExt cx="3552576" cy="665349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xmlns="" id="{0E0A4E7A-6878-91F4-7FC3-15718961854B}"/>
                </a:ext>
              </a:extLst>
            </p:cNvPr>
            <p:cNvSpPr/>
            <p:nvPr/>
          </p:nvSpPr>
          <p:spPr>
            <a:xfrm rot="19331599">
              <a:off x="4594340" y="2588330"/>
              <a:ext cx="3552576" cy="665349"/>
            </a:xfrm>
            <a:prstGeom prst="round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xmlns="" id="{A5187F9C-27D9-353F-F2AD-E5023D19D8F5}"/>
                </a:ext>
              </a:extLst>
            </p:cNvPr>
            <p:cNvSpPr txBox="1"/>
            <p:nvPr/>
          </p:nvSpPr>
          <p:spPr>
            <a:xfrm rot="19345236">
              <a:off x="4646347" y="2601777"/>
              <a:ext cx="343674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latin typeface="Century Gothic" panose="020B0502020202020204" pitchFamily="34" charset="0"/>
                </a:rPr>
                <a:t>Continuous Professional </a:t>
              </a:r>
            </a:p>
            <a:p>
              <a:pPr algn="ctr"/>
              <a:r>
                <a:rPr lang="en-US" b="1" dirty="0">
                  <a:latin typeface="Century Gothic" panose="020B0502020202020204" pitchFamily="34" charset="0"/>
                </a:rPr>
                <a:t>Development (CPD)</a:t>
              </a:r>
            </a:p>
          </p:txBody>
        </p:sp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ACEA7323-B708-1289-14A4-0AD249A2894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11021">
            <a:off x="3730282" y="4288469"/>
            <a:ext cx="806390" cy="80639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DE3F4D70-1559-BB7C-E6A6-AE69BF0066E4}"/>
              </a:ext>
            </a:extLst>
          </p:cNvPr>
          <p:cNvGrpSpPr/>
          <p:nvPr/>
        </p:nvGrpSpPr>
        <p:grpSpPr>
          <a:xfrm>
            <a:off x="7576832" y="4786678"/>
            <a:ext cx="2313965" cy="1456596"/>
            <a:chOff x="6528130" y="4303037"/>
            <a:chExt cx="2313965" cy="1456596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xmlns="" id="{0502A6D7-A88C-D45F-58EA-1A9212F6594D}"/>
                </a:ext>
              </a:extLst>
            </p:cNvPr>
            <p:cNvSpPr/>
            <p:nvPr/>
          </p:nvSpPr>
          <p:spPr>
            <a:xfrm>
              <a:off x="6528130" y="4303037"/>
              <a:ext cx="2313965" cy="1456596"/>
            </a:xfrm>
            <a:prstGeom prst="ellipse">
              <a:avLst/>
            </a:prstGeom>
            <a:solidFill>
              <a:srgbClr val="A3D5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039C8001-83FE-F13F-9260-6E7E37972E68}"/>
                </a:ext>
              </a:extLst>
            </p:cNvPr>
            <p:cNvSpPr txBox="1"/>
            <p:nvPr/>
          </p:nvSpPr>
          <p:spPr>
            <a:xfrm>
              <a:off x="6749145" y="4570204"/>
              <a:ext cx="206786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dirty="0" err="1">
                  <a:latin typeface="Century Gothic" panose="020B0502020202020204" pitchFamily="34" charset="0"/>
                </a:rPr>
                <a:t>Kompetensi</a:t>
              </a:r>
              <a:endParaRPr lang="en-US" b="1" dirty="0">
                <a:latin typeface="Century Gothic" panose="020B0502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dirty="0" err="1">
                  <a:latin typeface="Century Gothic" panose="020B0502020202020204" pitchFamily="34" charset="0"/>
                </a:rPr>
                <a:t>Keahlian</a:t>
              </a:r>
              <a:endParaRPr lang="en-US" b="1" dirty="0">
                <a:latin typeface="Century Gothic" panose="020B0502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b="1" dirty="0" err="1">
                  <a:latin typeface="Century Gothic" panose="020B0502020202020204" pitchFamily="34" charset="0"/>
                </a:rPr>
                <a:t>Pengetahuan</a:t>
              </a:r>
              <a:endParaRPr lang="en-US" b="1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8" name="Title 22">
            <a:extLst>
              <a:ext uri="{FF2B5EF4-FFF2-40B4-BE49-F238E27FC236}">
                <a16:creationId xmlns:a16="http://schemas.microsoft.com/office/drawing/2014/main" xmlns="" id="{BA467F94-8243-DF25-E6A7-0764CBAC1CDF}"/>
              </a:ext>
            </a:extLst>
          </p:cNvPr>
          <p:cNvSpPr txBox="1">
            <a:spLocks/>
          </p:cNvSpPr>
          <p:nvPr/>
        </p:nvSpPr>
        <p:spPr>
          <a:xfrm>
            <a:off x="527129" y="434015"/>
            <a:ext cx="7086351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Arial Black" panose="020B0A04020102020204" pitchFamily="34" charset="0"/>
                <a:ea typeface="+mj-ea"/>
                <a:cs typeface="+mj-cs"/>
              </a:defRPr>
            </a:lvl1pPr>
          </a:lstStyle>
          <a:p>
            <a:r>
              <a:rPr lang="en-ID" sz="2800" dirty="0"/>
              <a:t>CONTINUOUS PROFESSIONAL DEVELOPMENT (CPD)/</a:t>
            </a:r>
          </a:p>
          <a:p>
            <a:r>
              <a:rPr lang="en-ID" sz="2400" dirty="0" err="1">
                <a:latin typeface="Arial" panose="020B0604020202020204" pitchFamily="34" charset="0"/>
                <a:cs typeface="Arial" panose="020B0604020202020204" pitchFamily="34" charset="0"/>
              </a:rPr>
              <a:t>Pengembangan</a:t>
            </a:r>
            <a:r>
              <a:rPr lang="en-ID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400" dirty="0" err="1">
                <a:latin typeface="Arial" panose="020B0604020202020204" pitchFamily="34" charset="0"/>
                <a:cs typeface="Arial" panose="020B0604020202020204" pitchFamily="34" charset="0"/>
              </a:rPr>
              <a:t>Keprofesian</a:t>
            </a:r>
            <a:r>
              <a:rPr lang="en-ID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ID" sz="2400" dirty="0" err="1">
                <a:latin typeface="Arial" panose="020B0604020202020204" pitchFamily="34" charset="0"/>
                <a:cs typeface="Arial" panose="020B0604020202020204" pitchFamily="34" charset="0"/>
              </a:rPr>
              <a:t>Berkelanjutan</a:t>
            </a:r>
            <a:r>
              <a:rPr lang="en-ID" sz="2400" dirty="0">
                <a:latin typeface="Arial" panose="020B0604020202020204" pitchFamily="34" charset="0"/>
                <a:cs typeface="Arial" panose="020B0604020202020204" pitchFamily="34" charset="0"/>
              </a:rPr>
              <a:t> (PKB)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8F6423F1-C883-858A-7408-ABCC0301837E}"/>
              </a:ext>
            </a:extLst>
          </p:cNvPr>
          <p:cNvSpPr txBox="1"/>
          <p:nvPr/>
        </p:nvSpPr>
        <p:spPr>
          <a:xfrm>
            <a:off x="439514" y="1647406"/>
            <a:ext cx="649564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D" i="1" dirty="0" err="1"/>
              <a:t>Upaya</a:t>
            </a:r>
            <a:r>
              <a:rPr lang="en-ID" i="1" dirty="0"/>
              <a:t> </a:t>
            </a:r>
            <a:r>
              <a:rPr lang="en-ID" b="1" i="1" dirty="0" err="1"/>
              <a:t>pembaruan</a:t>
            </a:r>
            <a:r>
              <a:rPr lang="en-ID" b="1" i="1" dirty="0"/>
              <a:t> </a:t>
            </a:r>
            <a:r>
              <a:rPr lang="en-ID" b="1" i="1" dirty="0" err="1"/>
              <a:t>pengetahuan</a:t>
            </a:r>
            <a:r>
              <a:rPr lang="en-ID" b="1" i="1" dirty="0"/>
              <a:t> dan </a:t>
            </a:r>
            <a:r>
              <a:rPr lang="en-ID" b="1" i="1" dirty="0" err="1"/>
              <a:t>peningkatan</a:t>
            </a:r>
            <a:r>
              <a:rPr lang="en-ID" b="1" i="1" dirty="0"/>
              <a:t> </a:t>
            </a:r>
            <a:r>
              <a:rPr lang="en-ID" b="1" i="1" dirty="0" err="1"/>
              <a:t>kompetensi</a:t>
            </a:r>
            <a:r>
              <a:rPr lang="en-ID" b="1" i="1" dirty="0"/>
              <a:t> professional </a:t>
            </a:r>
            <a:r>
              <a:rPr lang="en-ID" i="1" dirty="0" err="1"/>
              <a:t>baik</a:t>
            </a:r>
            <a:r>
              <a:rPr lang="en-ID" i="1" dirty="0"/>
              <a:t> </a:t>
            </a:r>
            <a:r>
              <a:rPr lang="en-ID" b="1" i="1" dirty="0" err="1"/>
              <a:t>dalam</a:t>
            </a:r>
            <a:r>
              <a:rPr lang="en-ID" b="1" i="1" dirty="0"/>
              <a:t> </a:t>
            </a:r>
            <a:r>
              <a:rPr lang="en-ID" b="1" i="1" dirty="0" err="1"/>
              <a:t>bentuk</a:t>
            </a:r>
            <a:r>
              <a:rPr lang="en-ID" b="1" i="1" dirty="0"/>
              <a:t> formal </a:t>
            </a:r>
            <a:r>
              <a:rPr lang="en-ID" b="1" i="1" dirty="0" err="1"/>
              <a:t>maupun</a:t>
            </a:r>
            <a:r>
              <a:rPr lang="en-ID" b="1" i="1" dirty="0"/>
              <a:t> informal.</a:t>
            </a:r>
            <a:endParaRPr lang="en-ID" i="1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371C41E1-A0AB-3586-D68F-7B4C7983260D}"/>
              </a:ext>
            </a:extLst>
          </p:cNvPr>
          <p:cNvSpPr txBox="1"/>
          <p:nvPr/>
        </p:nvSpPr>
        <p:spPr>
          <a:xfrm>
            <a:off x="9002448" y="2419010"/>
            <a:ext cx="276672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spcAft>
                <a:spcPts val="1200"/>
              </a:spcAft>
              <a:defRPr sz="1600" b="1">
                <a:latin typeface="Century Gothic" panose="020B0502020202020204" pitchFamily="34" charset="0"/>
              </a:defRPr>
            </a:lvl1pPr>
          </a:lstStyle>
          <a:p>
            <a:r>
              <a:rPr lang="en-ID" dirty="0" err="1"/>
              <a:t>Profesional</a:t>
            </a:r>
            <a:r>
              <a:rPr lang="en-ID" dirty="0"/>
              <a:t> </a:t>
            </a:r>
            <a:r>
              <a:rPr lang="en-ID" dirty="0" err="1"/>
              <a:t>tetap</a:t>
            </a:r>
            <a:r>
              <a:rPr lang="en-ID" dirty="0"/>
              <a:t> </a:t>
            </a:r>
            <a:r>
              <a:rPr lang="en-ID" dirty="0" err="1"/>
              <a:t>kompeten</a:t>
            </a:r>
            <a:r>
              <a:rPr lang="en-ID" dirty="0"/>
              <a:t> dan </a:t>
            </a:r>
            <a:r>
              <a:rPr lang="en-ID" dirty="0" err="1"/>
              <a:t>mampu</a:t>
            </a:r>
            <a:r>
              <a:rPr lang="en-ID" dirty="0"/>
              <a:t> </a:t>
            </a:r>
            <a:r>
              <a:rPr lang="en-ID" dirty="0" err="1"/>
              <a:t>memenuhi</a:t>
            </a:r>
            <a:r>
              <a:rPr lang="en-ID" dirty="0"/>
              <a:t> </a:t>
            </a:r>
            <a:r>
              <a:rPr lang="en-ID" dirty="0" err="1"/>
              <a:t>tuntutan</a:t>
            </a:r>
            <a:r>
              <a:rPr lang="en-ID" dirty="0"/>
              <a:t> yang </a:t>
            </a:r>
            <a:r>
              <a:rPr lang="en-ID" dirty="0" err="1"/>
              <a:t>berkembang</a:t>
            </a:r>
            <a:r>
              <a:rPr lang="en-ID" dirty="0"/>
              <a:t> di </a:t>
            </a:r>
            <a:r>
              <a:rPr lang="en-ID" dirty="0" err="1"/>
              <a:t>bidangnya</a:t>
            </a:r>
            <a:r>
              <a:rPr lang="en-ID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332892486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4" name="Straight Connector 303">
            <a:extLst>
              <a:ext uri="{FF2B5EF4-FFF2-40B4-BE49-F238E27FC236}">
                <a16:creationId xmlns:a16="http://schemas.microsoft.com/office/drawing/2014/main" xmlns="" id="{47D7B0EC-77AB-B9A9-094C-6DC0F7FDBE2A}"/>
              </a:ext>
            </a:extLst>
          </p:cNvPr>
          <p:cNvCxnSpPr/>
          <p:nvPr/>
        </p:nvCxnSpPr>
        <p:spPr>
          <a:xfrm>
            <a:off x="6512892" y="417957"/>
            <a:ext cx="0" cy="6062785"/>
          </a:xfrm>
          <a:prstGeom prst="line">
            <a:avLst/>
          </a:prstGeom>
          <a:ln>
            <a:solidFill>
              <a:srgbClr val="FFC000"/>
            </a:solidFill>
            <a:prstDash val="lgDashDot"/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6AFB91CF-2C5B-44D9-B426-1B56EC7B89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xmlns="" id="{C2C836FA-EC19-4AE5-B28B-671B6C1FF2BD}"/>
              </a:ext>
            </a:extLst>
          </p:cNvPr>
          <p:cNvSpPr/>
          <p:nvPr/>
        </p:nvSpPr>
        <p:spPr>
          <a:xfrm>
            <a:off x="0" y="0"/>
            <a:ext cx="6297916" cy="6858000"/>
          </a:xfrm>
          <a:custGeom>
            <a:avLst/>
            <a:gdLst>
              <a:gd name="connsiteX0" fmla="*/ 0 w 6297916"/>
              <a:gd name="connsiteY0" fmla="*/ 0 h 6858000"/>
              <a:gd name="connsiteX1" fmla="*/ 6297916 w 6297916"/>
              <a:gd name="connsiteY1" fmla="*/ 0 h 6858000"/>
              <a:gd name="connsiteX2" fmla="*/ 5971503 w 6297916"/>
              <a:gd name="connsiteY2" fmla="*/ 242882 h 6858000"/>
              <a:gd name="connsiteX3" fmla="*/ 5649754 w 6297916"/>
              <a:gd name="connsiteY3" fmla="*/ 1267805 h 6858000"/>
              <a:gd name="connsiteX4" fmla="*/ 5833944 w 6297916"/>
              <a:gd name="connsiteY4" fmla="*/ 1810413 h 6858000"/>
              <a:gd name="connsiteX5" fmla="*/ 5628771 w 6297916"/>
              <a:gd name="connsiteY5" fmla="*/ 2323736 h 6858000"/>
              <a:gd name="connsiteX6" fmla="*/ 4726471 w 6297916"/>
              <a:gd name="connsiteY6" fmla="*/ 2535611 h 6858000"/>
              <a:gd name="connsiteX7" fmla="*/ 4351097 w 6297916"/>
              <a:gd name="connsiteY7" fmla="*/ 3336602 h 6858000"/>
              <a:gd name="connsiteX8" fmla="*/ 4850043 w 6297916"/>
              <a:gd name="connsiteY8" fmla="*/ 4170322 h 6858000"/>
              <a:gd name="connsiteX9" fmla="*/ 4889677 w 6297916"/>
              <a:gd name="connsiteY9" fmla="*/ 5048829 h 6858000"/>
              <a:gd name="connsiteX10" fmla="*/ 4213536 w 6297916"/>
              <a:gd name="connsiteY10" fmla="*/ 5407121 h 6858000"/>
              <a:gd name="connsiteX11" fmla="*/ 3392841 w 6297916"/>
              <a:gd name="connsiteY11" fmla="*/ 5572487 h 6858000"/>
              <a:gd name="connsiteX12" fmla="*/ 1829917 w 6297916"/>
              <a:gd name="connsiteY12" fmla="*/ 6657300 h 6858000"/>
              <a:gd name="connsiteX13" fmla="*/ 1732440 w 6297916"/>
              <a:gd name="connsiteY13" fmla="*/ 6858000 h 6858000"/>
              <a:gd name="connsiteX14" fmla="*/ 0 w 6297916"/>
              <a:gd name="connsiteY1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6297916" h="6858000">
                <a:moveTo>
                  <a:pt x="0" y="0"/>
                </a:moveTo>
                <a:lnTo>
                  <a:pt x="6297916" y="0"/>
                </a:lnTo>
                <a:cubicBezTo>
                  <a:pt x="6176677" y="68903"/>
                  <a:pt x="6064764" y="151586"/>
                  <a:pt x="5971503" y="242882"/>
                </a:cubicBezTo>
                <a:cubicBezTo>
                  <a:pt x="5675401" y="530549"/>
                  <a:pt x="5556492" y="912958"/>
                  <a:pt x="5649754" y="1267805"/>
                </a:cubicBezTo>
                <a:cubicBezTo>
                  <a:pt x="5698716" y="1452120"/>
                  <a:pt x="5798970" y="1626098"/>
                  <a:pt x="5833944" y="1810413"/>
                </a:cubicBezTo>
                <a:cubicBezTo>
                  <a:pt x="5868916" y="1994726"/>
                  <a:pt x="5822286" y="2204879"/>
                  <a:pt x="5628771" y="2323736"/>
                </a:cubicBezTo>
                <a:cubicBezTo>
                  <a:pt x="5383960" y="2473598"/>
                  <a:pt x="5008586" y="2427090"/>
                  <a:pt x="4726471" y="2535611"/>
                </a:cubicBezTo>
                <a:cubicBezTo>
                  <a:pt x="4360423" y="2676861"/>
                  <a:pt x="4257836" y="3040322"/>
                  <a:pt x="4351097" y="3336602"/>
                </a:cubicBezTo>
                <a:cubicBezTo>
                  <a:pt x="4444358" y="3632883"/>
                  <a:pt x="4684503" y="3891267"/>
                  <a:pt x="4850043" y="4170322"/>
                </a:cubicBezTo>
                <a:cubicBezTo>
                  <a:pt x="5015579" y="4449377"/>
                  <a:pt x="5101847" y="4786999"/>
                  <a:pt x="4889677" y="5048829"/>
                </a:cubicBezTo>
                <a:cubicBezTo>
                  <a:pt x="4745123" y="5227975"/>
                  <a:pt x="4481663" y="5339941"/>
                  <a:pt x="4213536" y="5407121"/>
                </a:cubicBezTo>
                <a:cubicBezTo>
                  <a:pt x="3945413" y="5476024"/>
                  <a:pt x="3663298" y="5507030"/>
                  <a:pt x="3392841" y="5572487"/>
                </a:cubicBezTo>
                <a:cubicBezTo>
                  <a:pt x="2691053" y="5742805"/>
                  <a:pt x="2119577" y="6157108"/>
                  <a:pt x="1829917" y="6657300"/>
                </a:cubicBezTo>
                <a:lnTo>
                  <a:pt x="173244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FAE43FF-F03A-4C51-AF39-5D732E89AFB5}"/>
              </a:ext>
            </a:extLst>
          </p:cNvPr>
          <p:cNvSpPr txBox="1"/>
          <p:nvPr/>
        </p:nvSpPr>
        <p:spPr>
          <a:xfrm>
            <a:off x="473461" y="2110606"/>
            <a:ext cx="5362010" cy="72327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>
              <a:spcAft>
                <a:spcPts val="600"/>
              </a:spcAft>
              <a:defRPr/>
            </a:pPr>
            <a:r>
              <a:rPr lang="en-US" sz="1400" i="1" dirty="0">
                <a:solidFill>
                  <a:srgbClr val="FFFF00"/>
                </a:solidFill>
                <a:latin typeface="Century Gothic" panose="020B0502020202020204" pitchFamily="34" charset="0"/>
              </a:rPr>
              <a:t>Tata Cara </a:t>
            </a:r>
          </a:p>
          <a:p>
            <a:pPr lvl="0">
              <a:spcAft>
                <a:spcPts val="600"/>
              </a:spcAft>
              <a:defRPr/>
            </a:pPr>
            <a:r>
              <a:rPr lang="en-US" sz="1400" i="1" dirty="0" err="1">
                <a:solidFill>
                  <a:srgbClr val="FFFF00"/>
                </a:solidFill>
                <a:latin typeface="Century Gothic" panose="020B0502020202020204" pitchFamily="34" charset="0"/>
              </a:rPr>
              <a:t>Permohonan</a:t>
            </a:r>
            <a:r>
              <a:rPr lang="en-US" sz="1400" i="1" dirty="0">
                <a:solidFill>
                  <a:srgbClr val="FFFF00"/>
                </a:solidFill>
                <a:latin typeface="Century Gothic" panose="020B0502020202020204" pitchFamily="34" charset="0"/>
              </a:rPr>
              <a:t> </a:t>
            </a:r>
            <a:r>
              <a:rPr lang="en-US" sz="1400" i="1" dirty="0" err="1">
                <a:solidFill>
                  <a:srgbClr val="FFFF00"/>
                </a:solidFill>
                <a:latin typeface="Century Gothic" panose="020B0502020202020204" pitchFamily="34" charset="0"/>
              </a:rPr>
              <a:t>Perpanjangan</a:t>
            </a:r>
            <a:r>
              <a:rPr lang="en-US" sz="1400" i="1" dirty="0">
                <a:solidFill>
                  <a:srgbClr val="FFFF00"/>
                </a:solidFill>
                <a:latin typeface="Century Gothic" panose="020B0502020202020204" pitchFamily="34" charset="0"/>
              </a:rPr>
              <a:t> </a:t>
            </a:r>
            <a:br>
              <a:rPr lang="en-US" sz="1400" i="1" dirty="0">
                <a:solidFill>
                  <a:srgbClr val="FFFF00"/>
                </a:solidFill>
                <a:latin typeface="Century Gothic" panose="020B0502020202020204" pitchFamily="34" charset="0"/>
              </a:rPr>
            </a:br>
            <a:r>
              <a:rPr lang="en-US" sz="1400" i="1" dirty="0">
                <a:solidFill>
                  <a:srgbClr val="FFFF00"/>
                </a:solidFill>
                <a:latin typeface="Century Gothic" panose="020B0502020202020204" pitchFamily="34" charset="0"/>
              </a:rPr>
              <a:t>SKK </a:t>
            </a:r>
            <a:r>
              <a:rPr lang="en-US" sz="1400" i="1" dirty="0" err="1">
                <a:solidFill>
                  <a:srgbClr val="FFFF00"/>
                </a:solidFill>
                <a:latin typeface="Century Gothic" panose="020B0502020202020204" pitchFamily="34" charset="0"/>
              </a:rPr>
              <a:t>Konstruksi</a:t>
            </a:r>
            <a:r>
              <a:rPr lang="en-US" sz="1400" i="1" dirty="0">
                <a:solidFill>
                  <a:srgbClr val="FFFF00"/>
                </a:solidFill>
                <a:latin typeface="Century Gothic" panose="020B0502020202020204" pitchFamily="34" charset="0"/>
              </a:rPr>
              <a:t> </a:t>
            </a:r>
            <a:r>
              <a:rPr lang="en-US" sz="1400" i="1" dirty="0" err="1">
                <a:solidFill>
                  <a:srgbClr val="FFFF00"/>
                </a:solidFill>
                <a:latin typeface="Century Gothic" panose="020B0502020202020204" pitchFamily="34" charset="0"/>
              </a:rPr>
              <a:t>Kualifikasi</a:t>
            </a:r>
            <a:r>
              <a:rPr lang="en-US" sz="1400" i="1" dirty="0">
                <a:solidFill>
                  <a:srgbClr val="FFFF00"/>
                </a:solidFill>
                <a:latin typeface="Century Gothic" panose="020B0502020202020204" pitchFamily="34" charset="0"/>
              </a:rPr>
              <a:t> Ahli</a:t>
            </a: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xmlns="" id="{75AE17F5-7EE0-42D5-9AC9-F407F7CE8C6B}"/>
              </a:ext>
            </a:extLst>
          </p:cNvPr>
          <p:cNvSpPr>
            <a:spLocks/>
          </p:cNvSpPr>
          <p:nvPr/>
        </p:nvSpPr>
        <p:spPr bwMode="auto">
          <a:xfrm>
            <a:off x="7039429" y="2571213"/>
            <a:ext cx="5152571" cy="4286788"/>
          </a:xfrm>
          <a:custGeom>
            <a:avLst/>
            <a:gdLst>
              <a:gd name="T0" fmla="*/ 1301 w 1301"/>
              <a:gd name="T1" fmla="*/ 0 h 1083"/>
              <a:gd name="T2" fmla="*/ 1301 w 1301"/>
              <a:gd name="T3" fmla="*/ 1083 h 1083"/>
              <a:gd name="T4" fmla="*/ 0 w 1301"/>
              <a:gd name="T5" fmla="*/ 1083 h 1083"/>
              <a:gd name="T6" fmla="*/ 344 w 1301"/>
              <a:gd name="T7" fmla="*/ 897 h 1083"/>
              <a:gd name="T8" fmla="*/ 1047 w 1301"/>
              <a:gd name="T9" fmla="*/ 467 h 1083"/>
              <a:gd name="T10" fmla="*/ 1301 w 1301"/>
              <a:gd name="T11" fmla="*/ 0 h 10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01" h="1083">
                <a:moveTo>
                  <a:pt x="1301" y="0"/>
                </a:moveTo>
                <a:cubicBezTo>
                  <a:pt x="1301" y="1083"/>
                  <a:pt x="1301" y="1083"/>
                  <a:pt x="1301" y="1083"/>
                </a:cubicBezTo>
                <a:cubicBezTo>
                  <a:pt x="0" y="1083"/>
                  <a:pt x="0" y="1083"/>
                  <a:pt x="0" y="1083"/>
                </a:cubicBezTo>
                <a:cubicBezTo>
                  <a:pt x="0" y="1083"/>
                  <a:pt x="94" y="911"/>
                  <a:pt x="344" y="897"/>
                </a:cubicBezTo>
                <a:cubicBezTo>
                  <a:pt x="594" y="882"/>
                  <a:pt x="900" y="894"/>
                  <a:pt x="1047" y="467"/>
                </a:cubicBezTo>
                <a:cubicBezTo>
                  <a:pt x="1194" y="41"/>
                  <a:pt x="1177" y="113"/>
                  <a:pt x="130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1113" cap="flat">
            <a:noFill/>
            <a:prstDash val="solid"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quipExtended-Light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6EE96AE4-9BDF-4FE7-84D9-5269CA28F7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D6E39-4852-418B-BA35-BEEEB494AB9E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xmlns="" id="{C22972D5-54FB-A45D-1DED-FC24329AC578}"/>
              </a:ext>
            </a:extLst>
          </p:cNvPr>
          <p:cNvSpPr txBox="1">
            <a:spLocks/>
          </p:cNvSpPr>
          <p:nvPr/>
        </p:nvSpPr>
        <p:spPr>
          <a:xfrm>
            <a:off x="449539" y="470008"/>
            <a:ext cx="4804385" cy="12926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 kumimoji="0" sz="1400" b="0" i="1" u="none" strike="noStrike" cap="none" spc="0" normalizeH="0" baseline="0">
                <a:ln>
                  <a:noFill/>
                </a:ln>
                <a:solidFill>
                  <a:srgbClr val="FFB236"/>
                </a:solidFill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r>
              <a:rPr lang="en-US" sz="2800" b="1" i="0" dirty="0" err="1">
                <a:solidFill>
                  <a:prstClr val="white"/>
                </a:solidFill>
                <a:latin typeface="Arial Black" panose="020B0A04020102020204" pitchFamily="34" charset="0"/>
              </a:rPr>
              <a:t>Peraturan</a:t>
            </a:r>
            <a:r>
              <a:rPr lang="en-US" sz="2800" b="1" i="0" dirty="0">
                <a:solidFill>
                  <a:prstClr val="white"/>
                </a:solidFill>
                <a:latin typeface="Arial Black" panose="020B0A04020102020204" pitchFamily="34" charset="0"/>
              </a:rPr>
              <a:t> </a:t>
            </a:r>
            <a:r>
              <a:rPr lang="en-US" sz="2800" b="1" i="0" dirty="0" err="1">
                <a:solidFill>
                  <a:prstClr val="white"/>
                </a:solidFill>
                <a:latin typeface="Arial Black" panose="020B0A04020102020204" pitchFamily="34" charset="0"/>
              </a:rPr>
              <a:t>Pemerintah</a:t>
            </a:r>
            <a:r>
              <a:rPr lang="en-US" sz="2800" b="1" i="0" dirty="0">
                <a:solidFill>
                  <a:prstClr val="white"/>
                </a:solidFill>
                <a:latin typeface="Arial Black" panose="020B0A04020102020204" pitchFamily="34" charset="0"/>
              </a:rPr>
              <a:t> </a:t>
            </a:r>
            <a:r>
              <a:rPr lang="en-US" sz="2800" b="1" i="0" dirty="0" err="1">
                <a:solidFill>
                  <a:prstClr val="white"/>
                </a:solidFill>
                <a:latin typeface="Arial Black" panose="020B0A04020102020204" pitchFamily="34" charset="0"/>
              </a:rPr>
              <a:t>Nomor</a:t>
            </a:r>
            <a:r>
              <a:rPr lang="en-US" sz="2800" b="1" i="0" dirty="0">
                <a:solidFill>
                  <a:prstClr val="white"/>
                </a:solidFill>
                <a:latin typeface="Arial Black" panose="020B0A04020102020204" pitchFamily="34" charset="0"/>
              </a:rPr>
              <a:t> 14 </a:t>
            </a:r>
            <a:r>
              <a:rPr lang="en-US" sz="2800" b="1" i="0" dirty="0" err="1">
                <a:solidFill>
                  <a:prstClr val="white"/>
                </a:solidFill>
                <a:latin typeface="Arial Black" panose="020B0A04020102020204" pitchFamily="34" charset="0"/>
              </a:rPr>
              <a:t>Tahun</a:t>
            </a:r>
            <a:r>
              <a:rPr lang="en-US" sz="2800" b="1" i="0" dirty="0">
                <a:solidFill>
                  <a:prstClr val="white"/>
                </a:solidFill>
                <a:latin typeface="Arial Black" panose="020B0A04020102020204" pitchFamily="34" charset="0"/>
              </a:rPr>
              <a:t> 2021 </a:t>
            </a:r>
            <a:r>
              <a:rPr lang="en-US" sz="2800" b="1" i="0" dirty="0" err="1">
                <a:solidFill>
                  <a:prstClr val="white"/>
                </a:solidFill>
                <a:latin typeface="Arial Black" panose="020B0A04020102020204" pitchFamily="34" charset="0"/>
              </a:rPr>
              <a:t>Pasal</a:t>
            </a:r>
            <a:r>
              <a:rPr lang="en-US" sz="2800" b="1" i="0" dirty="0">
                <a:solidFill>
                  <a:prstClr val="white"/>
                </a:solidFill>
                <a:latin typeface="Arial Black" panose="020B0A04020102020204" pitchFamily="34" charset="0"/>
              </a:rPr>
              <a:t> 29B </a:t>
            </a:r>
            <a:r>
              <a:rPr lang="en-US" sz="2800" b="1" i="0" dirty="0" err="1">
                <a:solidFill>
                  <a:prstClr val="white"/>
                </a:solidFill>
                <a:latin typeface="Arial Black" panose="020B0A04020102020204" pitchFamily="34" charset="0"/>
              </a:rPr>
              <a:t>ayat</a:t>
            </a:r>
            <a:r>
              <a:rPr lang="en-US" sz="2800" b="1" i="0" dirty="0">
                <a:solidFill>
                  <a:prstClr val="white"/>
                </a:solidFill>
                <a:latin typeface="Arial Black" panose="020B0A04020102020204" pitchFamily="34" charset="0"/>
              </a:rPr>
              <a:t> (2)</a:t>
            </a:r>
          </a:p>
        </p:txBody>
      </p:sp>
      <p:sp>
        <p:nvSpPr>
          <p:cNvPr id="278" name="Title 1">
            <a:extLst>
              <a:ext uri="{FF2B5EF4-FFF2-40B4-BE49-F238E27FC236}">
                <a16:creationId xmlns:a16="http://schemas.microsoft.com/office/drawing/2014/main" xmlns="" id="{48E1A857-B48B-3B6B-3B0F-E29CB9A40401}"/>
              </a:ext>
            </a:extLst>
          </p:cNvPr>
          <p:cNvSpPr txBox="1">
            <a:spLocks/>
          </p:cNvSpPr>
          <p:nvPr/>
        </p:nvSpPr>
        <p:spPr>
          <a:xfrm>
            <a:off x="7277963" y="923898"/>
            <a:ext cx="388800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Permohonan</a:t>
            </a: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 </a:t>
            </a:r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Perpanjangan</a:t>
            </a:r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279" name="Title 1">
            <a:extLst>
              <a:ext uri="{FF2B5EF4-FFF2-40B4-BE49-F238E27FC236}">
                <a16:creationId xmlns:a16="http://schemas.microsoft.com/office/drawing/2014/main" xmlns="" id="{EE951D8D-EFF2-CCA6-384B-A6BF06E189D5}"/>
              </a:ext>
            </a:extLst>
          </p:cNvPr>
          <p:cNvSpPr txBox="1">
            <a:spLocks/>
          </p:cNvSpPr>
          <p:nvPr/>
        </p:nvSpPr>
        <p:spPr>
          <a:xfrm>
            <a:off x="7269967" y="1706838"/>
            <a:ext cx="4047199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sz="2000" b="1" dirty="0">
                <a:solidFill>
                  <a:srgbClr val="0070C0"/>
                </a:solidFill>
                <a:latin typeface="Century Gothic" panose="020B0502020202020204" pitchFamily="34" charset="0"/>
                <a:cs typeface="Segoe UI" panose="020B0502040204020203" pitchFamily="34" charset="0"/>
              </a:rPr>
              <a:t>Verifikasi Kecukupan persyaratan nilai kredit PKB</a:t>
            </a:r>
          </a:p>
        </p:txBody>
      </p:sp>
      <p:sp>
        <p:nvSpPr>
          <p:cNvPr id="280" name="Title 1">
            <a:extLst>
              <a:ext uri="{FF2B5EF4-FFF2-40B4-BE49-F238E27FC236}">
                <a16:creationId xmlns:a16="http://schemas.microsoft.com/office/drawing/2014/main" xmlns="" id="{779859FE-88FC-B713-30AD-2530B8E1D9F9}"/>
              </a:ext>
            </a:extLst>
          </p:cNvPr>
          <p:cNvSpPr txBox="1">
            <a:spLocks/>
          </p:cNvSpPr>
          <p:nvPr/>
        </p:nvSpPr>
        <p:spPr>
          <a:xfrm>
            <a:off x="7277963" y="2833881"/>
            <a:ext cx="388800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Uji </a:t>
            </a:r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Kompetensi</a:t>
            </a:r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281" name="Title 1">
            <a:extLst>
              <a:ext uri="{FF2B5EF4-FFF2-40B4-BE49-F238E27FC236}">
                <a16:creationId xmlns:a16="http://schemas.microsoft.com/office/drawing/2014/main" xmlns="" id="{E0E51915-0F38-02EA-0ED6-F84736F59A78}"/>
              </a:ext>
            </a:extLst>
          </p:cNvPr>
          <p:cNvSpPr txBox="1">
            <a:spLocks/>
          </p:cNvSpPr>
          <p:nvPr/>
        </p:nvSpPr>
        <p:spPr>
          <a:xfrm>
            <a:off x="7278631" y="3759891"/>
            <a:ext cx="388800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Penetapan</a:t>
            </a: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 Hasil Uji </a:t>
            </a:r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Kompetensi</a:t>
            </a:r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sp>
        <p:nvSpPr>
          <p:cNvPr id="282" name="Title 1">
            <a:extLst>
              <a:ext uri="{FF2B5EF4-FFF2-40B4-BE49-F238E27FC236}">
                <a16:creationId xmlns:a16="http://schemas.microsoft.com/office/drawing/2014/main" xmlns="" id="{4B866E15-AF80-491D-8E92-42E250EC6537}"/>
              </a:ext>
            </a:extLst>
          </p:cNvPr>
          <p:cNvSpPr txBox="1">
            <a:spLocks/>
          </p:cNvSpPr>
          <p:nvPr/>
        </p:nvSpPr>
        <p:spPr>
          <a:xfrm>
            <a:off x="7277963" y="4705113"/>
            <a:ext cx="388800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Pencatatan</a:t>
            </a: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 SKK </a:t>
            </a:r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Konstruksi</a:t>
            </a:r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grpSp>
        <p:nvGrpSpPr>
          <p:cNvPr id="283" name="Group 282">
            <a:extLst>
              <a:ext uri="{FF2B5EF4-FFF2-40B4-BE49-F238E27FC236}">
                <a16:creationId xmlns:a16="http://schemas.microsoft.com/office/drawing/2014/main" xmlns="" id="{AFE2CA4D-DA7A-4505-6ED5-8491FA9BF445}"/>
              </a:ext>
            </a:extLst>
          </p:cNvPr>
          <p:cNvGrpSpPr/>
          <p:nvPr/>
        </p:nvGrpSpPr>
        <p:grpSpPr>
          <a:xfrm>
            <a:off x="6211205" y="755733"/>
            <a:ext cx="613330" cy="613330"/>
            <a:chOff x="418003" y="2371002"/>
            <a:chExt cx="613330" cy="613330"/>
          </a:xfrm>
        </p:grpSpPr>
        <p:sp>
          <p:nvSpPr>
            <p:cNvPr id="284" name="Oval 283">
              <a:extLst>
                <a:ext uri="{FF2B5EF4-FFF2-40B4-BE49-F238E27FC236}">
                  <a16:creationId xmlns:a16="http://schemas.microsoft.com/office/drawing/2014/main" xmlns="" id="{D26BF1E3-888B-FE88-1A7D-16ECAA2C4A59}"/>
                </a:ext>
              </a:extLst>
            </p:cNvPr>
            <p:cNvSpPr/>
            <p:nvPr/>
          </p:nvSpPr>
          <p:spPr>
            <a:xfrm>
              <a:off x="418003" y="2371002"/>
              <a:ext cx="613330" cy="6133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5" name="Freeform 35">
              <a:extLst>
                <a:ext uri="{FF2B5EF4-FFF2-40B4-BE49-F238E27FC236}">
                  <a16:creationId xmlns:a16="http://schemas.microsoft.com/office/drawing/2014/main" xmlns="" id="{E3A55737-DE4C-9435-DEEA-FB1593E77D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206" y="2529131"/>
              <a:ext cx="295768" cy="29707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2 h 96"/>
                <a:gd name="T12" fmla="*/ 53 w 96"/>
                <a:gd name="T13" fmla="*/ 76 h 96"/>
                <a:gd name="T14" fmla="*/ 48 w 96"/>
                <a:gd name="T15" fmla="*/ 77 h 96"/>
                <a:gd name="T16" fmla="*/ 44 w 96"/>
                <a:gd name="T17" fmla="*/ 76 h 96"/>
                <a:gd name="T18" fmla="*/ 43 w 96"/>
                <a:gd name="T19" fmla="*/ 75 h 96"/>
                <a:gd name="T20" fmla="*/ 43 w 96"/>
                <a:gd name="T21" fmla="*/ 66 h 96"/>
                <a:gd name="T22" fmla="*/ 52 w 96"/>
                <a:gd name="T23" fmla="*/ 56 h 96"/>
                <a:gd name="T24" fmla="*/ 22 w 96"/>
                <a:gd name="T25" fmla="*/ 56 h 96"/>
                <a:gd name="T26" fmla="*/ 16 w 96"/>
                <a:gd name="T27" fmla="*/ 50 h 96"/>
                <a:gd name="T28" fmla="*/ 16 w 96"/>
                <a:gd name="T29" fmla="*/ 46 h 96"/>
                <a:gd name="T30" fmla="*/ 22 w 96"/>
                <a:gd name="T31" fmla="*/ 40 h 96"/>
                <a:gd name="T32" fmla="*/ 52 w 96"/>
                <a:gd name="T33" fmla="*/ 40 h 96"/>
                <a:gd name="T34" fmla="*/ 42 w 96"/>
                <a:gd name="T35" fmla="*/ 30 h 96"/>
                <a:gd name="T36" fmla="*/ 43 w 96"/>
                <a:gd name="T37" fmla="*/ 22 h 96"/>
                <a:gd name="T38" fmla="*/ 44 w 96"/>
                <a:gd name="T39" fmla="*/ 20 h 96"/>
                <a:gd name="T40" fmla="*/ 52 w 96"/>
                <a:gd name="T41" fmla="*/ 20 h 96"/>
                <a:gd name="T42" fmla="*/ 75 w 96"/>
                <a:gd name="T43" fmla="*/ 44 h 96"/>
                <a:gd name="T44" fmla="*/ 75 w 96"/>
                <a:gd name="T45" fmla="*/ 5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2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0" y="77"/>
                    <a:pt x="48" y="77"/>
                  </a:cubicBezTo>
                  <a:cubicBezTo>
                    <a:pt x="47" y="77"/>
                    <a:pt x="45" y="77"/>
                    <a:pt x="44" y="76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1" y="72"/>
                    <a:pt x="41" y="68"/>
                    <a:pt x="43" y="6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9" y="56"/>
                    <a:pt x="16" y="53"/>
                    <a:pt x="16" y="50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3"/>
                    <a:pt x="19" y="40"/>
                    <a:pt x="2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0" y="28"/>
                    <a:pt x="40" y="24"/>
                    <a:pt x="43" y="22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6" y="18"/>
                    <a:pt x="50" y="18"/>
                    <a:pt x="52" y="20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7" y="46"/>
                    <a:pt x="77" y="50"/>
                    <a:pt x="75" y="52"/>
                  </a:cubicBezTo>
                  <a:close/>
                </a:path>
              </a:pathLst>
            </a:custGeom>
            <a:solidFill>
              <a:srgbClr val="FF8A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sp>
        <p:nvSpPr>
          <p:cNvPr id="286" name="Title 1">
            <a:extLst>
              <a:ext uri="{FF2B5EF4-FFF2-40B4-BE49-F238E27FC236}">
                <a16:creationId xmlns:a16="http://schemas.microsoft.com/office/drawing/2014/main" xmlns="" id="{80CE8512-FD39-7B6B-7263-44E6B598CCD0}"/>
              </a:ext>
            </a:extLst>
          </p:cNvPr>
          <p:cNvSpPr txBox="1">
            <a:spLocks/>
          </p:cNvSpPr>
          <p:nvPr/>
        </p:nvSpPr>
        <p:spPr>
          <a:xfrm>
            <a:off x="7269967" y="5623446"/>
            <a:ext cx="3888000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Penerbitan</a:t>
            </a:r>
            <a:r>
              <a:rPr lang="en-US" dirty="0">
                <a:latin typeface="Century Gothic" panose="020B0502020202020204" pitchFamily="34" charset="0"/>
                <a:cs typeface="Segoe UI" panose="020B0502040204020203" pitchFamily="34" charset="0"/>
              </a:rPr>
              <a:t> SKK </a:t>
            </a:r>
            <a:r>
              <a:rPr lang="en-US" dirty="0" err="1">
                <a:latin typeface="Century Gothic" panose="020B0502020202020204" pitchFamily="34" charset="0"/>
                <a:cs typeface="Segoe UI" panose="020B0502040204020203" pitchFamily="34" charset="0"/>
              </a:rPr>
              <a:t>Konstruksi</a:t>
            </a:r>
            <a:endParaRPr lang="en-US" dirty="0">
              <a:latin typeface="Century Gothic" panose="020B0502020202020204" pitchFamily="34" charset="0"/>
              <a:cs typeface="Segoe UI" panose="020B0502040204020203" pitchFamily="34" charset="0"/>
            </a:endParaRPr>
          </a:p>
        </p:txBody>
      </p:sp>
      <p:pic>
        <p:nvPicPr>
          <p:cNvPr id="287" name="Picture 286">
            <a:extLst>
              <a:ext uri="{FF2B5EF4-FFF2-40B4-BE49-F238E27FC236}">
                <a16:creationId xmlns:a16="http://schemas.microsoft.com/office/drawing/2014/main" xmlns="" id="{BCF1ECB7-329C-EEE0-689B-A2C4EC799D1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9167" b="95556" l="78688" r="94813">
                        <a14:foregroundMark x1="90563" y1="20417" x2="91563" y2="21806"/>
                        <a14:foregroundMark x1="78688" y1="32361" x2="79375" y2="36111"/>
                        <a14:foregroundMark x1="92250" y1="87361" x2="92250" y2="86667"/>
                        <a14:foregroundMark x1="91875" y1="87083" x2="91875" y2="87083"/>
                        <a14:foregroundMark x1="93313" y1="25278" x2="93313" y2="23194"/>
                        <a14:foregroundMark x1="93188" y1="22639" x2="93111" y2="21011"/>
                        <a14:foregroundMark x1="91063" y1="19167" x2="92000" y2="19167"/>
                        <a14:foregroundMark x1="87938" y1="25417" x2="88188" y2="25139"/>
                        <a14:foregroundMark x1="94813" y1="36667" x2="94750" y2="35694"/>
                        <a14:foregroundMark x1="87813" y1="25556" x2="88125" y2="25556"/>
                        <a14:foregroundMark x1="86375" y1="87500" x2="93375" y2="86667"/>
                        <a14:foregroundMark x1="93750" y1="87778" x2="89250" y2="88333"/>
                        <a14:backgroundMark x1="89625" y1="91389" x2="91875" y2="91667"/>
                        <a14:backgroundMark x1="91438" y1="95556" x2="88563" y2="89861"/>
                        <a14:backgroundMark x1="91875" y1="95556" x2="91188" y2="94028"/>
                        <a14:backgroundMark x1="92375" y1="93750" x2="91625" y2="93472"/>
                        <a14:backgroundMark x1="91438" y1="96667" x2="91875" y2="90000"/>
                        <a14:backgroundMark x1="91750" y1="96389" x2="91875" y2="94306"/>
                        <a14:backgroundMark x1="91625" y1="96111" x2="92250" y2="91944"/>
                        <a14:backgroundMark x1="89704" y1="89861" x2="87750" y2="89861"/>
                        <a14:backgroundMark x1="88813" y1="91111" x2="87875" y2="89306"/>
                        <a14:backgroundMark x1="87875" y1="89861" x2="87625" y2="89861"/>
                        <a14:backgroundMark x1="94375" y1="87917" x2="93852" y2="88119"/>
                        <a14:backgroundMark x1="91750" y1="91944" x2="91750" y2="95556"/>
                        <a14:backgroundMark x1="93063" y1="20278" x2="93313" y2="2041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333" t="14777" r="3391" b="8707"/>
          <a:stretch/>
        </p:blipFill>
        <p:spPr>
          <a:xfrm flipH="1">
            <a:off x="3755054" y="2670431"/>
            <a:ext cx="2423114" cy="4144873"/>
          </a:xfrm>
          <a:prstGeom prst="rect">
            <a:avLst/>
          </a:prstGeom>
        </p:spPr>
      </p:pic>
      <p:grpSp>
        <p:nvGrpSpPr>
          <p:cNvPr id="288" name="Group 287">
            <a:extLst>
              <a:ext uri="{FF2B5EF4-FFF2-40B4-BE49-F238E27FC236}">
                <a16:creationId xmlns:a16="http://schemas.microsoft.com/office/drawing/2014/main" xmlns="" id="{A20FC8FF-5E62-9722-EA21-9F50A4F685E4}"/>
              </a:ext>
            </a:extLst>
          </p:cNvPr>
          <p:cNvGrpSpPr/>
          <p:nvPr/>
        </p:nvGrpSpPr>
        <p:grpSpPr>
          <a:xfrm>
            <a:off x="6210380" y="1648690"/>
            <a:ext cx="613330" cy="613330"/>
            <a:chOff x="418003" y="2371002"/>
            <a:chExt cx="613330" cy="613330"/>
          </a:xfrm>
        </p:grpSpPr>
        <p:sp>
          <p:nvSpPr>
            <p:cNvPr id="289" name="Oval 288">
              <a:extLst>
                <a:ext uri="{FF2B5EF4-FFF2-40B4-BE49-F238E27FC236}">
                  <a16:creationId xmlns:a16="http://schemas.microsoft.com/office/drawing/2014/main" xmlns="" id="{50342C21-D1F7-3203-A06D-1E38E4FD8EC8}"/>
                </a:ext>
              </a:extLst>
            </p:cNvPr>
            <p:cNvSpPr/>
            <p:nvPr/>
          </p:nvSpPr>
          <p:spPr>
            <a:xfrm>
              <a:off x="418003" y="2371002"/>
              <a:ext cx="613330" cy="6133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0" name="Freeform 35">
              <a:extLst>
                <a:ext uri="{FF2B5EF4-FFF2-40B4-BE49-F238E27FC236}">
                  <a16:creationId xmlns:a16="http://schemas.microsoft.com/office/drawing/2014/main" xmlns="" id="{0B33ED5C-FDDB-0899-1E0B-9C394E8D380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206" y="2529131"/>
              <a:ext cx="295768" cy="29707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2 h 96"/>
                <a:gd name="T12" fmla="*/ 53 w 96"/>
                <a:gd name="T13" fmla="*/ 76 h 96"/>
                <a:gd name="T14" fmla="*/ 48 w 96"/>
                <a:gd name="T15" fmla="*/ 77 h 96"/>
                <a:gd name="T16" fmla="*/ 44 w 96"/>
                <a:gd name="T17" fmla="*/ 76 h 96"/>
                <a:gd name="T18" fmla="*/ 43 w 96"/>
                <a:gd name="T19" fmla="*/ 75 h 96"/>
                <a:gd name="T20" fmla="*/ 43 w 96"/>
                <a:gd name="T21" fmla="*/ 66 h 96"/>
                <a:gd name="T22" fmla="*/ 52 w 96"/>
                <a:gd name="T23" fmla="*/ 56 h 96"/>
                <a:gd name="T24" fmla="*/ 22 w 96"/>
                <a:gd name="T25" fmla="*/ 56 h 96"/>
                <a:gd name="T26" fmla="*/ 16 w 96"/>
                <a:gd name="T27" fmla="*/ 50 h 96"/>
                <a:gd name="T28" fmla="*/ 16 w 96"/>
                <a:gd name="T29" fmla="*/ 46 h 96"/>
                <a:gd name="T30" fmla="*/ 22 w 96"/>
                <a:gd name="T31" fmla="*/ 40 h 96"/>
                <a:gd name="T32" fmla="*/ 52 w 96"/>
                <a:gd name="T33" fmla="*/ 40 h 96"/>
                <a:gd name="T34" fmla="*/ 42 w 96"/>
                <a:gd name="T35" fmla="*/ 30 h 96"/>
                <a:gd name="T36" fmla="*/ 43 w 96"/>
                <a:gd name="T37" fmla="*/ 22 h 96"/>
                <a:gd name="T38" fmla="*/ 44 w 96"/>
                <a:gd name="T39" fmla="*/ 20 h 96"/>
                <a:gd name="T40" fmla="*/ 52 w 96"/>
                <a:gd name="T41" fmla="*/ 20 h 96"/>
                <a:gd name="T42" fmla="*/ 75 w 96"/>
                <a:gd name="T43" fmla="*/ 44 h 96"/>
                <a:gd name="T44" fmla="*/ 75 w 96"/>
                <a:gd name="T45" fmla="*/ 5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2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0" y="77"/>
                    <a:pt x="48" y="77"/>
                  </a:cubicBezTo>
                  <a:cubicBezTo>
                    <a:pt x="47" y="77"/>
                    <a:pt x="45" y="77"/>
                    <a:pt x="44" y="76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1" y="72"/>
                    <a:pt x="41" y="68"/>
                    <a:pt x="43" y="6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9" y="56"/>
                    <a:pt x="16" y="53"/>
                    <a:pt x="16" y="50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3"/>
                    <a:pt x="19" y="40"/>
                    <a:pt x="2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0" y="28"/>
                    <a:pt x="40" y="24"/>
                    <a:pt x="43" y="22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6" y="18"/>
                    <a:pt x="50" y="18"/>
                    <a:pt x="52" y="20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7" y="46"/>
                    <a:pt x="77" y="50"/>
                    <a:pt x="75" y="52"/>
                  </a:cubicBezTo>
                  <a:close/>
                </a:path>
              </a:pathLst>
            </a:custGeom>
            <a:solidFill>
              <a:srgbClr val="FF8A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291" name="Group 290">
            <a:extLst>
              <a:ext uri="{FF2B5EF4-FFF2-40B4-BE49-F238E27FC236}">
                <a16:creationId xmlns:a16="http://schemas.microsoft.com/office/drawing/2014/main" xmlns="" id="{C14DC282-859D-E548-C49F-C7D4157DD24B}"/>
              </a:ext>
            </a:extLst>
          </p:cNvPr>
          <p:cNvGrpSpPr/>
          <p:nvPr/>
        </p:nvGrpSpPr>
        <p:grpSpPr>
          <a:xfrm>
            <a:off x="6206227" y="2637605"/>
            <a:ext cx="613330" cy="613330"/>
            <a:chOff x="418003" y="2371002"/>
            <a:chExt cx="613330" cy="613330"/>
          </a:xfrm>
        </p:grpSpPr>
        <p:sp>
          <p:nvSpPr>
            <p:cNvPr id="292" name="Oval 291">
              <a:extLst>
                <a:ext uri="{FF2B5EF4-FFF2-40B4-BE49-F238E27FC236}">
                  <a16:creationId xmlns:a16="http://schemas.microsoft.com/office/drawing/2014/main" xmlns="" id="{4F373C39-93E5-433B-6C9F-90F51AAE3231}"/>
                </a:ext>
              </a:extLst>
            </p:cNvPr>
            <p:cNvSpPr/>
            <p:nvPr/>
          </p:nvSpPr>
          <p:spPr>
            <a:xfrm>
              <a:off x="418003" y="2371002"/>
              <a:ext cx="613330" cy="6133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3" name="Freeform 35">
              <a:extLst>
                <a:ext uri="{FF2B5EF4-FFF2-40B4-BE49-F238E27FC236}">
                  <a16:creationId xmlns:a16="http://schemas.microsoft.com/office/drawing/2014/main" xmlns="" id="{584EA3E6-F1B2-D904-F936-BA82D7397C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206" y="2529131"/>
              <a:ext cx="295768" cy="29707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2 h 96"/>
                <a:gd name="T12" fmla="*/ 53 w 96"/>
                <a:gd name="T13" fmla="*/ 76 h 96"/>
                <a:gd name="T14" fmla="*/ 48 w 96"/>
                <a:gd name="T15" fmla="*/ 77 h 96"/>
                <a:gd name="T16" fmla="*/ 44 w 96"/>
                <a:gd name="T17" fmla="*/ 76 h 96"/>
                <a:gd name="T18" fmla="*/ 43 w 96"/>
                <a:gd name="T19" fmla="*/ 75 h 96"/>
                <a:gd name="T20" fmla="*/ 43 w 96"/>
                <a:gd name="T21" fmla="*/ 66 h 96"/>
                <a:gd name="T22" fmla="*/ 52 w 96"/>
                <a:gd name="T23" fmla="*/ 56 h 96"/>
                <a:gd name="T24" fmla="*/ 22 w 96"/>
                <a:gd name="T25" fmla="*/ 56 h 96"/>
                <a:gd name="T26" fmla="*/ 16 w 96"/>
                <a:gd name="T27" fmla="*/ 50 h 96"/>
                <a:gd name="T28" fmla="*/ 16 w 96"/>
                <a:gd name="T29" fmla="*/ 46 h 96"/>
                <a:gd name="T30" fmla="*/ 22 w 96"/>
                <a:gd name="T31" fmla="*/ 40 h 96"/>
                <a:gd name="T32" fmla="*/ 52 w 96"/>
                <a:gd name="T33" fmla="*/ 40 h 96"/>
                <a:gd name="T34" fmla="*/ 42 w 96"/>
                <a:gd name="T35" fmla="*/ 30 h 96"/>
                <a:gd name="T36" fmla="*/ 43 w 96"/>
                <a:gd name="T37" fmla="*/ 22 h 96"/>
                <a:gd name="T38" fmla="*/ 44 w 96"/>
                <a:gd name="T39" fmla="*/ 20 h 96"/>
                <a:gd name="T40" fmla="*/ 52 w 96"/>
                <a:gd name="T41" fmla="*/ 20 h 96"/>
                <a:gd name="T42" fmla="*/ 75 w 96"/>
                <a:gd name="T43" fmla="*/ 44 h 96"/>
                <a:gd name="T44" fmla="*/ 75 w 96"/>
                <a:gd name="T45" fmla="*/ 5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2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0" y="77"/>
                    <a:pt x="48" y="77"/>
                  </a:cubicBezTo>
                  <a:cubicBezTo>
                    <a:pt x="47" y="77"/>
                    <a:pt x="45" y="77"/>
                    <a:pt x="44" y="76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1" y="72"/>
                    <a:pt x="41" y="68"/>
                    <a:pt x="43" y="6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9" y="56"/>
                    <a:pt x="16" y="53"/>
                    <a:pt x="16" y="50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3"/>
                    <a:pt x="19" y="40"/>
                    <a:pt x="2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0" y="28"/>
                    <a:pt x="40" y="24"/>
                    <a:pt x="43" y="22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6" y="18"/>
                    <a:pt x="50" y="18"/>
                    <a:pt x="52" y="20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7" y="46"/>
                    <a:pt x="77" y="50"/>
                    <a:pt x="75" y="52"/>
                  </a:cubicBezTo>
                  <a:close/>
                </a:path>
              </a:pathLst>
            </a:custGeom>
            <a:solidFill>
              <a:srgbClr val="FF8A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294" name="Group 293">
            <a:extLst>
              <a:ext uri="{FF2B5EF4-FFF2-40B4-BE49-F238E27FC236}">
                <a16:creationId xmlns:a16="http://schemas.microsoft.com/office/drawing/2014/main" xmlns="" id="{E09C0AD7-6861-CDB1-9AE7-D5F9C8B9245F}"/>
              </a:ext>
            </a:extLst>
          </p:cNvPr>
          <p:cNvGrpSpPr/>
          <p:nvPr/>
        </p:nvGrpSpPr>
        <p:grpSpPr>
          <a:xfrm>
            <a:off x="6206227" y="3577119"/>
            <a:ext cx="613330" cy="613330"/>
            <a:chOff x="418003" y="2371002"/>
            <a:chExt cx="613330" cy="613330"/>
          </a:xfrm>
        </p:grpSpPr>
        <p:sp>
          <p:nvSpPr>
            <p:cNvPr id="295" name="Oval 294">
              <a:extLst>
                <a:ext uri="{FF2B5EF4-FFF2-40B4-BE49-F238E27FC236}">
                  <a16:creationId xmlns:a16="http://schemas.microsoft.com/office/drawing/2014/main" xmlns="" id="{1C4B315F-8A11-3A74-3C82-4ADAEEC1401B}"/>
                </a:ext>
              </a:extLst>
            </p:cNvPr>
            <p:cNvSpPr/>
            <p:nvPr/>
          </p:nvSpPr>
          <p:spPr>
            <a:xfrm>
              <a:off x="418003" y="2371002"/>
              <a:ext cx="613330" cy="6133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6" name="Freeform 35">
              <a:extLst>
                <a:ext uri="{FF2B5EF4-FFF2-40B4-BE49-F238E27FC236}">
                  <a16:creationId xmlns:a16="http://schemas.microsoft.com/office/drawing/2014/main" xmlns="" id="{0B2CAC04-3546-FD2B-41F1-CC80046B71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206" y="2529131"/>
              <a:ext cx="295768" cy="29707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2 h 96"/>
                <a:gd name="T12" fmla="*/ 53 w 96"/>
                <a:gd name="T13" fmla="*/ 76 h 96"/>
                <a:gd name="T14" fmla="*/ 48 w 96"/>
                <a:gd name="T15" fmla="*/ 77 h 96"/>
                <a:gd name="T16" fmla="*/ 44 w 96"/>
                <a:gd name="T17" fmla="*/ 76 h 96"/>
                <a:gd name="T18" fmla="*/ 43 w 96"/>
                <a:gd name="T19" fmla="*/ 75 h 96"/>
                <a:gd name="T20" fmla="*/ 43 w 96"/>
                <a:gd name="T21" fmla="*/ 66 h 96"/>
                <a:gd name="T22" fmla="*/ 52 w 96"/>
                <a:gd name="T23" fmla="*/ 56 h 96"/>
                <a:gd name="T24" fmla="*/ 22 w 96"/>
                <a:gd name="T25" fmla="*/ 56 h 96"/>
                <a:gd name="T26" fmla="*/ 16 w 96"/>
                <a:gd name="T27" fmla="*/ 50 h 96"/>
                <a:gd name="T28" fmla="*/ 16 w 96"/>
                <a:gd name="T29" fmla="*/ 46 h 96"/>
                <a:gd name="T30" fmla="*/ 22 w 96"/>
                <a:gd name="T31" fmla="*/ 40 h 96"/>
                <a:gd name="T32" fmla="*/ 52 w 96"/>
                <a:gd name="T33" fmla="*/ 40 h 96"/>
                <a:gd name="T34" fmla="*/ 42 w 96"/>
                <a:gd name="T35" fmla="*/ 30 h 96"/>
                <a:gd name="T36" fmla="*/ 43 w 96"/>
                <a:gd name="T37" fmla="*/ 22 h 96"/>
                <a:gd name="T38" fmla="*/ 44 w 96"/>
                <a:gd name="T39" fmla="*/ 20 h 96"/>
                <a:gd name="T40" fmla="*/ 52 w 96"/>
                <a:gd name="T41" fmla="*/ 20 h 96"/>
                <a:gd name="T42" fmla="*/ 75 w 96"/>
                <a:gd name="T43" fmla="*/ 44 h 96"/>
                <a:gd name="T44" fmla="*/ 75 w 96"/>
                <a:gd name="T45" fmla="*/ 5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2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0" y="77"/>
                    <a:pt x="48" y="77"/>
                  </a:cubicBezTo>
                  <a:cubicBezTo>
                    <a:pt x="47" y="77"/>
                    <a:pt x="45" y="77"/>
                    <a:pt x="44" y="76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1" y="72"/>
                    <a:pt x="41" y="68"/>
                    <a:pt x="43" y="6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9" y="56"/>
                    <a:pt x="16" y="53"/>
                    <a:pt x="16" y="50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3"/>
                    <a:pt x="19" y="40"/>
                    <a:pt x="2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0" y="28"/>
                    <a:pt x="40" y="24"/>
                    <a:pt x="43" y="22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6" y="18"/>
                    <a:pt x="50" y="18"/>
                    <a:pt x="52" y="20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7" y="46"/>
                    <a:pt x="77" y="50"/>
                    <a:pt x="75" y="52"/>
                  </a:cubicBezTo>
                  <a:close/>
                </a:path>
              </a:pathLst>
            </a:custGeom>
            <a:solidFill>
              <a:srgbClr val="FF8A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297" name="Group 296">
            <a:extLst>
              <a:ext uri="{FF2B5EF4-FFF2-40B4-BE49-F238E27FC236}">
                <a16:creationId xmlns:a16="http://schemas.microsoft.com/office/drawing/2014/main" xmlns="" id="{01695D24-5C0B-B2F1-7BAE-DCB0D3D8C7AA}"/>
              </a:ext>
            </a:extLst>
          </p:cNvPr>
          <p:cNvGrpSpPr/>
          <p:nvPr/>
        </p:nvGrpSpPr>
        <p:grpSpPr>
          <a:xfrm>
            <a:off x="6206227" y="4546984"/>
            <a:ext cx="613330" cy="613330"/>
            <a:chOff x="418003" y="2371002"/>
            <a:chExt cx="613330" cy="613330"/>
          </a:xfrm>
        </p:grpSpPr>
        <p:sp>
          <p:nvSpPr>
            <p:cNvPr id="298" name="Oval 297">
              <a:extLst>
                <a:ext uri="{FF2B5EF4-FFF2-40B4-BE49-F238E27FC236}">
                  <a16:creationId xmlns:a16="http://schemas.microsoft.com/office/drawing/2014/main" xmlns="" id="{2ACFA49B-E743-F39D-951D-AC8C047838ED}"/>
                </a:ext>
              </a:extLst>
            </p:cNvPr>
            <p:cNvSpPr/>
            <p:nvPr/>
          </p:nvSpPr>
          <p:spPr>
            <a:xfrm>
              <a:off x="418003" y="2371002"/>
              <a:ext cx="613330" cy="6133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99" name="Freeform 35">
              <a:extLst>
                <a:ext uri="{FF2B5EF4-FFF2-40B4-BE49-F238E27FC236}">
                  <a16:creationId xmlns:a16="http://schemas.microsoft.com/office/drawing/2014/main" xmlns="" id="{95526E01-745D-053B-01A9-C100AD6C4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206" y="2529131"/>
              <a:ext cx="295768" cy="29707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2 h 96"/>
                <a:gd name="T12" fmla="*/ 53 w 96"/>
                <a:gd name="T13" fmla="*/ 76 h 96"/>
                <a:gd name="T14" fmla="*/ 48 w 96"/>
                <a:gd name="T15" fmla="*/ 77 h 96"/>
                <a:gd name="T16" fmla="*/ 44 w 96"/>
                <a:gd name="T17" fmla="*/ 76 h 96"/>
                <a:gd name="T18" fmla="*/ 43 w 96"/>
                <a:gd name="T19" fmla="*/ 75 h 96"/>
                <a:gd name="T20" fmla="*/ 43 w 96"/>
                <a:gd name="T21" fmla="*/ 66 h 96"/>
                <a:gd name="T22" fmla="*/ 52 w 96"/>
                <a:gd name="T23" fmla="*/ 56 h 96"/>
                <a:gd name="T24" fmla="*/ 22 w 96"/>
                <a:gd name="T25" fmla="*/ 56 h 96"/>
                <a:gd name="T26" fmla="*/ 16 w 96"/>
                <a:gd name="T27" fmla="*/ 50 h 96"/>
                <a:gd name="T28" fmla="*/ 16 w 96"/>
                <a:gd name="T29" fmla="*/ 46 h 96"/>
                <a:gd name="T30" fmla="*/ 22 w 96"/>
                <a:gd name="T31" fmla="*/ 40 h 96"/>
                <a:gd name="T32" fmla="*/ 52 w 96"/>
                <a:gd name="T33" fmla="*/ 40 h 96"/>
                <a:gd name="T34" fmla="*/ 42 w 96"/>
                <a:gd name="T35" fmla="*/ 30 h 96"/>
                <a:gd name="T36" fmla="*/ 43 w 96"/>
                <a:gd name="T37" fmla="*/ 22 h 96"/>
                <a:gd name="T38" fmla="*/ 44 w 96"/>
                <a:gd name="T39" fmla="*/ 20 h 96"/>
                <a:gd name="T40" fmla="*/ 52 w 96"/>
                <a:gd name="T41" fmla="*/ 20 h 96"/>
                <a:gd name="T42" fmla="*/ 75 w 96"/>
                <a:gd name="T43" fmla="*/ 44 h 96"/>
                <a:gd name="T44" fmla="*/ 75 w 96"/>
                <a:gd name="T45" fmla="*/ 5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2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0" y="77"/>
                    <a:pt x="48" y="77"/>
                  </a:cubicBezTo>
                  <a:cubicBezTo>
                    <a:pt x="47" y="77"/>
                    <a:pt x="45" y="77"/>
                    <a:pt x="44" y="76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1" y="72"/>
                    <a:pt x="41" y="68"/>
                    <a:pt x="43" y="6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9" y="56"/>
                    <a:pt x="16" y="53"/>
                    <a:pt x="16" y="50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3"/>
                    <a:pt x="19" y="40"/>
                    <a:pt x="2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0" y="28"/>
                    <a:pt x="40" y="24"/>
                    <a:pt x="43" y="22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6" y="18"/>
                    <a:pt x="50" y="18"/>
                    <a:pt x="52" y="20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7" y="46"/>
                    <a:pt x="77" y="50"/>
                    <a:pt x="75" y="52"/>
                  </a:cubicBezTo>
                  <a:close/>
                </a:path>
              </a:pathLst>
            </a:custGeom>
            <a:solidFill>
              <a:srgbClr val="FF8A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grpSp>
        <p:nvGrpSpPr>
          <p:cNvPr id="300" name="Group 299">
            <a:extLst>
              <a:ext uri="{FF2B5EF4-FFF2-40B4-BE49-F238E27FC236}">
                <a16:creationId xmlns:a16="http://schemas.microsoft.com/office/drawing/2014/main" xmlns="" id="{0C31696F-98C2-45A3-1B4A-5BEA2DD0CDF8}"/>
              </a:ext>
            </a:extLst>
          </p:cNvPr>
          <p:cNvGrpSpPr/>
          <p:nvPr/>
        </p:nvGrpSpPr>
        <p:grpSpPr>
          <a:xfrm>
            <a:off x="6184841" y="5478554"/>
            <a:ext cx="613330" cy="613330"/>
            <a:chOff x="418003" y="2371002"/>
            <a:chExt cx="613330" cy="613330"/>
          </a:xfrm>
        </p:grpSpPr>
        <p:sp>
          <p:nvSpPr>
            <p:cNvPr id="301" name="Oval 300">
              <a:extLst>
                <a:ext uri="{FF2B5EF4-FFF2-40B4-BE49-F238E27FC236}">
                  <a16:creationId xmlns:a16="http://schemas.microsoft.com/office/drawing/2014/main" xmlns="" id="{87967314-04C2-6FED-EFF2-4613F3B9312A}"/>
                </a:ext>
              </a:extLst>
            </p:cNvPr>
            <p:cNvSpPr/>
            <p:nvPr/>
          </p:nvSpPr>
          <p:spPr>
            <a:xfrm>
              <a:off x="418003" y="2371002"/>
              <a:ext cx="613330" cy="61333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444500" dist="38100" dir="2700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02" name="Freeform 35">
              <a:extLst>
                <a:ext uri="{FF2B5EF4-FFF2-40B4-BE49-F238E27FC236}">
                  <a16:creationId xmlns:a16="http://schemas.microsoft.com/office/drawing/2014/main" xmlns="" id="{F955CCAA-1B70-C646-50FB-212F3D7F9F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206" y="2529131"/>
              <a:ext cx="295768" cy="297072"/>
            </a:xfrm>
            <a:custGeom>
              <a:avLst/>
              <a:gdLst>
                <a:gd name="T0" fmla="*/ 48 w 96"/>
                <a:gd name="T1" fmla="*/ 0 h 96"/>
                <a:gd name="T2" fmla="*/ 0 w 96"/>
                <a:gd name="T3" fmla="*/ 48 h 96"/>
                <a:gd name="T4" fmla="*/ 48 w 96"/>
                <a:gd name="T5" fmla="*/ 96 h 96"/>
                <a:gd name="T6" fmla="*/ 96 w 96"/>
                <a:gd name="T7" fmla="*/ 48 h 96"/>
                <a:gd name="T8" fmla="*/ 48 w 96"/>
                <a:gd name="T9" fmla="*/ 0 h 96"/>
                <a:gd name="T10" fmla="*/ 75 w 96"/>
                <a:gd name="T11" fmla="*/ 52 h 96"/>
                <a:gd name="T12" fmla="*/ 53 w 96"/>
                <a:gd name="T13" fmla="*/ 76 h 96"/>
                <a:gd name="T14" fmla="*/ 48 w 96"/>
                <a:gd name="T15" fmla="*/ 77 h 96"/>
                <a:gd name="T16" fmla="*/ 44 w 96"/>
                <a:gd name="T17" fmla="*/ 76 h 96"/>
                <a:gd name="T18" fmla="*/ 43 w 96"/>
                <a:gd name="T19" fmla="*/ 75 h 96"/>
                <a:gd name="T20" fmla="*/ 43 w 96"/>
                <a:gd name="T21" fmla="*/ 66 h 96"/>
                <a:gd name="T22" fmla="*/ 52 w 96"/>
                <a:gd name="T23" fmla="*/ 56 h 96"/>
                <a:gd name="T24" fmla="*/ 22 w 96"/>
                <a:gd name="T25" fmla="*/ 56 h 96"/>
                <a:gd name="T26" fmla="*/ 16 w 96"/>
                <a:gd name="T27" fmla="*/ 50 h 96"/>
                <a:gd name="T28" fmla="*/ 16 w 96"/>
                <a:gd name="T29" fmla="*/ 46 h 96"/>
                <a:gd name="T30" fmla="*/ 22 w 96"/>
                <a:gd name="T31" fmla="*/ 40 h 96"/>
                <a:gd name="T32" fmla="*/ 52 w 96"/>
                <a:gd name="T33" fmla="*/ 40 h 96"/>
                <a:gd name="T34" fmla="*/ 42 w 96"/>
                <a:gd name="T35" fmla="*/ 30 h 96"/>
                <a:gd name="T36" fmla="*/ 43 w 96"/>
                <a:gd name="T37" fmla="*/ 22 h 96"/>
                <a:gd name="T38" fmla="*/ 44 w 96"/>
                <a:gd name="T39" fmla="*/ 20 h 96"/>
                <a:gd name="T40" fmla="*/ 52 w 96"/>
                <a:gd name="T41" fmla="*/ 20 h 96"/>
                <a:gd name="T42" fmla="*/ 75 w 96"/>
                <a:gd name="T43" fmla="*/ 44 h 96"/>
                <a:gd name="T44" fmla="*/ 75 w 96"/>
                <a:gd name="T45" fmla="*/ 5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96">
                  <a:moveTo>
                    <a:pt x="48" y="0"/>
                  </a:moveTo>
                  <a:cubicBezTo>
                    <a:pt x="22" y="0"/>
                    <a:pt x="0" y="22"/>
                    <a:pt x="0" y="48"/>
                  </a:cubicBezTo>
                  <a:cubicBezTo>
                    <a:pt x="0" y="74"/>
                    <a:pt x="22" y="96"/>
                    <a:pt x="48" y="96"/>
                  </a:cubicBezTo>
                  <a:cubicBezTo>
                    <a:pt x="75" y="96"/>
                    <a:pt x="96" y="74"/>
                    <a:pt x="96" y="48"/>
                  </a:cubicBezTo>
                  <a:cubicBezTo>
                    <a:pt x="96" y="22"/>
                    <a:pt x="75" y="0"/>
                    <a:pt x="48" y="0"/>
                  </a:cubicBezTo>
                  <a:close/>
                  <a:moveTo>
                    <a:pt x="75" y="52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0" y="77"/>
                    <a:pt x="48" y="77"/>
                  </a:cubicBezTo>
                  <a:cubicBezTo>
                    <a:pt x="47" y="77"/>
                    <a:pt x="45" y="77"/>
                    <a:pt x="44" y="76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1" y="72"/>
                    <a:pt x="41" y="68"/>
                    <a:pt x="43" y="6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9" y="56"/>
                    <a:pt x="16" y="53"/>
                    <a:pt x="16" y="50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6" y="43"/>
                    <a:pt x="19" y="40"/>
                    <a:pt x="2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0" y="28"/>
                    <a:pt x="40" y="24"/>
                    <a:pt x="43" y="22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6" y="18"/>
                    <a:pt x="50" y="18"/>
                    <a:pt x="52" y="20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7" y="46"/>
                    <a:pt x="77" y="50"/>
                    <a:pt x="75" y="52"/>
                  </a:cubicBezTo>
                  <a:close/>
                </a:path>
              </a:pathLst>
            </a:custGeom>
            <a:solidFill>
              <a:srgbClr val="FF8A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/>
            </a:p>
          </p:txBody>
        </p:sp>
      </p:grpSp>
      <p:sp>
        <p:nvSpPr>
          <p:cNvPr id="6" name="Title 1">
            <a:extLst>
              <a:ext uri="{FF2B5EF4-FFF2-40B4-BE49-F238E27FC236}">
                <a16:creationId xmlns:a16="http://schemas.microsoft.com/office/drawing/2014/main" xmlns="" id="{F2038027-39AF-B9AD-C7C5-F96EA0560AAA}"/>
              </a:ext>
            </a:extLst>
          </p:cNvPr>
          <p:cNvSpPr txBox="1">
            <a:spLocks/>
          </p:cNvSpPr>
          <p:nvPr/>
        </p:nvSpPr>
        <p:spPr>
          <a:xfrm>
            <a:off x="342836" y="3796390"/>
            <a:ext cx="3622263" cy="62800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  <a:defRPr/>
            </a:pP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mohonan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panjangan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SKK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lakukan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lalui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ortal </a:t>
            </a:r>
            <a:r>
              <a:rPr lang="en-US" sz="16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izinan</a:t>
            </a:r>
            <a:r>
              <a:rPr lang="en-US" sz="16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UPR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xmlns="" id="{E869D785-9696-7321-0242-BFABC7149CB2}"/>
              </a:ext>
            </a:extLst>
          </p:cNvPr>
          <p:cNvSpPr/>
          <p:nvPr/>
        </p:nvSpPr>
        <p:spPr>
          <a:xfrm>
            <a:off x="329793" y="4424396"/>
            <a:ext cx="3305514" cy="393982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https://perizinan.pu.go.id/portal/</a:t>
            </a:r>
            <a:endParaRPr kumimoji="0" lang="en-ID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35385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reeform 196">
            <a:extLst>
              <a:ext uri="{FF2B5EF4-FFF2-40B4-BE49-F238E27FC236}">
                <a16:creationId xmlns:a16="http://schemas.microsoft.com/office/drawing/2014/main" xmlns="" id="{A89A4C07-B939-EF4A-BF45-16C571FFDF5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655959" y="5461780"/>
            <a:ext cx="442840" cy="1380563"/>
          </a:xfrm>
          <a:custGeom>
            <a:avLst/>
            <a:gdLst>
              <a:gd name="T0" fmla="*/ 379 w 386"/>
              <a:gd name="T1" fmla="*/ 464 h 1210"/>
              <a:gd name="T2" fmla="*/ 364 w 386"/>
              <a:gd name="T3" fmla="*/ 267 h 1210"/>
              <a:gd name="T4" fmla="*/ 269 w 386"/>
              <a:gd name="T5" fmla="*/ 191 h 1210"/>
              <a:gd name="T6" fmla="*/ 251 w 386"/>
              <a:gd name="T7" fmla="*/ 145 h 1210"/>
              <a:gd name="T8" fmla="*/ 266 w 386"/>
              <a:gd name="T9" fmla="*/ 116 h 1210"/>
              <a:gd name="T10" fmla="*/ 263 w 386"/>
              <a:gd name="T11" fmla="*/ 82 h 1210"/>
              <a:gd name="T12" fmla="*/ 205 w 386"/>
              <a:gd name="T13" fmla="*/ 0 h 1210"/>
              <a:gd name="T14" fmla="*/ 155 w 386"/>
              <a:gd name="T15" fmla="*/ 90 h 1210"/>
              <a:gd name="T16" fmla="*/ 174 w 386"/>
              <a:gd name="T17" fmla="*/ 126 h 1210"/>
              <a:gd name="T18" fmla="*/ 176 w 386"/>
              <a:gd name="T19" fmla="*/ 167 h 1210"/>
              <a:gd name="T20" fmla="*/ 177 w 386"/>
              <a:gd name="T21" fmla="*/ 167 h 1210"/>
              <a:gd name="T22" fmla="*/ 156 w 386"/>
              <a:gd name="T23" fmla="*/ 186 h 1210"/>
              <a:gd name="T24" fmla="*/ 99 w 386"/>
              <a:gd name="T25" fmla="*/ 207 h 1210"/>
              <a:gd name="T26" fmla="*/ 57 w 386"/>
              <a:gd name="T27" fmla="*/ 370 h 1210"/>
              <a:gd name="T28" fmla="*/ 38 w 386"/>
              <a:gd name="T29" fmla="*/ 604 h 1210"/>
              <a:gd name="T30" fmla="*/ 68 w 386"/>
              <a:gd name="T31" fmla="*/ 598 h 1210"/>
              <a:gd name="T32" fmla="*/ 68 w 386"/>
              <a:gd name="T33" fmla="*/ 607 h 1210"/>
              <a:gd name="T34" fmla="*/ 41 w 386"/>
              <a:gd name="T35" fmla="*/ 619 h 1210"/>
              <a:gd name="T36" fmla="*/ 47 w 386"/>
              <a:gd name="T37" fmla="*/ 662 h 1210"/>
              <a:gd name="T38" fmla="*/ 3 w 386"/>
              <a:gd name="T39" fmla="*/ 849 h 1210"/>
              <a:gd name="T40" fmla="*/ 99 w 386"/>
              <a:gd name="T41" fmla="*/ 898 h 1210"/>
              <a:gd name="T42" fmla="*/ 118 w 386"/>
              <a:gd name="T43" fmla="*/ 899 h 1210"/>
              <a:gd name="T44" fmla="*/ 127 w 386"/>
              <a:gd name="T45" fmla="*/ 1051 h 1210"/>
              <a:gd name="T46" fmla="*/ 118 w 386"/>
              <a:gd name="T47" fmla="*/ 1153 h 1210"/>
              <a:gd name="T48" fmla="*/ 181 w 386"/>
              <a:gd name="T49" fmla="*/ 1159 h 1210"/>
              <a:gd name="T50" fmla="*/ 194 w 386"/>
              <a:gd name="T51" fmla="*/ 1084 h 1210"/>
              <a:gd name="T52" fmla="*/ 192 w 386"/>
              <a:gd name="T53" fmla="*/ 968 h 1210"/>
              <a:gd name="T54" fmla="*/ 222 w 386"/>
              <a:gd name="T55" fmla="*/ 712 h 1210"/>
              <a:gd name="T56" fmla="*/ 252 w 386"/>
              <a:gd name="T57" fmla="*/ 767 h 1210"/>
              <a:gd name="T58" fmla="*/ 285 w 386"/>
              <a:gd name="T59" fmla="*/ 1024 h 1210"/>
              <a:gd name="T60" fmla="*/ 277 w 386"/>
              <a:gd name="T61" fmla="*/ 1067 h 1210"/>
              <a:gd name="T62" fmla="*/ 298 w 386"/>
              <a:gd name="T63" fmla="*/ 1146 h 1210"/>
              <a:gd name="T64" fmla="*/ 355 w 386"/>
              <a:gd name="T65" fmla="*/ 1205 h 1210"/>
              <a:gd name="T66" fmla="*/ 347 w 386"/>
              <a:gd name="T67" fmla="*/ 1105 h 1210"/>
              <a:gd name="T68" fmla="*/ 351 w 386"/>
              <a:gd name="T69" fmla="*/ 1046 h 1210"/>
              <a:gd name="T70" fmla="*/ 356 w 386"/>
              <a:gd name="T71" fmla="*/ 829 h 1210"/>
              <a:gd name="T72" fmla="*/ 354 w 386"/>
              <a:gd name="T73" fmla="*/ 603 h 1210"/>
              <a:gd name="T74" fmla="*/ 367 w 386"/>
              <a:gd name="T75" fmla="*/ 565 h 1210"/>
              <a:gd name="T76" fmla="*/ 109 w 386"/>
              <a:gd name="T77" fmla="*/ 669 h 1210"/>
              <a:gd name="T78" fmla="*/ 91 w 386"/>
              <a:gd name="T79" fmla="*/ 666 h 1210"/>
              <a:gd name="T80" fmla="*/ 90 w 386"/>
              <a:gd name="T81" fmla="*/ 617 h 1210"/>
              <a:gd name="T82" fmla="*/ 101 w 386"/>
              <a:gd name="T83" fmla="*/ 628 h 1210"/>
              <a:gd name="T84" fmla="*/ 108 w 386"/>
              <a:gd name="T85" fmla="*/ 649 h 1210"/>
              <a:gd name="T86" fmla="*/ 223 w 386"/>
              <a:gd name="T87" fmla="*/ 505 h 1210"/>
              <a:gd name="T88" fmla="*/ 221 w 386"/>
              <a:gd name="T89" fmla="*/ 232 h 1210"/>
              <a:gd name="T90" fmla="*/ 215 w 386"/>
              <a:gd name="T91" fmla="*/ 208 h 1210"/>
              <a:gd name="T92" fmla="*/ 205 w 386"/>
              <a:gd name="T93" fmla="*/ 231 h 1210"/>
              <a:gd name="T94" fmla="*/ 199 w 386"/>
              <a:gd name="T95" fmla="*/ 505 h 1210"/>
              <a:gd name="T96" fmla="*/ 190 w 386"/>
              <a:gd name="T97" fmla="*/ 325 h 1210"/>
              <a:gd name="T98" fmla="*/ 173 w 386"/>
              <a:gd name="T99" fmla="*/ 188 h 1210"/>
              <a:gd name="T100" fmla="*/ 182 w 386"/>
              <a:gd name="T101" fmla="*/ 176 h 1210"/>
              <a:gd name="T102" fmla="*/ 248 w 386"/>
              <a:gd name="T103" fmla="*/ 179 h 1210"/>
              <a:gd name="T104" fmla="*/ 259 w 386"/>
              <a:gd name="T105" fmla="*/ 196 h 1210"/>
              <a:gd name="T106" fmla="*/ 258 w 386"/>
              <a:gd name="T107" fmla="*/ 201 h 1210"/>
              <a:gd name="T108" fmla="*/ 260 w 386"/>
              <a:gd name="T109" fmla="*/ 256 h 1210"/>
              <a:gd name="T110" fmla="*/ 301 w 386"/>
              <a:gd name="T111" fmla="*/ 488 h 1210"/>
              <a:gd name="T112" fmla="*/ 360 w 386"/>
              <a:gd name="T113" fmla="*/ 585 h 1210"/>
              <a:gd name="T114" fmla="*/ 328 w 386"/>
              <a:gd name="T115" fmla="*/ 554 h 1210"/>
              <a:gd name="T116" fmla="*/ 360 w 386"/>
              <a:gd name="T117" fmla="*/ 585 h 1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86" h="1210">
                <a:moveTo>
                  <a:pt x="379" y="512"/>
                </a:moveTo>
                <a:cubicBezTo>
                  <a:pt x="385" y="497"/>
                  <a:pt x="386" y="471"/>
                  <a:pt x="379" y="464"/>
                </a:cubicBezTo>
                <a:cubicBezTo>
                  <a:pt x="372" y="456"/>
                  <a:pt x="383" y="413"/>
                  <a:pt x="376" y="380"/>
                </a:cubicBezTo>
                <a:cubicBezTo>
                  <a:pt x="370" y="347"/>
                  <a:pt x="365" y="295"/>
                  <a:pt x="364" y="267"/>
                </a:cubicBezTo>
                <a:cubicBezTo>
                  <a:pt x="364" y="239"/>
                  <a:pt x="362" y="219"/>
                  <a:pt x="326" y="210"/>
                </a:cubicBezTo>
                <a:cubicBezTo>
                  <a:pt x="302" y="204"/>
                  <a:pt x="282" y="197"/>
                  <a:pt x="269" y="191"/>
                </a:cubicBezTo>
                <a:cubicBezTo>
                  <a:pt x="269" y="191"/>
                  <a:pt x="255" y="179"/>
                  <a:pt x="252" y="168"/>
                </a:cubicBezTo>
                <a:cubicBezTo>
                  <a:pt x="251" y="159"/>
                  <a:pt x="251" y="150"/>
                  <a:pt x="251" y="145"/>
                </a:cubicBezTo>
                <a:cubicBezTo>
                  <a:pt x="253" y="136"/>
                  <a:pt x="253" y="129"/>
                  <a:pt x="253" y="124"/>
                </a:cubicBezTo>
                <a:cubicBezTo>
                  <a:pt x="253" y="118"/>
                  <a:pt x="264" y="126"/>
                  <a:pt x="266" y="116"/>
                </a:cubicBezTo>
                <a:cubicBezTo>
                  <a:pt x="269" y="107"/>
                  <a:pt x="271" y="85"/>
                  <a:pt x="269" y="84"/>
                </a:cubicBezTo>
                <a:cubicBezTo>
                  <a:pt x="267" y="82"/>
                  <a:pt x="265" y="82"/>
                  <a:pt x="263" y="82"/>
                </a:cubicBezTo>
                <a:cubicBezTo>
                  <a:pt x="263" y="79"/>
                  <a:pt x="265" y="59"/>
                  <a:pt x="263" y="38"/>
                </a:cubicBezTo>
                <a:cubicBezTo>
                  <a:pt x="262" y="18"/>
                  <a:pt x="242" y="2"/>
                  <a:pt x="205" y="0"/>
                </a:cubicBezTo>
                <a:cubicBezTo>
                  <a:pt x="184" y="0"/>
                  <a:pt x="160" y="16"/>
                  <a:pt x="157" y="38"/>
                </a:cubicBezTo>
                <a:cubicBezTo>
                  <a:pt x="154" y="60"/>
                  <a:pt x="155" y="90"/>
                  <a:pt x="155" y="90"/>
                </a:cubicBezTo>
                <a:cubicBezTo>
                  <a:pt x="155" y="90"/>
                  <a:pt x="148" y="105"/>
                  <a:pt x="154" y="117"/>
                </a:cubicBezTo>
                <a:cubicBezTo>
                  <a:pt x="160" y="129"/>
                  <a:pt x="174" y="126"/>
                  <a:pt x="174" y="126"/>
                </a:cubicBezTo>
                <a:cubicBezTo>
                  <a:pt x="174" y="126"/>
                  <a:pt x="177" y="145"/>
                  <a:pt x="177" y="155"/>
                </a:cubicBezTo>
                <a:cubicBezTo>
                  <a:pt x="177" y="160"/>
                  <a:pt x="177" y="164"/>
                  <a:pt x="176" y="167"/>
                </a:cubicBezTo>
                <a:cubicBezTo>
                  <a:pt x="176" y="167"/>
                  <a:pt x="176" y="167"/>
                  <a:pt x="176" y="167"/>
                </a:cubicBezTo>
                <a:cubicBezTo>
                  <a:pt x="176" y="167"/>
                  <a:pt x="177" y="167"/>
                  <a:pt x="177" y="167"/>
                </a:cubicBezTo>
                <a:cubicBezTo>
                  <a:pt x="176" y="167"/>
                  <a:pt x="176" y="167"/>
                  <a:pt x="176" y="167"/>
                </a:cubicBezTo>
                <a:cubicBezTo>
                  <a:pt x="176" y="167"/>
                  <a:pt x="164" y="182"/>
                  <a:pt x="156" y="186"/>
                </a:cubicBezTo>
                <a:cubicBezTo>
                  <a:pt x="143" y="192"/>
                  <a:pt x="123" y="200"/>
                  <a:pt x="107" y="205"/>
                </a:cubicBezTo>
                <a:cubicBezTo>
                  <a:pt x="104" y="206"/>
                  <a:pt x="102" y="206"/>
                  <a:pt x="99" y="207"/>
                </a:cubicBezTo>
                <a:cubicBezTo>
                  <a:pt x="80" y="213"/>
                  <a:pt x="65" y="218"/>
                  <a:pt x="65" y="244"/>
                </a:cubicBezTo>
                <a:cubicBezTo>
                  <a:pt x="64" y="274"/>
                  <a:pt x="61" y="331"/>
                  <a:pt x="57" y="370"/>
                </a:cubicBezTo>
                <a:cubicBezTo>
                  <a:pt x="53" y="408"/>
                  <a:pt x="41" y="490"/>
                  <a:pt x="41" y="516"/>
                </a:cubicBezTo>
                <a:cubicBezTo>
                  <a:pt x="40" y="542"/>
                  <a:pt x="37" y="598"/>
                  <a:pt x="38" y="604"/>
                </a:cubicBezTo>
                <a:cubicBezTo>
                  <a:pt x="38" y="609"/>
                  <a:pt x="42" y="609"/>
                  <a:pt x="42" y="615"/>
                </a:cubicBezTo>
                <a:cubicBezTo>
                  <a:pt x="43" y="612"/>
                  <a:pt x="48" y="598"/>
                  <a:pt x="68" y="598"/>
                </a:cubicBezTo>
                <a:cubicBezTo>
                  <a:pt x="90" y="598"/>
                  <a:pt x="90" y="614"/>
                  <a:pt x="90" y="614"/>
                </a:cubicBezTo>
                <a:cubicBezTo>
                  <a:pt x="83" y="607"/>
                  <a:pt x="83" y="607"/>
                  <a:pt x="68" y="607"/>
                </a:cubicBezTo>
                <a:cubicBezTo>
                  <a:pt x="54" y="606"/>
                  <a:pt x="43" y="614"/>
                  <a:pt x="42" y="615"/>
                </a:cubicBezTo>
                <a:cubicBezTo>
                  <a:pt x="42" y="616"/>
                  <a:pt x="42" y="618"/>
                  <a:pt x="41" y="619"/>
                </a:cubicBezTo>
                <a:cubicBezTo>
                  <a:pt x="39" y="630"/>
                  <a:pt x="39" y="639"/>
                  <a:pt x="45" y="646"/>
                </a:cubicBezTo>
                <a:cubicBezTo>
                  <a:pt x="50" y="653"/>
                  <a:pt x="47" y="662"/>
                  <a:pt x="47" y="662"/>
                </a:cubicBezTo>
                <a:cubicBezTo>
                  <a:pt x="0" y="660"/>
                  <a:pt x="0" y="660"/>
                  <a:pt x="0" y="660"/>
                </a:cubicBezTo>
                <a:cubicBezTo>
                  <a:pt x="3" y="849"/>
                  <a:pt x="3" y="849"/>
                  <a:pt x="3" y="849"/>
                </a:cubicBezTo>
                <a:cubicBezTo>
                  <a:pt x="78" y="907"/>
                  <a:pt x="78" y="907"/>
                  <a:pt x="78" y="907"/>
                </a:cubicBezTo>
                <a:cubicBezTo>
                  <a:pt x="78" y="907"/>
                  <a:pt x="89" y="899"/>
                  <a:pt x="99" y="898"/>
                </a:cubicBezTo>
                <a:cubicBezTo>
                  <a:pt x="100" y="898"/>
                  <a:pt x="101" y="898"/>
                  <a:pt x="101" y="898"/>
                </a:cubicBezTo>
                <a:cubicBezTo>
                  <a:pt x="112" y="898"/>
                  <a:pt x="118" y="899"/>
                  <a:pt x="118" y="899"/>
                </a:cubicBezTo>
                <a:cubicBezTo>
                  <a:pt x="118" y="899"/>
                  <a:pt x="115" y="955"/>
                  <a:pt x="115" y="977"/>
                </a:cubicBezTo>
                <a:cubicBezTo>
                  <a:pt x="115" y="1000"/>
                  <a:pt x="117" y="1035"/>
                  <a:pt x="127" y="1051"/>
                </a:cubicBezTo>
                <a:cubicBezTo>
                  <a:pt x="136" y="1067"/>
                  <a:pt x="138" y="1073"/>
                  <a:pt x="138" y="1087"/>
                </a:cubicBezTo>
                <a:cubicBezTo>
                  <a:pt x="138" y="1101"/>
                  <a:pt x="117" y="1140"/>
                  <a:pt x="118" y="1153"/>
                </a:cubicBezTo>
                <a:cubicBezTo>
                  <a:pt x="118" y="1166"/>
                  <a:pt x="121" y="1186"/>
                  <a:pt x="143" y="1186"/>
                </a:cubicBezTo>
                <a:cubicBezTo>
                  <a:pt x="165" y="1185"/>
                  <a:pt x="181" y="1176"/>
                  <a:pt x="181" y="1159"/>
                </a:cubicBezTo>
                <a:cubicBezTo>
                  <a:pt x="181" y="1141"/>
                  <a:pt x="178" y="1130"/>
                  <a:pt x="185" y="1124"/>
                </a:cubicBezTo>
                <a:cubicBezTo>
                  <a:pt x="193" y="1117"/>
                  <a:pt x="181" y="1101"/>
                  <a:pt x="194" y="1084"/>
                </a:cubicBezTo>
                <a:cubicBezTo>
                  <a:pt x="206" y="1067"/>
                  <a:pt x="193" y="1066"/>
                  <a:pt x="196" y="1050"/>
                </a:cubicBezTo>
                <a:cubicBezTo>
                  <a:pt x="199" y="1034"/>
                  <a:pt x="193" y="987"/>
                  <a:pt x="192" y="968"/>
                </a:cubicBezTo>
                <a:cubicBezTo>
                  <a:pt x="191" y="949"/>
                  <a:pt x="194" y="926"/>
                  <a:pt x="204" y="846"/>
                </a:cubicBezTo>
                <a:cubicBezTo>
                  <a:pt x="213" y="765"/>
                  <a:pt x="219" y="729"/>
                  <a:pt x="222" y="712"/>
                </a:cubicBezTo>
                <a:cubicBezTo>
                  <a:pt x="225" y="694"/>
                  <a:pt x="229" y="672"/>
                  <a:pt x="229" y="672"/>
                </a:cubicBezTo>
                <a:cubicBezTo>
                  <a:pt x="229" y="672"/>
                  <a:pt x="242" y="748"/>
                  <a:pt x="252" y="767"/>
                </a:cubicBezTo>
                <a:cubicBezTo>
                  <a:pt x="262" y="785"/>
                  <a:pt x="274" y="879"/>
                  <a:pt x="277" y="907"/>
                </a:cubicBezTo>
                <a:cubicBezTo>
                  <a:pt x="280" y="934"/>
                  <a:pt x="278" y="1015"/>
                  <a:pt x="285" y="1024"/>
                </a:cubicBezTo>
                <a:cubicBezTo>
                  <a:pt x="291" y="1032"/>
                  <a:pt x="294" y="1044"/>
                  <a:pt x="294" y="1044"/>
                </a:cubicBezTo>
                <a:cubicBezTo>
                  <a:pt x="294" y="1044"/>
                  <a:pt x="277" y="1054"/>
                  <a:pt x="277" y="1067"/>
                </a:cubicBezTo>
                <a:cubicBezTo>
                  <a:pt x="277" y="1081"/>
                  <a:pt x="290" y="1092"/>
                  <a:pt x="289" y="1110"/>
                </a:cubicBezTo>
                <a:cubicBezTo>
                  <a:pt x="289" y="1128"/>
                  <a:pt x="291" y="1143"/>
                  <a:pt x="298" y="1146"/>
                </a:cubicBezTo>
                <a:cubicBezTo>
                  <a:pt x="305" y="1150"/>
                  <a:pt x="304" y="1180"/>
                  <a:pt x="313" y="1191"/>
                </a:cubicBezTo>
                <a:cubicBezTo>
                  <a:pt x="322" y="1201"/>
                  <a:pt x="337" y="1210"/>
                  <a:pt x="355" y="1205"/>
                </a:cubicBezTo>
                <a:cubicBezTo>
                  <a:pt x="373" y="1199"/>
                  <a:pt x="373" y="1175"/>
                  <a:pt x="364" y="1152"/>
                </a:cubicBezTo>
                <a:cubicBezTo>
                  <a:pt x="355" y="1129"/>
                  <a:pt x="344" y="1114"/>
                  <a:pt x="347" y="1105"/>
                </a:cubicBezTo>
                <a:cubicBezTo>
                  <a:pt x="351" y="1096"/>
                  <a:pt x="354" y="1082"/>
                  <a:pt x="345" y="1073"/>
                </a:cubicBezTo>
                <a:cubicBezTo>
                  <a:pt x="336" y="1064"/>
                  <a:pt x="345" y="1054"/>
                  <a:pt x="351" y="1046"/>
                </a:cubicBezTo>
                <a:cubicBezTo>
                  <a:pt x="357" y="1038"/>
                  <a:pt x="356" y="1002"/>
                  <a:pt x="356" y="982"/>
                </a:cubicBezTo>
                <a:cubicBezTo>
                  <a:pt x="357" y="962"/>
                  <a:pt x="354" y="864"/>
                  <a:pt x="356" y="829"/>
                </a:cubicBezTo>
                <a:cubicBezTo>
                  <a:pt x="357" y="793"/>
                  <a:pt x="360" y="685"/>
                  <a:pt x="355" y="655"/>
                </a:cubicBezTo>
                <a:cubicBezTo>
                  <a:pt x="350" y="625"/>
                  <a:pt x="354" y="603"/>
                  <a:pt x="354" y="603"/>
                </a:cubicBezTo>
                <a:cubicBezTo>
                  <a:pt x="354" y="603"/>
                  <a:pt x="366" y="609"/>
                  <a:pt x="366" y="597"/>
                </a:cubicBezTo>
                <a:cubicBezTo>
                  <a:pt x="366" y="586"/>
                  <a:pt x="362" y="584"/>
                  <a:pt x="367" y="565"/>
                </a:cubicBezTo>
                <a:cubicBezTo>
                  <a:pt x="372" y="545"/>
                  <a:pt x="373" y="527"/>
                  <a:pt x="379" y="512"/>
                </a:cubicBezTo>
                <a:close/>
                <a:moveTo>
                  <a:pt x="109" y="669"/>
                </a:moveTo>
                <a:cubicBezTo>
                  <a:pt x="99" y="668"/>
                  <a:pt x="99" y="668"/>
                  <a:pt x="99" y="668"/>
                </a:cubicBezTo>
                <a:cubicBezTo>
                  <a:pt x="91" y="666"/>
                  <a:pt x="91" y="666"/>
                  <a:pt x="91" y="666"/>
                </a:cubicBezTo>
                <a:cubicBezTo>
                  <a:pt x="91" y="666"/>
                  <a:pt x="93" y="653"/>
                  <a:pt x="90" y="644"/>
                </a:cubicBezTo>
                <a:cubicBezTo>
                  <a:pt x="87" y="635"/>
                  <a:pt x="88" y="627"/>
                  <a:pt x="90" y="617"/>
                </a:cubicBezTo>
                <a:cubicBezTo>
                  <a:pt x="90" y="617"/>
                  <a:pt x="93" y="627"/>
                  <a:pt x="99" y="628"/>
                </a:cubicBezTo>
                <a:cubicBezTo>
                  <a:pt x="100" y="628"/>
                  <a:pt x="100" y="628"/>
                  <a:pt x="101" y="628"/>
                </a:cubicBezTo>
                <a:cubicBezTo>
                  <a:pt x="108" y="628"/>
                  <a:pt x="111" y="629"/>
                  <a:pt x="111" y="629"/>
                </a:cubicBezTo>
                <a:cubicBezTo>
                  <a:pt x="111" y="629"/>
                  <a:pt x="108" y="640"/>
                  <a:pt x="108" y="649"/>
                </a:cubicBezTo>
                <a:cubicBezTo>
                  <a:pt x="108" y="659"/>
                  <a:pt x="109" y="669"/>
                  <a:pt x="109" y="669"/>
                </a:cubicBezTo>
                <a:close/>
                <a:moveTo>
                  <a:pt x="223" y="505"/>
                </a:moveTo>
                <a:cubicBezTo>
                  <a:pt x="225" y="464"/>
                  <a:pt x="224" y="347"/>
                  <a:pt x="223" y="322"/>
                </a:cubicBezTo>
                <a:cubicBezTo>
                  <a:pt x="223" y="296"/>
                  <a:pt x="218" y="239"/>
                  <a:pt x="221" y="232"/>
                </a:cubicBezTo>
                <a:cubicBezTo>
                  <a:pt x="224" y="224"/>
                  <a:pt x="232" y="218"/>
                  <a:pt x="241" y="223"/>
                </a:cubicBezTo>
                <a:cubicBezTo>
                  <a:pt x="241" y="223"/>
                  <a:pt x="231" y="208"/>
                  <a:pt x="215" y="208"/>
                </a:cubicBezTo>
                <a:cubicBezTo>
                  <a:pt x="199" y="208"/>
                  <a:pt x="188" y="223"/>
                  <a:pt x="188" y="223"/>
                </a:cubicBezTo>
                <a:cubicBezTo>
                  <a:pt x="188" y="223"/>
                  <a:pt x="206" y="219"/>
                  <a:pt x="205" y="231"/>
                </a:cubicBezTo>
                <a:cubicBezTo>
                  <a:pt x="205" y="243"/>
                  <a:pt x="199" y="305"/>
                  <a:pt x="199" y="346"/>
                </a:cubicBezTo>
                <a:cubicBezTo>
                  <a:pt x="199" y="383"/>
                  <a:pt x="196" y="472"/>
                  <a:pt x="199" y="505"/>
                </a:cubicBezTo>
                <a:cubicBezTo>
                  <a:pt x="187" y="504"/>
                  <a:pt x="183" y="503"/>
                  <a:pt x="183" y="503"/>
                </a:cubicBezTo>
                <a:cubicBezTo>
                  <a:pt x="183" y="503"/>
                  <a:pt x="194" y="386"/>
                  <a:pt x="190" y="325"/>
                </a:cubicBezTo>
                <a:cubicBezTo>
                  <a:pt x="186" y="279"/>
                  <a:pt x="178" y="220"/>
                  <a:pt x="173" y="188"/>
                </a:cubicBezTo>
                <a:cubicBezTo>
                  <a:pt x="173" y="188"/>
                  <a:pt x="173" y="188"/>
                  <a:pt x="173" y="188"/>
                </a:cubicBezTo>
                <a:cubicBezTo>
                  <a:pt x="173" y="188"/>
                  <a:pt x="178" y="170"/>
                  <a:pt x="182" y="176"/>
                </a:cubicBezTo>
                <a:cubicBezTo>
                  <a:pt x="182" y="176"/>
                  <a:pt x="182" y="176"/>
                  <a:pt x="182" y="176"/>
                </a:cubicBezTo>
                <a:cubicBezTo>
                  <a:pt x="190" y="189"/>
                  <a:pt x="203" y="204"/>
                  <a:pt x="212" y="204"/>
                </a:cubicBezTo>
                <a:cubicBezTo>
                  <a:pt x="222" y="204"/>
                  <a:pt x="238" y="193"/>
                  <a:pt x="248" y="179"/>
                </a:cubicBezTo>
                <a:cubicBezTo>
                  <a:pt x="248" y="179"/>
                  <a:pt x="248" y="179"/>
                  <a:pt x="248" y="179"/>
                </a:cubicBezTo>
                <a:cubicBezTo>
                  <a:pt x="248" y="179"/>
                  <a:pt x="258" y="182"/>
                  <a:pt x="259" y="196"/>
                </a:cubicBezTo>
                <a:cubicBezTo>
                  <a:pt x="259" y="197"/>
                  <a:pt x="258" y="199"/>
                  <a:pt x="258" y="201"/>
                </a:cubicBezTo>
                <a:cubicBezTo>
                  <a:pt x="258" y="201"/>
                  <a:pt x="258" y="201"/>
                  <a:pt x="258" y="201"/>
                </a:cubicBezTo>
                <a:cubicBezTo>
                  <a:pt x="258" y="201"/>
                  <a:pt x="258" y="201"/>
                  <a:pt x="258" y="201"/>
                </a:cubicBezTo>
                <a:cubicBezTo>
                  <a:pt x="258" y="213"/>
                  <a:pt x="258" y="230"/>
                  <a:pt x="260" y="256"/>
                </a:cubicBezTo>
                <a:cubicBezTo>
                  <a:pt x="263" y="335"/>
                  <a:pt x="277" y="429"/>
                  <a:pt x="284" y="450"/>
                </a:cubicBezTo>
                <a:cubicBezTo>
                  <a:pt x="292" y="472"/>
                  <a:pt x="301" y="488"/>
                  <a:pt x="301" y="488"/>
                </a:cubicBezTo>
                <a:cubicBezTo>
                  <a:pt x="301" y="488"/>
                  <a:pt x="251" y="504"/>
                  <a:pt x="223" y="505"/>
                </a:cubicBezTo>
                <a:close/>
                <a:moveTo>
                  <a:pt x="360" y="585"/>
                </a:moveTo>
                <a:cubicBezTo>
                  <a:pt x="358" y="573"/>
                  <a:pt x="361" y="568"/>
                  <a:pt x="352" y="561"/>
                </a:cubicBezTo>
                <a:cubicBezTo>
                  <a:pt x="343" y="554"/>
                  <a:pt x="328" y="554"/>
                  <a:pt x="328" y="554"/>
                </a:cubicBezTo>
                <a:cubicBezTo>
                  <a:pt x="328" y="554"/>
                  <a:pt x="350" y="545"/>
                  <a:pt x="360" y="557"/>
                </a:cubicBezTo>
                <a:cubicBezTo>
                  <a:pt x="369" y="570"/>
                  <a:pt x="360" y="585"/>
                  <a:pt x="360" y="585"/>
                </a:cubicBezTo>
                <a:close/>
              </a:path>
            </a:pathLst>
          </a:custGeom>
          <a:solidFill>
            <a:srgbClr val="15405B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95A5A6"/>
              </a:solidFill>
              <a:effectLst/>
              <a:uLnTx/>
              <a:uFillTx/>
            </a:endParaRPr>
          </a:p>
        </p:txBody>
      </p:sp>
      <p:sp>
        <p:nvSpPr>
          <p:cNvPr id="55" name="Freeform 192">
            <a:extLst>
              <a:ext uri="{FF2B5EF4-FFF2-40B4-BE49-F238E27FC236}">
                <a16:creationId xmlns:a16="http://schemas.microsoft.com/office/drawing/2014/main" xmlns="" id="{CA4B061C-6404-EB41-AADD-5388C79241A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3782" y="5372034"/>
            <a:ext cx="584206" cy="1380312"/>
          </a:xfrm>
          <a:custGeom>
            <a:avLst/>
            <a:gdLst>
              <a:gd name="T0" fmla="*/ 625 w 693"/>
              <a:gd name="T1" fmla="*/ 1522 h 1641"/>
              <a:gd name="T2" fmla="*/ 520 w 693"/>
              <a:gd name="T3" fmla="*/ 985 h 1641"/>
              <a:gd name="T4" fmla="*/ 498 w 693"/>
              <a:gd name="T5" fmla="*/ 789 h 1641"/>
              <a:gd name="T6" fmla="*/ 532 w 693"/>
              <a:gd name="T7" fmla="*/ 760 h 1641"/>
              <a:gd name="T8" fmla="*/ 571 w 693"/>
              <a:gd name="T9" fmla="*/ 506 h 1641"/>
              <a:gd name="T10" fmla="*/ 505 w 693"/>
              <a:gd name="T11" fmla="*/ 282 h 1641"/>
              <a:gd name="T12" fmla="*/ 394 w 693"/>
              <a:gd name="T13" fmla="*/ 243 h 1641"/>
              <a:gd name="T14" fmla="*/ 344 w 693"/>
              <a:gd name="T15" fmla="*/ 214 h 1641"/>
              <a:gd name="T16" fmla="*/ 341 w 693"/>
              <a:gd name="T17" fmla="*/ 204 h 1641"/>
              <a:gd name="T18" fmla="*/ 354 w 693"/>
              <a:gd name="T19" fmla="*/ 65 h 1641"/>
              <a:gd name="T20" fmla="*/ 313 w 693"/>
              <a:gd name="T21" fmla="*/ 0 h 1641"/>
              <a:gd name="T22" fmla="*/ 228 w 693"/>
              <a:gd name="T23" fmla="*/ 24 h 1641"/>
              <a:gd name="T24" fmla="*/ 214 w 693"/>
              <a:gd name="T25" fmla="*/ 121 h 1641"/>
              <a:gd name="T26" fmla="*/ 240 w 693"/>
              <a:gd name="T27" fmla="*/ 200 h 1641"/>
              <a:gd name="T28" fmla="*/ 240 w 693"/>
              <a:gd name="T29" fmla="*/ 215 h 1641"/>
              <a:gd name="T30" fmla="*/ 147 w 693"/>
              <a:gd name="T31" fmla="*/ 272 h 1641"/>
              <a:gd name="T32" fmla="*/ 22 w 693"/>
              <a:gd name="T33" fmla="*/ 531 h 1641"/>
              <a:gd name="T34" fmla="*/ 113 w 693"/>
              <a:gd name="T35" fmla="*/ 777 h 1641"/>
              <a:gd name="T36" fmla="*/ 143 w 693"/>
              <a:gd name="T37" fmla="*/ 802 h 1641"/>
              <a:gd name="T38" fmla="*/ 220 w 693"/>
              <a:gd name="T39" fmla="*/ 1183 h 1641"/>
              <a:gd name="T40" fmla="*/ 267 w 693"/>
              <a:gd name="T41" fmla="*/ 1470 h 1641"/>
              <a:gd name="T42" fmla="*/ 231 w 693"/>
              <a:gd name="T43" fmla="*/ 1602 h 1641"/>
              <a:gd name="T44" fmla="*/ 343 w 693"/>
              <a:gd name="T45" fmla="*/ 1595 h 1641"/>
              <a:gd name="T46" fmla="*/ 351 w 693"/>
              <a:gd name="T47" fmla="*/ 1504 h 1641"/>
              <a:gd name="T48" fmla="*/ 342 w 693"/>
              <a:gd name="T49" fmla="*/ 1327 h 1641"/>
              <a:gd name="T50" fmla="*/ 334 w 693"/>
              <a:gd name="T51" fmla="*/ 1168 h 1641"/>
              <a:gd name="T52" fmla="*/ 372 w 693"/>
              <a:gd name="T53" fmla="*/ 991 h 1641"/>
              <a:gd name="T54" fmla="*/ 495 w 693"/>
              <a:gd name="T55" fmla="*/ 1455 h 1641"/>
              <a:gd name="T56" fmla="*/ 553 w 693"/>
              <a:gd name="T57" fmla="*/ 1595 h 1641"/>
              <a:gd name="T58" fmla="*/ 693 w 693"/>
              <a:gd name="T59" fmla="*/ 1628 h 1641"/>
              <a:gd name="T60" fmla="*/ 115 w 693"/>
              <a:gd name="T61" fmla="*/ 608 h 1641"/>
              <a:gd name="T62" fmla="*/ 125 w 693"/>
              <a:gd name="T63" fmla="*/ 524 h 1641"/>
              <a:gd name="T64" fmla="*/ 395 w 693"/>
              <a:gd name="T65" fmla="*/ 690 h 1641"/>
              <a:gd name="T66" fmla="*/ 314 w 693"/>
              <a:gd name="T67" fmla="*/ 307 h 1641"/>
              <a:gd name="T68" fmla="*/ 280 w 693"/>
              <a:gd name="T69" fmla="*/ 291 h 1641"/>
              <a:gd name="T70" fmla="*/ 295 w 693"/>
              <a:gd name="T71" fmla="*/ 485 h 1641"/>
              <a:gd name="T72" fmla="*/ 274 w 693"/>
              <a:gd name="T73" fmla="*/ 687 h 1641"/>
              <a:gd name="T74" fmla="*/ 235 w 693"/>
              <a:gd name="T75" fmla="*/ 542 h 1641"/>
              <a:gd name="T76" fmla="*/ 248 w 693"/>
              <a:gd name="T77" fmla="*/ 225 h 1641"/>
              <a:gd name="T78" fmla="*/ 334 w 693"/>
              <a:gd name="T79" fmla="*/ 227 h 1641"/>
              <a:gd name="T80" fmla="*/ 381 w 693"/>
              <a:gd name="T81" fmla="*/ 413 h 1641"/>
              <a:gd name="T82" fmla="*/ 411 w 693"/>
              <a:gd name="T83" fmla="*/ 689 h 1641"/>
              <a:gd name="T84" fmla="*/ 473 w 693"/>
              <a:gd name="T85" fmla="*/ 485 h 1641"/>
              <a:gd name="T86" fmla="*/ 501 w 693"/>
              <a:gd name="T87" fmla="*/ 576 h 1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93" h="1641">
                <a:moveTo>
                  <a:pt x="669" y="1590"/>
                </a:moveTo>
                <a:cubicBezTo>
                  <a:pt x="650" y="1579"/>
                  <a:pt x="636" y="1550"/>
                  <a:pt x="629" y="1542"/>
                </a:cubicBezTo>
                <a:cubicBezTo>
                  <a:pt x="622" y="1535"/>
                  <a:pt x="631" y="1537"/>
                  <a:pt x="625" y="1522"/>
                </a:cubicBezTo>
                <a:cubicBezTo>
                  <a:pt x="619" y="1507"/>
                  <a:pt x="600" y="1419"/>
                  <a:pt x="597" y="1391"/>
                </a:cubicBezTo>
                <a:cubicBezTo>
                  <a:pt x="593" y="1362"/>
                  <a:pt x="595" y="1265"/>
                  <a:pt x="582" y="1219"/>
                </a:cubicBezTo>
                <a:cubicBezTo>
                  <a:pt x="568" y="1173"/>
                  <a:pt x="526" y="1025"/>
                  <a:pt x="520" y="985"/>
                </a:cubicBezTo>
                <a:cubicBezTo>
                  <a:pt x="514" y="944"/>
                  <a:pt x="505" y="903"/>
                  <a:pt x="505" y="881"/>
                </a:cubicBezTo>
                <a:cubicBezTo>
                  <a:pt x="505" y="858"/>
                  <a:pt x="503" y="843"/>
                  <a:pt x="496" y="827"/>
                </a:cubicBezTo>
                <a:cubicBezTo>
                  <a:pt x="490" y="811"/>
                  <a:pt x="498" y="789"/>
                  <a:pt x="498" y="789"/>
                </a:cubicBezTo>
                <a:cubicBezTo>
                  <a:pt x="498" y="789"/>
                  <a:pt x="514" y="801"/>
                  <a:pt x="524" y="810"/>
                </a:cubicBezTo>
                <a:cubicBezTo>
                  <a:pt x="534" y="819"/>
                  <a:pt x="534" y="805"/>
                  <a:pt x="529" y="785"/>
                </a:cubicBezTo>
                <a:cubicBezTo>
                  <a:pt x="524" y="765"/>
                  <a:pt x="527" y="754"/>
                  <a:pt x="532" y="760"/>
                </a:cubicBezTo>
                <a:cubicBezTo>
                  <a:pt x="537" y="767"/>
                  <a:pt x="541" y="728"/>
                  <a:pt x="553" y="705"/>
                </a:cubicBezTo>
                <a:cubicBezTo>
                  <a:pt x="566" y="681"/>
                  <a:pt x="593" y="633"/>
                  <a:pt x="587" y="606"/>
                </a:cubicBezTo>
                <a:cubicBezTo>
                  <a:pt x="581" y="578"/>
                  <a:pt x="578" y="530"/>
                  <a:pt x="571" y="506"/>
                </a:cubicBezTo>
                <a:cubicBezTo>
                  <a:pt x="563" y="483"/>
                  <a:pt x="556" y="441"/>
                  <a:pt x="547" y="415"/>
                </a:cubicBezTo>
                <a:cubicBezTo>
                  <a:pt x="538" y="389"/>
                  <a:pt x="540" y="376"/>
                  <a:pt x="529" y="350"/>
                </a:cubicBezTo>
                <a:cubicBezTo>
                  <a:pt x="517" y="324"/>
                  <a:pt x="505" y="295"/>
                  <a:pt x="505" y="282"/>
                </a:cubicBezTo>
                <a:cubicBezTo>
                  <a:pt x="505" y="275"/>
                  <a:pt x="502" y="269"/>
                  <a:pt x="491" y="265"/>
                </a:cubicBezTo>
                <a:cubicBezTo>
                  <a:pt x="483" y="261"/>
                  <a:pt x="469" y="258"/>
                  <a:pt x="449" y="255"/>
                </a:cubicBezTo>
                <a:cubicBezTo>
                  <a:pt x="428" y="252"/>
                  <a:pt x="409" y="248"/>
                  <a:pt x="394" y="243"/>
                </a:cubicBezTo>
                <a:cubicBezTo>
                  <a:pt x="393" y="243"/>
                  <a:pt x="392" y="242"/>
                  <a:pt x="391" y="242"/>
                </a:cubicBezTo>
                <a:cubicBezTo>
                  <a:pt x="391" y="242"/>
                  <a:pt x="390" y="242"/>
                  <a:pt x="390" y="242"/>
                </a:cubicBezTo>
                <a:cubicBezTo>
                  <a:pt x="370" y="235"/>
                  <a:pt x="344" y="214"/>
                  <a:pt x="344" y="214"/>
                </a:cubicBezTo>
                <a:cubicBezTo>
                  <a:pt x="336" y="225"/>
                  <a:pt x="336" y="225"/>
                  <a:pt x="336" y="225"/>
                </a:cubicBezTo>
                <a:cubicBezTo>
                  <a:pt x="339" y="221"/>
                  <a:pt x="341" y="218"/>
                  <a:pt x="344" y="214"/>
                </a:cubicBezTo>
                <a:cubicBezTo>
                  <a:pt x="341" y="211"/>
                  <a:pt x="336" y="204"/>
                  <a:pt x="341" y="204"/>
                </a:cubicBezTo>
                <a:cubicBezTo>
                  <a:pt x="352" y="203"/>
                  <a:pt x="354" y="159"/>
                  <a:pt x="360" y="146"/>
                </a:cubicBezTo>
                <a:cubicBezTo>
                  <a:pt x="366" y="133"/>
                  <a:pt x="364" y="124"/>
                  <a:pt x="360" y="112"/>
                </a:cubicBezTo>
                <a:cubicBezTo>
                  <a:pt x="356" y="101"/>
                  <a:pt x="364" y="84"/>
                  <a:pt x="354" y="65"/>
                </a:cubicBezTo>
                <a:cubicBezTo>
                  <a:pt x="344" y="47"/>
                  <a:pt x="358" y="24"/>
                  <a:pt x="344" y="22"/>
                </a:cubicBezTo>
                <a:cubicBezTo>
                  <a:pt x="330" y="20"/>
                  <a:pt x="335" y="3"/>
                  <a:pt x="322" y="3"/>
                </a:cubicBezTo>
                <a:cubicBezTo>
                  <a:pt x="318" y="3"/>
                  <a:pt x="315" y="2"/>
                  <a:pt x="313" y="0"/>
                </a:cubicBezTo>
                <a:cubicBezTo>
                  <a:pt x="302" y="21"/>
                  <a:pt x="285" y="14"/>
                  <a:pt x="285" y="14"/>
                </a:cubicBezTo>
                <a:cubicBezTo>
                  <a:pt x="259" y="8"/>
                  <a:pt x="242" y="14"/>
                  <a:pt x="230" y="23"/>
                </a:cubicBezTo>
                <a:cubicBezTo>
                  <a:pt x="230" y="23"/>
                  <a:pt x="229" y="24"/>
                  <a:pt x="228" y="24"/>
                </a:cubicBezTo>
                <a:cubicBezTo>
                  <a:pt x="213" y="38"/>
                  <a:pt x="208" y="57"/>
                  <a:pt x="208" y="58"/>
                </a:cubicBezTo>
                <a:cubicBezTo>
                  <a:pt x="207" y="65"/>
                  <a:pt x="206" y="72"/>
                  <a:pt x="206" y="77"/>
                </a:cubicBezTo>
                <a:cubicBezTo>
                  <a:pt x="208" y="95"/>
                  <a:pt x="213" y="113"/>
                  <a:pt x="214" y="121"/>
                </a:cubicBezTo>
                <a:cubicBezTo>
                  <a:pt x="215" y="128"/>
                  <a:pt x="219" y="158"/>
                  <a:pt x="225" y="158"/>
                </a:cubicBezTo>
                <a:cubicBezTo>
                  <a:pt x="231" y="158"/>
                  <a:pt x="233" y="159"/>
                  <a:pt x="233" y="159"/>
                </a:cubicBezTo>
                <a:cubicBezTo>
                  <a:pt x="233" y="159"/>
                  <a:pt x="240" y="182"/>
                  <a:pt x="240" y="200"/>
                </a:cubicBezTo>
                <a:cubicBezTo>
                  <a:pt x="240" y="208"/>
                  <a:pt x="240" y="212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40" y="215"/>
                  <a:pt x="240" y="215"/>
                </a:cubicBezTo>
                <a:cubicBezTo>
                  <a:pt x="240" y="215"/>
                  <a:pt x="224" y="238"/>
                  <a:pt x="206" y="246"/>
                </a:cubicBezTo>
                <a:cubicBezTo>
                  <a:pt x="188" y="255"/>
                  <a:pt x="162" y="268"/>
                  <a:pt x="147" y="272"/>
                </a:cubicBezTo>
                <a:cubicBezTo>
                  <a:pt x="136" y="275"/>
                  <a:pt x="124" y="279"/>
                  <a:pt x="115" y="285"/>
                </a:cubicBezTo>
                <a:cubicBezTo>
                  <a:pt x="103" y="293"/>
                  <a:pt x="93" y="305"/>
                  <a:pt x="89" y="326"/>
                </a:cubicBezTo>
                <a:cubicBezTo>
                  <a:pt x="82" y="365"/>
                  <a:pt x="42" y="495"/>
                  <a:pt x="22" y="531"/>
                </a:cubicBezTo>
                <a:cubicBezTo>
                  <a:pt x="3" y="567"/>
                  <a:pt x="0" y="616"/>
                  <a:pt x="20" y="646"/>
                </a:cubicBezTo>
                <a:cubicBezTo>
                  <a:pt x="39" y="676"/>
                  <a:pt x="86" y="750"/>
                  <a:pt x="93" y="760"/>
                </a:cubicBezTo>
                <a:cubicBezTo>
                  <a:pt x="100" y="770"/>
                  <a:pt x="102" y="778"/>
                  <a:pt x="113" y="777"/>
                </a:cubicBezTo>
                <a:cubicBezTo>
                  <a:pt x="113" y="777"/>
                  <a:pt x="114" y="776"/>
                  <a:pt x="115" y="776"/>
                </a:cubicBezTo>
                <a:cubicBezTo>
                  <a:pt x="124" y="776"/>
                  <a:pt x="130" y="777"/>
                  <a:pt x="130" y="777"/>
                </a:cubicBezTo>
                <a:cubicBezTo>
                  <a:pt x="130" y="777"/>
                  <a:pt x="135" y="796"/>
                  <a:pt x="143" y="802"/>
                </a:cubicBezTo>
                <a:cubicBezTo>
                  <a:pt x="151" y="808"/>
                  <a:pt x="161" y="828"/>
                  <a:pt x="163" y="821"/>
                </a:cubicBezTo>
                <a:cubicBezTo>
                  <a:pt x="166" y="814"/>
                  <a:pt x="173" y="872"/>
                  <a:pt x="180" y="903"/>
                </a:cubicBezTo>
                <a:cubicBezTo>
                  <a:pt x="187" y="934"/>
                  <a:pt x="220" y="1152"/>
                  <a:pt x="220" y="1183"/>
                </a:cubicBezTo>
                <a:cubicBezTo>
                  <a:pt x="220" y="1214"/>
                  <a:pt x="232" y="1246"/>
                  <a:pt x="231" y="1268"/>
                </a:cubicBezTo>
                <a:cubicBezTo>
                  <a:pt x="230" y="1291"/>
                  <a:pt x="235" y="1349"/>
                  <a:pt x="236" y="1381"/>
                </a:cubicBezTo>
                <a:cubicBezTo>
                  <a:pt x="237" y="1413"/>
                  <a:pt x="267" y="1447"/>
                  <a:pt x="267" y="1470"/>
                </a:cubicBezTo>
                <a:cubicBezTo>
                  <a:pt x="267" y="1494"/>
                  <a:pt x="260" y="1505"/>
                  <a:pt x="263" y="1519"/>
                </a:cubicBezTo>
                <a:cubicBezTo>
                  <a:pt x="267" y="1532"/>
                  <a:pt x="266" y="1542"/>
                  <a:pt x="251" y="1558"/>
                </a:cubicBezTo>
                <a:cubicBezTo>
                  <a:pt x="236" y="1574"/>
                  <a:pt x="230" y="1589"/>
                  <a:pt x="231" y="1602"/>
                </a:cubicBezTo>
                <a:cubicBezTo>
                  <a:pt x="232" y="1614"/>
                  <a:pt x="236" y="1619"/>
                  <a:pt x="266" y="1620"/>
                </a:cubicBezTo>
                <a:cubicBezTo>
                  <a:pt x="296" y="1621"/>
                  <a:pt x="324" y="1613"/>
                  <a:pt x="324" y="1605"/>
                </a:cubicBezTo>
                <a:cubicBezTo>
                  <a:pt x="324" y="1598"/>
                  <a:pt x="334" y="1595"/>
                  <a:pt x="343" y="1595"/>
                </a:cubicBezTo>
                <a:cubicBezTo>
                  <a:pt x="351" y="1595"/>
                  <a:pt x="350" y="1587"/>
                  <a:pt x="346" y="1569"/>
                </a:cubicBezTo>
                <a:cubicBezTo>
                  <a:pt x="343" y="1552"/>
                  <a:pt x="330" y="1528"/>
                  <a:pt x="338" y="1531"/>
                </a:cubicBezTo>
                <a:cubicBezTo>
                  <a:pt x="345" y="1533"/>
                  <a:pt x="351" y="1528"/>
                  <a:pt x="351" y="1504"/>
                </a:cubicBezTo>
                <a:cubicBezTo>
                  <a:pt x="351" y="1479"/>
                  <a:pt x="355" y="1471"/>
                  <a:pt x="344" y="1457"/>
                </a:cubicBezTo>
                <a:cubicBezTo>
                  <a:pt x="333" y="1442"/>
                  <a:pt x="335" y="1415"/>
                  <a:pt x="338" y="1392"/>
                </a:cubicBezTo>
                <a:cubicBezTo>
                  <a:pt x="340" y="1370"/>
                  <a:pt x="348" y="1354"/>
                  <a:pt x="342" y="1327"/>
                </a:cubicBezTo>
                <a:cubicBezTo>
                  <a:pt x="335" y="1299"/>
                  <a:pt x="334" y="1266"/>
                  <a:pt x="338" y="1252"/>
                </a:cubicBezTo>
                <a:cubicBezTo>
                  <a:pt x="342" y="1239"/>
                  <a:pt x="339" y="1222"/>
                  <a:pt x="329" y="1211"/>
                </a:cubicBezTo>
                <a:cubicBezTo>
                  <a:pt x="319" y="1200"/>
                  <a:pt x="334" y="1180"/>
                  <a:pt x="334" y="1168"/>
                </a:cubicBezTo>
                <a:cubicBezTo>
                  <a:pt x="334" y="1156"/>
                  <a:pt x="330" y="1104"/>
                  <a:pt x="337" y="1052"/>
                </a:cubicBezTo>
                <a:cubicBezTo>
                  <a:pt x="343" y="999"/>
                  <a:pt x="344" y="960"/>
                  <a:pt x="345" y="946"/>
                </a:cubicBezTo>
                <a:cubicBezTo>
                  <a:pt x="346" y="933"/>
                  <a:pt x="354" y="939"/>
                  <a:pt x="372" y="991"/>
                </a:cubicBezTo>
                <a:cubicBezTo>
                  <a:pt x="391" y="1043"/>
                  <a:pt x="438" y="1205"/>
                  <a:pt x="447" y="1241"/>
                </a:cubicBezTo>
                <a:cubicBezTo>
                  <a:pt x="454" y="1272"/>
                  <a:pt x="480" y="1385"/>
                  <a:pt x="491" y="1436"/>
                </a:cubicBezTo>
                <a:cubicBezTo>
                  <a:pt x="493" y="1444"/>
                  <a:pt x="494" y="1451"/>
                  <a:pt x="495" y="1455"/>
                </a:cubicBezTo>
                <a:cubicBezTo>
                  <a:pt x="501" y="1486"/>
                  <a:pt x="509" y="1548"/>
                  <a:pt x="517" y="1548"/>
                </a:cubicBezTo>
                <a:cubicBezTo>
                  <a:pt x="526" y="1548"/>
                  <a:pt x="524" y="1554"/>
                  <a:pt x="525" y="1572"/>
                </a:cubicBezTo>
                <a:cubicBezTo>
                  <a:pt x="526" y="1589"/>
                  <a:pt x="543" y="1592"/>
                  <a:pt x="553" y="1595"/>
                </a:cubicBezTo>
                <a:cubicBezTo>
                  <a:pt x="563" y="1599"/>
                  <a:pt x="566" y="1589"/>
                  <a:pt x="566" y="1589"/>
                </a:cubicBezTo>
                <a:cubicBezTo>
                  <a:pt x="566" y="1589"/>
                  <a:pt x="582" y="1623"/>
                  <a:pt x="610" y="1626"/>
                </a:cubicBezTo>
                <a:cubicBezTo>
                  <a:pt x="639" y="1630"/>
                  <a:pt x="693" y="1641"/>
                  <a:pt x="693" y="1628"/>
                </a:cubicBezTo>
                <a:cubicBezTo>
                  <a:pt x="693" y="1614"/>
                  <a:pt x="687" y="1602"/>
                  <a:pt x="669" y="1590"/>
                </a:cubicBezTo>
                <a:close/>
                <a:moveTo>
                  <a:pt x="128" y="644"/>
                </a:moveTo>
                <a:cubicBezTo>
                  <a:pt x="128" y="632"/>
                  <a:pt x="122" y="619"/>
                  <a:pt x="115" y="608"/>
                </a:cubicBezTo>
                <a:cubicBezTo>
                  <a:pt x="105" y="594"/>
                  <a:pt x="95" y="582"/>
                  <a:pt x="99" y="575"/>
                </a:cubicBezTo>
                <a:cubicBezTo>
                  <a:pt x="105" y="563"/>
                  <a:pt x="110" y="563"/>
                  <a:pt x="115" y="554"/>
                </a:cubicBezTo>
                <a:cubicBezTo>
                  <a:pt x="118" y="549"/>
                  <a:pt x="121" y="541"/>
                  <a:pt x="125" y="524"/>
                </a:cubicBezTo>
                <a:cubicBezTo>
                  <a:pt x="124" y="559"/>
                  <a:pt x="136" y="611"/>
                  <a:pt x="128" y="644"/>
                </a:cubicBezTo>
                <a:close/>
                <a:moveTo>
                  <a:pt x="411" y="689"/>
                </a:moveTo>
                <a:cubicBezTo>
                  <a:pt x="407" y="690"/>
                  <a:pt x="402" y="690"/>
                  <a:pt x="395" y="690"/>
                </a:cubicBezTo>
                <a:cubicBezTo>
                  <a:pt x="395" y="685"/>
                  <a:pt x="395" y="680"/>
                  <a:pt x="393" y="674"/>
                </a:cubicBezTo>
                <a:cubicBezTo>
                  <a:pt x="389" y="655"/>
                  <a:pt x="367" y="523"/>
                  <a:pt x="351" y="448"/>
                </a:cubicBezTo>
                <a:cubicBezTo>
                  <a:pt x="335" y="373"/>
                  <a:pt x="318" y="317"/>
                  <a:pt x="314" y="307"/>
                </a:cubicBezTo>
                <a:cubicBezTo>
                  <a:pt x="310" y="297"/>
                  <a:pt x="323" y="293"/>
                  <a:pt x="323" y="293"/>
                </a:cubicBezTo>
                <a:cubicBezTo>
                  <a:pt x="299" y="269"/>
                  <a:pt x="299" y="269"/>
                  <a:pt x="299" y="269"/>
                </a:cubicBezTo>
                <a:cubicBezTo>
                  <a:pt x="288" y="274"/>
                  <a:pt x="280" y="291"/>
                  <a:pt x="280" y="291"/>
                </a:cubicBezTo>
                <a:cubicBezTo>
                  <a:pt x="280" y="291"/>
                  <a:pt x="292" y="299"/>
                  <a:pt x="294" y="307"/>
                </a:cubicBezTo>
                <a:cubicBezTo>
                  <a:pt x="296" y="315"/>
                  <a:pt x="292" y="325"/>
                  <a:pt x="286" y="343"/>
                </a:cubicBezTo>
                <a:cubicBezTo>
                  <a:pt x="281" y="362"/>
                  <a:pt x="288" y="443"/>
                  <a:pt x="295" y="485"/>
                </a:cubicBezTo>
                <a:cubicBezTo>
                  <a:pt x="302" y="527"/>
                  <a:pt x="315" y="621"/>
                  <a:pt x="323" y="669"/>
                </a:cubicBezTo>
                <a:cubicBezTo>
                  <a:pt x="324" y="677"/>
                  <a:pt x="326" y="683"/>
                  <a:pt x="327" y="689"/>
                </a:cubicBezTo>
                <a:cubicBezTo>
                  <a:pt x="308" y="688"/>
                  <a:pt x="289" y="687"/>
                  <a:pt x="274" y="687"/>
                </a:cubicBezTo>
                <a:cubicBezTo>
                  <a:pt x="232" y="687"/>
                  <a:pt x="191" y="692"/>
                  <a:pt x="191" y="692"/>
                </a:cubicBezTo>
                <a:cubicBezTo>
                  <a:pt x="191" y="692"/>
                  <a:pt x="199" y="672"/>
                  <a:pt x="212" y="643"/>
                </a:cubicBezTo>
                <a:cubicBezTo>
                  <a:pt x="224" y="615"/>
                  <a:pt x="226" y="589"/>
                  <a:pt x="235" y="542"/>
                </a:cubicBezTo>
                <a:cubicBezTo>
                  <a:pt x="245" y="495"/>
                  <a:pt x="237" y="463"/>
                  <a:pt x="237" y="406"/>
                </a:cubicBezTo>
                <a:cubicBezTo>
                  <a:pt x="237" y="361"/>
                  <a:pt x="234" y="300"/>
                  <a:pt x="231" y="263"/>
                </a:cubicBezTo>
                <a:cubicBezTo>
                  <a:pt x="231" y="257"/>
                  <a:pt x="231" y="235"/>
                  <a:pt x="248" y="225"/>
                </a:cubicBezTo>
                <a:cubicBezTo>
                  <a:pt x="257" y="236"/>
                  <a:pt x="268" y="248"/>
                  <a:pt x="281" y="257"/>
                </a:cubicBezTo>
                <a:cubicBezTo>
                  <a:pt x="304" y="273"/>
                  <a:pt x="306" y="261"/>
                  <a:pt x="320" y="244"/>
                </a:cubicBezTo>
                <a:cubicBezTo>
                  <a:pt x="326" y="237"/>
                  <a:pt x="330" y="232"/>
                  <a:pt x="334" y="227"/>
                </a:cubicBezTo>
                <a:cubicBezTo>
                  <a:pt x="334" y="227"/>
                  <a:pt x="334" y="227"/>
                  <a:pt x="334" y="227"/>
                </a:cubicBezTo>
                <a:cubicBezTo>
                  <a:pt x="353" y="218"/>
                  <a:pt x="370" y="255"/>
                  <a:pt x="370" y="255"/>
                </a:cubicBezTo>
                <a:cubicBezTo>
                  <a:pt x="382" y="288"/>
                  <a:pt x="381" y="349"/>
                  <a:pt x="381" y="413"/>
                </a:cubicBezTo>
                <a:cubicBezTo>
                  <a:pt x="381" y="478"/>
                  <a:pt x="393" y="542"/>
                  <a:pt x="406" y="589"/>
                </a:cubicBezTo>
                <a:cubicBezTo>
                  <a:pt x="418" y="636"/>
                  <a:pt x="437" y="678"/>
                  <a:pt x="437" y="678"/>
                </a:cubicBezTo>
                <a:cubicBezTo>
                  <a:pt x="437" y="678"/>
                  <a:pt x="426" y="684"/>
                  <a:pt x="411" y="689"/>
                </a:cubicBezTo>
                <a:close/>
                <a:moveTo>
                  <a:pt x="491" y="631"/>
                </a:moveTo>
                <a:cubicBezTo>
                  <a:pt x="489" y="627"/>
                  <a:pt x="490" y="600"/>
                  <a:pt x="484" y="579"/>
                </a:cubicBezTo>
                <a:cubicBezTo>
                  <a:pt x="477" y="556"/>
                  <a:pt x="474" y="524"/>
                  <a:pt x="473" y="485"/>
                </a:cubicBezTo>
                <a:cubicBezTo>
                  <a:pt x="473" y="485"/>
                  <a:pt x="482" y="518"/>
                  <a:pt x="491" y="538"/>
                </a:cubicBezTo>
                <a:cubicBezTo>
                  <a:pt x="495" y="547"/>
                  <a:pt x="498" y="553"/>
                  <a:pt x="501" y="553"/>
                </a:cubicBezTo>
                <a:cubicBezTo>
                  <a:pt x="511" y="556"/>
                  <a:pt x="512" y="570"/>
                  <a:pt x="501" y="576"/>
                </a:cubicBezTo>
                <a:cubicBezTo>
                  <a:pt x="490" y="582"/>
                  <a:pt x="498" y="624"/>
                  <a:pt x="493" y="630"/>
                </a:cubicBezTo>
                <a:cubicBezTo>
                  <a:pt x="492" y="631"/>
                  <a:pt x="491" y="631"/>
                  <a:pt x="491" y="631"/>
                </a:cubicBezTo>
                <a:close/>
              </a:path>
            </a:pathLst>
          </a:custGeom>
          <a:solidFill>
            <a:srgbClr val="2980B9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0" cap="none" spc="0" normalizeH="0" baseline="0" noProof="0">
              <a:ln>
                <a:noFill/>
              </a:ln>
              <a:solidFill>
                <a:srgbClr val="95A5A6"/>
              </a:solidFill>
              <a:effectLst/>
              <a:uLnTx/>
              <a:uFillTx/>
            </a:endParaRPr>
          </a:p>
        </p:txBody>
      </p:sp>
      <p:sp>
        <p:nvSpPr>
          <p:cNvPr id="54" name="Freeform 200">
            <a:extLst>
              <a:ext uri="{FF2B5EF4-FFF2-40B4-BE49-F238E27FC236}">
                <a16:creationId xmlns:a16="http://schemas.microsoft.com/office/drawing/2014/main" xmlns="" id="{D6ED9814-A27F-F048-8860-482722D9627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276994" y="5461780"/>
            <a:ext cx="433677" cy="1370354"/>
          </a:xfrm>
          <a:custGeom>
            <a:avLst/>
            <a:gdLst>
              <a:gd name="T0" fmla="*/ 412 w 463"/>
              <a:gd name="T1" fmla="*/ 379 h 1470"/>
              <a:gd name="T2" fmla="*/ 323 w 463"/>
              <a:gd name="T3" fmla="*/ 262 h 1470"/>
              <a:gd name="T4" fmla="*/ 285 w 463"/>
              <a:gd name="T5" fmla="*/ 285 h 1470"/>
              <a:gd name="T6" fmla="*/ 267 w 463"/>
              <a:gd name="T7" fmla="*/ 261 h 1470"/>
              <a:gd name="T8" fmla="*/ 184 w 463"/>
              <a:gd name="T9" fmla="*/ 204 h 1470"/>
              <a:gd name="T10" fmla="*/ 217 w 463"/>
              <a:gd name="T11" fmla="*/ 229 h 1470"/>
              <a:gd name="T12" fmla="*/ 275 w 463"/>
              <a:gd name="T13" fmla="*/ 231 h 1470"/>
              <a:gd name="T14" fmla="*/ 275 w 463"/>
              <a:gd name="T15" fmla="*/ 231 h 1470"/>
              <a:gd name="T16" fmla="*/ 280 w 463"/>
              <a:gd name="T17" fmla="*/ 213 h 1470"/>
              <a:gd name="T18" fmla="*/ 313 w 463"/>
              <a:gd name="T19" fmla="*/ 121 h 1470"/>
              <a:gd name="T20" fmla="*/ 312 w 463"/>
              <a:gd name="T21" fmla="*/ 65 h 1470"/>
              <a:gd name="T22" fmla="*/ 194 w 463"/>
              <a:gd name="T23" fmla="*/ 42 h 1470"/>
              <a:gd name="T24" fmla="*/ 186 w 463"/>
              <a:gd name="T25" fmla="*/ 51 h 1470"/>
              <a:gd name="T26" fmla="*/ 175 w 463"/>
              <a:gd name="T27" fmla="*/ 119 h 1470"/>
              <a:gd name="T28" fmla="*/ 178 w 463"/>
              <a:gd name="T29" fmla="*/ 165 h 1470"/>
              <a:gd name="T30" fmla="*/ 181 w 463"/>
              <a:gd name="T31" fmla="*/ 201 h 1470"/>
              <a:gd name="T32" fmla="*/ 175 w 463"/>
              <a:gd name="T33" fmla="*/ 217 h 1470"/>
              <a:gd name="T34" fmla="*/ 79 w 463"/>
              <a:gd name="T35" fmla="*/ 333 h 1470"/>
              <a:gd name="T36" fmla="*/ 104 w 463"/>
              <a:gd name="T37" fmla="*/ 477 h 1470"/>
              <a:gd name="T38" fmla="*/ 99 w 463"/>
              <a:gd name="T39" fmla="*/ 610 h 1470"/>
              <a:gd name="T40" fmla="*/ 85 w 463"/>
              <a:gd name="T41" fmla="*/ 763 h 1470"/>
              <a:gd name="T42" fmla="*/ 69 w 463"/>
              <a:gd name="T43" fmla="*/ 975 h 1470"/>
              <a:gd name="T44" fmla="*/ 8 w 463"/>
              <a:gd name="T45" fmla="*/ 1383 h 1470"/>
              <a:gd name="T46" fmla="*/ 11 w 463"/>
              <a:gd name="T47" fmla="*/ 1423 h 1470"/>
              <a:gd name="T48" fmla="*/ 108 w 463"/>
              <a:gd name="T49" fmla="*/ 1468 h 1470"/>
              <a:gd name="T50" fmla="*/ 96 w 463"/>
              <a:gd name="T51" fmla="*/ 1398 h 1470"/>
              <a:gd name="T52" fmla="*/ 153 w 463"/>
              <a:gd name="T53" fmla="*/ 1231 h 1470"/>
              <a:gd name="T54" fmla="*/ 220 w 463"/>
              <a:gd name="T55" fmla="*/ 1100 h 1470"/>
              <a:gd name="T56" fmla="*/ 215 w 463"/>
              <a:gd name="T57" fmla="*/ 1363 h 1470"/>
              <a:gd name="T58" fmla="*/ 242 w 463"/>
              <a:gd name="T59" fmla="*/ 1391 h 1470"/>
              <a:gd name="T60" fmla="*/ 297 w 463"/>
              <a:gd name="T61" fmla="*/ 1388 h 1470"/>
              <a:gd name="T62" fmla="*/ 429 w 463"/>
              <a:gd name="T63" fmla="*/ 1397 h 1470"/>
              <a:gd name="T64" fmla="*/ 342 w 463"/>
              <a:gd name="T65" fmla="*/ 1344 h 1470"/>
              <a:gd name="T66" fmla="*/ 316 w 463"/>
              <a:gd name="T67" fmla="*/ 1300 h 1470"/>
              <a:gd name="T68" fmla="*/ 337 w 463"/>
              <a:gd name="T69" fmla="*/ 1080 h 1470"/>
              <a:gd name="T70" fmla="*/ 376 w 463"/>
              <a:gd name="T71" fmla="*/ 792 h 1470"/>
              <a:gd name="T72" fmla="*/ 388 w 463"/>
              <a:gd name="T73" fmla="*/ 747 h 1470"/>
              <a:gd name="T74" fmla="*/ 359 w 463"/>
              <a:gd name="T75" fmla="*/ 534 h 1470"/>
              <a:gd name="T76" fmla="*/ 385 w 463"/>
              <a:gd name="T77" fmla="*/ 500 h 1470"/>
              <a:gd name="T78" fmla="*/ 454 w 463"/>
              <a:gd name="T79" fmla="*/ 422 h 1470"/>
              <a:gd name="T80" fmla="*/ 330 w 463"/>
              <a:gd name="T81" fmla="*/ 437 h 1470"/>
              <a:gd name="T82" fmla="*/ 327 w 463"/>
              <a:gd name="T83" fmla="*/ 411 h 1470"/>
              <a:gd name="T84" fmla="*/ 311 w 463"/>
              <a:gd name="T85" fmla="*/ 458 h 1470"/>
              <a:gd name="T86" fmla="*/ 353 w 463"/>
              <a:gd name="T87" fmla="*/ 483 h 1470"/>
              <a:gd name="T88" fmla="*/ 350 w 463"/>
              <a:gd name="T89" fmla="*/ 540 h 1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63" h="1470">
                <a:moveTo>
                  <a:pt x="454" y="422"/>
                </a:moveTo>
                <a:cubicBezTo>
                  <a:pt x="448" y="394"/>
                  <a:pt x="430" y="395"/>
                  <a:pt x="412" y="379"/>
                </a:cubicBezTo>
                <a:cubicBezTo>
                  <a:pt x="395" y="363"/>
                  <a:pt x="381" y="350"/>
                  <a:pt x="379" y="321"/>
                </a:cubicBezTo>
                <a:cubicBezTo>
                  <a:pt x="376" y="291"/>
                  <a:pt x="344" y="267"/>
                  <a:pt x="323" y="262"/>
                </a:cubicBezTo>
                <a:cubicBezTo>
                  <a:pt x="304" y="258"/>
                  <a:pt x="286" y="248"/>
                  <a:pt x="281" y="246"/>
                </a:cubicBezTo>
                <a:cubicBezTo>
                  <a:pt x="280" y="254"/>
                  <a:pt x="283" y="272"/>
                  <a:pt x="285" y="285"/>
                </a:cubicBezTo>
                <a:cubicBezTo>
                  <a:pt x="284" y="286"/>
                  <a:pt x="282" y="284"/>
                  <a:pt x="281" y="281"/>
                </a:cubicBezTo>
                <a:cubicBezTo>
                  <a:pt x="274" y="266"/>
                  <a:pt x="272" y="258"/>
                  <a:pt x="267" y="261"/>
                </a:cubicBezTo>
                <a:cubicBezTo>
                  <a:pt x="263" y="263"/>
                  <a:pt x="260" y="273"/>
                  <a:pt x="257" y="282"/>
                </a:cubicBezTo>
                <a:cubicBezTo>
                  <a:pt x="241" y="262"/>
                  <a:pt x="203" y="221"/>
                  <a:pt x="184" y="204"/>
                </a:cubicBezTo>
                <a:cubicBezTo>
                  <a:pt x="185" y="202"/>
                  <a:pt x="187" y="200"/>
                  <a:pt x="189" y="199"/>
                </a:cubicBezTo>
                <a:cubicBezTo>
                  <a:pt x="194" y="208"/>
                  <a:pt x="205" y="223"/>
                  <a:pt x="217" y="229"/>
                </a:cubicBezTo>
                <a:cubicBezTo>
                  <a:pt x="232" y="237"/>
                  <a:pt x="266" y="257"/>
                  <a:pt x="266" y="257"/>
                </a:cubicBezTo>
                <a:cubicBezTo>
                  <a:pt x="266" y="257"/>
                  <a:pt x="273" y="241"/>
                  <a:pt x="275" y="231"/>
                </a:cubicBezTo>
                <a:cubicBezTo>
                  <a:pt x="275" y="230"/>
                  <a:pt x="275" y="230"/>
                  <a:pt x="275" y="230"/>
                </a:cubicBezTo>
                <a:cubicBezTo>
                  <a:pt x="275" y="231"/>
                  <a:pt x="275" y="231"/>
                  <a:pt x="275" y="231"/>
                </a:cubicBezTo>
                <a:cubicBezTo>
                  <a:pt x="275" y="230"/>
                  <a:pt x="275" y="228"/>
                  <a:pt x="275" y="227"/>
                </a:cubicBezTo>
                <a:cubicBezTo>
                  <a:pt x="275" y="220"/>
                  <a:pt x="273" y="215"/>
                  <a:pt x="280" y="213"/>
                </a:cubicBezTo>
                <a:cubicBezTo>
                  <a:pt x="288" y="211"/>
                  <a:pt x="299" y="185"/>
                  <a:pt x="302" y="169"/>
                </a:cubicBezTo>
                <a:cubicBezTo>
                  <a:pt x="306" y="153"/>
                  <a:pt x="306" y="139"/>
                  <a:pt x="313" y="121"/>
                </a:cubicBezTo>
                <a:cubicBezTo>
                  <a:pt x="321" y="104"/>
                  <a:pt x="320" y="87"/>
                  <a:pt x="312" y="65"/>
                </a:cubicBezTo>
                <a:cubicBezTo>
                  <a:pt x="312" y="65"/>
                  <a:pt x="312" y="65"/>
                  <a:pt x="312" y="65"/>
                </a:cubicBezTo>
                <a:cubicBezTo>
                  <a:pt x="300" y="14"/>
                  <a:pt x="277" y="28"/>
                  <a:pt x="277" y="28"/>
                </a:cubicBezTo>
                <a:cubicBezTo>
                  <a:pt x="246" y="0"/>
                  <a:pt x="210" y="26"/>
                  <a:pt x="194" y="42"/>
                </a:cubicBezTo>
                <a:cubicBezTo>
                  <a:pt x="194" y="42"/>
                  <a:pt x="194" y="42"/>
                  <a:pt x="193" y="42"/>
                </a:cubicBezTo>
                <a:cubicBezTo>
                  <a:pt x="190" y="44"/>
                  <a:pt x="188" y="47"/>
                  <a:pt x="186" y="51"/>
                </a:cubicBezTo>
                <a:cubicBezTo>
                  <a:pt x="186" y="51"/>
                  <a:pt x="186" y="51"/>
                  <a:pt x="186" y="51"/>
                </a:cubicBezTo>
                <a:cubicBezTo>
                  <a:pt x="171" y="73"/>
                  <a:pt x="175" y="119"/>
                  <a:pt x="175" y="119"/>
                </a:cubicBezTo>
                <a:cubicBezTo>
                  <a:pt x="175" y="119"/>
                  <a:pt x="173" y="120"/>
                  <a:pt x="171" y="131"/>
                </a:cubicBezTo>
                <a:cubicBezTo>
                  <a:pt x="170" y="142"/>
                  <a:pt x="175" y="159"/>
                  <a:pt x="178" y="165"/>
                </a:cubicBezTo>
                <a:cubicBezTo>
                  <a:pt x="180" y="171"/>
                  <a:pt x="185" y="172"/>
                  <a:pt x="186" y="177"/>
                </a:cubicBezTo>
                <a:cubicBezTo>
                  <a:pt x="186" y="177"/>
                  <a:pt x="184" y="189"/>
                  <a:pt x="181" y="201"/>
                </a:cubicBezTo>
                <a:cubicBezTo>
                  <a:pt x="181" y="201"/>
                  <a:pt x="181" y="201"/>
                  <a:pt x="180" y="201"/>
                </a:cubicBezTo>
                <a:cubicBezTo>
                  <a:pt x="179" y="203"/>
                  <a:pt x="181" y="206"/>
                  <a:pt x="175" y="217"/>
                </a:cubicBezTo>
                <a:cubicBezTo>
                  <a:pt x="166" y="231"/>
                  <a:pt x="153" y="236"/>
                  <a:pt x="121" y="253"/>
                </a:cubicBezTo>
                <a:cubicBezTo>
                  <a:pt x="90" y="269"/>
                  <a:pt x="82" y="302"/>
                  <a:pt x="79" y="333"/>
                </a:cubicBezTo>
                <a:cubicBezTo>
                  <a:pt x="76" y="365"/>
                  <a:pt x="71" y="389"/>
                  <a:pt x="76" y="396"/>
                </a:cubicBezTo>
                <a:cubicBezTo>
                  <a:pt x="81" y="403"/>
                  <a:pt x="93" y="443"/>
                  <a:pt x="104" y="477"/>
                </a:cubicBezTo>
                <a:cubicBezTo>
                  <a:pt x="116" y="510"/>
                  <a:pt x="111" y="549"/>
                  <a:pt x="109" y="564"/>
                </a:cubicBezTo>
                <a:cubicBezTo>
                  <a:pt x="107" y="578"/>
                  <a:pt x="98" y="591"/>
                  <a:pt x="99" y="610"/>
                </a:cubicBezTo>
                <a:cubicBezTo>
                  <a:pt x="100" y="629"/>
                  <a:pt x="98" y="648"/>
                  <a:pt x="95" y="677"/>
                </a:cubicBezTo>
                <a:cubicBezTo>
                  <a:pt x="93" y="705"/>
                  <a:pt x="76" y="759"/>
                  <a:pt x="85" y="763"/>
                </a:cubicBezTo>
                <a:cubicBezTo>
                  <a:pt x="93" y="768"/>
                  <a:pt x="96" y="767"/>
                  <a:pt x="96" y="780"/>
                </a:cubicBezTo>
                <a:cubicBezTo>
                  <a:pt x="96" y="793"/>
                  <a:pt x="90" y="876"/>
                  <a:pt x="69" y="975"/>
                </a:cubicBezTo>
                <a:cubicBezTo>
                  <a:pt x="48" y="1075"/>
                  <a:pt x="16" y="1296"/>
                  <a:pt x="9" y="1338"/>
                </a:cubicBezTo>
                <a:cubicBezTo>
                  <a:pt x="2" y="1379"/>
                  <a:pt x="8" y="1383"/>
                  <a:pt x="8" y="1383"/>
                </a:cubicBezTo>
                <a:cubicBezTo>
                  <a:pt x="8" y="1383"/>
                  <a:pt x="8" y="1386"/>
                  <a:pt x="4" y="1398"/>
                </a:cubicBezTo>
                <a:cubicBezTo>
                  <a:pt x="0" y="1410"/>
                  <a:pt x="4" y="1418"/>
                  <a:pt x="11" y="1423"/>
                </a:cubicBezTo>
                <a:cubicBezTo>
                  <a:pt x="18" y="1428"/>
                  <a:pt x="19" y="1438"/>
                  <a:pt x="34" y="1449"/>
                </a:cubicBezTo>
                <a:cubicBezTo>
                  <a:pt x="48" y="1460"/>
                  <a:pt x="90" y="1470"/>
                  <a:pt x="108" y="1468"/>
                </a:cubicBezTo>
                <a:cubicBezTo>
                  <a:pt x="126" y="1466"/>
                  <a:pt x="121" y="1460"/>
                  <a:pt x="120" y="1442"/>
                </a:cubicBezTo>
                <a:cubicBezTo>
                  <a:pt x="119" y="1424"/>
                  <a:pt x="96" y="1398"/>
                  <a:pt x="96" y="1398"/>
                </a:cubicBezTo>
                <a:cubicBezTo>
                  <a:pt x="96" y="1398"/>
                  <a:pt x="95" y="1393"/>
                  <a:pt x="101" y="1390"/>
                </a:cubicBezTo>
                <a:cubicBezTo>
                  <a:pt x="107" y="1386"/>
                  <a:pt x="132" y="1306"/>
                  <a:pt x="153" y="1231"/>
                </a:cubicBezTo>
                <a:cubicBezTo>
                  <a:pt x="175" y="1157"/>
                  <a:pt x="214" y="1022"/>
                  <a:pt x="214" y="1022"/>
                </a:cubicBezTo>
                <a:cubicBezTo>
                  <a:pt x="214" y="1022"/>
                  <a:pt x="217" y="1061"/>
                  <a:pt x="220" y="1100"/>
                </a:cubicBezTo>
                <a:cubicBezTo>
                  <a:pt x="222" y="1139"/>
                  <a:pt x="224" y="1267"/>
                  <a:pt x="220" y="1300"/>
                </a:cubicBezTo>
                <a:cubicBezTo>
                  <a:pt x="215" y="1333"/>
                  <a:pt x="215" y="1363"/>
                  <a:pt x="215" y="1363"/>
                </a:cubicBezTo>
                <a:cubicBezTo>
                  <a:pt x="215" y="1363"/>
                  <a:pt x="215" y="1367"/>
                  <a:pt x="215" y="1378"/>
                </a:cubicBezTo>
                <a:cubicBezTo>
                  <a:pt x="215" y="1389"/>
                  <a:pt x="223" y="1389"/>
                  <a:pt x="242" y="1391"/>
                </a:cubicBezTo>
                <a:cubicBezTo>
                  <a:pt x="261" y="1393"/>
                  <a:pt x="287" y="1392"/>
                  <a:pt x="287" y="1392"/>
                </a:cubicBezTo>
                <a:cubicBezTo>
                  <a:pt x="287" y="1392"/>
                  <a:pt x="286" y="1383"/>
                  <a:pt x="297" y="1388"/>
                </a:cubicBezTo>
                <a:cubicBezTo>
                  <a:pt x="307" y="1392"/>
                  <a:pt x="329" y="1403"/>
                  <a:pt x="349" y="1403"/>
                </a:cubicBezTo>
                <a:cubicBezTo>
                  <a:pt x="369" y="1403"/>
                  <a:pt x="429" y="1412"/>
                  <a:pt x="429" y="1397"/>
                </a:cubicBezTo>
                <a:cubicBezTo>
                  <a:pt x="429" y="1382"/>
                  <a:pt x="406" y="1376"/>
                  <a:pt x="385" y="1376"/>
                </a:cubicBezTo>
                <a:cubicBezTo>
                  <a:pt x="365" y="1376"/>
                  <a:pt x="342" y="1344"/>
                  <a:pt x="342" y="1344"/>
                </a:cubicBezTo>
                <a:cubicBezTo>
                  <a:pt x="342" y="1344"/>
                  <a:pt x="342" y="1344"/>
                  <a:pt x="348" y="1340"/>
                </a:cubicBezTo>
                <a:cubicBezTo>
                  <a:pt x="353" y="1337"/>
                  <a:pt x="320" y="1312"/>
                  <a:pt x="316" y="1300"/>
                </a:cubicBezTo>
                <a:cubicBezTo>
                  <a:pt x="311" y="1288"/>
                  <a:pt x="312" y="1286"/>
                  <a:pt x="316" y="1257"/>
                </a:cubicBezTo>
                <a:cubicBezTo>
                  <a:pt x="319" y="1229"/>
                  <a:pt x="327" y="1136"/>
                  <a:pt x="337" y="1080"/>
                </a:cubicBezTo>
                <a:cubicBezTo>
                  <a:pt x="346" y="1023"/>
                  <a:pt x="358" y="968"/>
                  <a:pt x="365" y="920"/>
                </a:cubicBezTo>
                <a:cubicBezTo>
                  <a:pt x="372" y="871"/>
                  <a:pt x="376" y="792"/>
                  <a:pt x="376" y="792"/>
                </a:cubicBezTo>
                <a:cubicBezTo>
                  <a:pt x="376" y="792"/>
                  <a:pt x="380" y="791"/>
                  <a:pt x="387" y="785"/>
                </a:cubicBezTo>
                <a:cubicBezTo>
                  <a:pt x="394" y="779"/>
                  <a:pt x="392" y="764"/>
                  <a:pt x="388" y="747"/>
                </a:cubicBezTo>
                <a:cubicBezTo>
                  <a:pt x="385" y="729"/>
                  <a:pt x="380" y="656"/>
                  <a:pt x="377" y="621"/>
                </a:cubicBezTo>
                <a:cubicBezTo>
                  <a:pt x="373" y="586"/>
                  <a:pt x="359" y="534"/>
                  <a:pt x="359" y="534"/>
                </a:cubicBezTo>
                <a:cubicBezTo>
                  <a:pt x="359" y="534"/>
                  <a:pt x="370" y="529"/>
                  <a:pt x="377" y="522"/>
                </a:cubicBezTo>
                <a:cubicBezTo>
                  <a:pt x="384" y="516"/>
                  <a:pt x="385" y="500"/>
                  <a:pt x="385" y="500"/>
                </a:cubicBezTo>
                <a:cubicBezTo>
                  <a:pt x="385" y="500"/>
                  <a:pt x="428" y="504"/>
                  <a:pt x="446" y="496"/>
                </a:cubicBezTo>
                <a:cubicBezTo>
                  <a:pt x="463" y="489"/>
                  <a:pt x="460" y="450"/>
                  <a:pt x="454" y="422"/>
                </a:cubicBezTo>
                <a:close/>
                <a:moveTo>
                  <a:pt x="311" y="458"/>
                </a:moveTo>
                <a:cubicBezTo>
                  <a:pt x="311" y="458"/>
                  <a:pt x="330" y="452"/>
                  <a:pt x="330" y="437"/>
                </a:cubicBezTo>
                <a:cubicBezTo>
                  <a:pt x="330" y="421"/>
                  <a:pt x="315" y="411"/>
                  <a:pt x="308" y="410"/>
                </a:cubicBezTo>
                <a:cubicBezTo>
                  <a:pt x="301" y="410"/>
                  <a:pt x="313" y="399"/>
                  <a:pt x="327" y="411"/>
                </a:cubicBezTo>
                <a:cubicBezTo>
                  <a:pt x="342" y="423"/>
                  <a:pt x="353" y="475"/>
                  <a:pt x="353" y="475"/>
                </a:cubicBezTo>
                <a:cubicBezTo>
                  <a:pt x="353" y="475"/>
                  <a:pt x="323" y="463"/>
                  <a:pt x="311" y="458"/>
                </a:cubicBezTo>
                <a:close/>
                <a:moveTo>
                  <a:pt x="350" y="540"/>
                </a:moveTo>
                <a:cubicBezTo>
                  <a:pt x="350" y="540"/>
                  <a:pt x="352" y="500"/>
                  <a:pt x="353" y="483"/>
                </a:cubicBezTo>
                <a:cubicBezTo>
                  <a:pt x="362" y="531"/>
                  <a:pt x="362" y="531"/>
                  <a:pt x="362" y="531"/>
                </a:cubicBezTo>
                <a:lnTo>
                  <a:pt x="350" y="540"/>
                </a:lnTo>
                <a:close/>
              </a:path>
            </a:pathLst>
          </a:custGeom>
          <a:solidFill>
            <a:srgbClr val="2A80B7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800" b="0" i="0" u="none" strike="noStrike" kern="0" cap="none" spc="0" normalizeH="0" baseline="0" noProof="0" dirty="0" err="1">
                <a:ln>
                  <a:noFill/>
                </a:ln>
                <a:solidFill>
                  <a:srgbClr val="95A5A6"/>
                </a:solidFill>
                <a:effectLst/>
                <a:uLnTx/>
                <a:uFillTx/>
              </a:rPr>
              <a:t>z</a:t>
            </a:r>
            <a:endParaRPr kumimoji="0" lang="id-ID" sz="1800" b="0" i="0" u="none" strike="noStrike" kern="0" cap="none" spc="0" normalizeH="0" baseline="0" noProof="0" dirty="0">
              <a:ln>
                <a:noFill/>
              </a:ln>
              <a:solidFill>
                <a:srgbClr val="95A5A6"/>
              </a:solidFill>
              <a:effectLst/>
              <a:uLnTx/>
              <a:uFillTx/>
            </a:endParaRPr>
          </a:p>
        </p:txBody>
      </p:sp>
      <p:pic>
        <p:nvPicPr>
          <p:cNvPr id="56" name="Picture 55" descr="lgo sigap.png">
            <a:extLst>
              <a:ext uri="{FF2B5EF4-FFF2-40B4-BE49-F238E27FC236}">
                <a16:creationId xmlns:a16="http://schemas.microsoft.com/office/drawing/2014/main" xmlns="" id="{A79E2473-2D59-40B8-82B6-0276DEB92A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09584" y="2685"/>
            <a:ext cx="2877879" cy="1109585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9514BB3-C87A-ED42-527F-E762B2F7F8DE}"/>
              </a:ext>
            </a:extLst>
          </p:cNvPr>
          <p:cNvSpPr/>
          <p:nvPr/>
        </p:nvSpPr>
        <p:spPr>
          <a:xfrm>
            <a:off x="2921608" y="196113"/>
            <a:ext cx="5053770" cy="10233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90155">
              <a:spcBef>
                <a:spcPts val="300"/>
              </a:spcBef>
              <a:defRPr/>
            </a:pPr>
            <a:r>
              <a:rPr lang="en-AU" sz="4000" b="1" dirty="0">
                <a:solidFill>
                  <a:srgbClr val="002060"/>
                </a:solidFill>
                <a:latin typeface="Century Gothic" charset="0"/>
                <a:ea typeface="Century Gothic" charset="0"/>
                <a:cs typeface="Century Gothic" charset="0"/>
              </a:rPr>
              <a:t>PERBANDINGAN</a:t>
            </a:r>
          </a:p>
          <a:p>
            <a:pPr algn="ctr" defTabSz="990155">
              <a:spcBef>
                <a:spcPts val="300"/>
              </a:spcBef>
              <a:defRPr/>
            </a:pPr>
            <a:r>
              <a:rPr lang="en-AU" b="1" dirty="0">
                <a:solidFill>
                  <a:srgbClr val="F5C94F"/>
                </a:solidFill>
                <a:latin typeface="Century Gothic" charset="0"/>
                <a:ea typeface="Century Gothic" charset="0"/>
                <a:cs typeface="Century Gothic" charset="0"/>
              </a:rPr>
              <a:t>TUGAS LPJK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D430955-69B4-DB58-9A15-6F110A7A45B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106" y="1246784"/>
            <a:ext cx="10116839" cy="5117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9559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5" grpId="0" animBg="1"/>
      <p:bldP spid="54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32404ABF-311B-4C82-86A1-8C2F926F51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xmlns="" id="{CBC95CE5-6B46-4749-8037-32F37DFED6D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lang="en-US" sz="3600" b="1" dirty="0">
              <a:solidFill>
                <a:prstClr val="white"/>
              </a:solidFill>
              <a:latin typeface="Segoe UI" panose="020B0502040204020203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3" name="任意多边形: 形状 16">
            <a:extLst>
              <a:ext uri="{FF2B5EF4-FFF2-40B4-BE49-F238E27FC236}">
                <a16:creationId xmlns:a16="http://schemas.microsoft.com/office/drawing/2014/main" xmlns="" id="{D794E18D-9977-46BD-8B0A-01B80EF9FD2A}"/>
              </a:ext>
            </a:extLst>
          </p:cNvPr>
          <p:cNvSpPr/>
          <p:nvPr/>
        </p:nvSpPr>
        <p:spPr>
          <a:xfrm rot="5400000" flipH="1">
            <a:off x="4623760" y="11408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1E4C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4" name="任意多边形: 形状 16">
            <a:extLst>
              <a:ext uri="{FF2B5EF4-FFF2-40B4-BE49-F238E27FC236}">
                <a16:creationId xmlns:a16="http://schemas.microsoft.com/office/drawing/2014/main" xmlns="" id="{4B120BF0-97E1-4511-B539-159342009EB6}"/>
              </a:ext>
            </a:extLst>
          </p:cNvPr>
          <p:cNvSpPr/>
          <p:nvPr/>
        </p:nvSpPr>
        <p:spPr>
          <a:xfrm rot="5400000" flipH="1">
            <a:off x="4593292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1E4C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2" name="Rectángulo 6175">
            <a:extLst>
              <a:ext uri="{FF2B5EF4-FFF2-40B4-BE49-F238E27FC236}">
                <a16:creationId xmlns:a16="http://schemas.microsoft.com/office/drawing/2014/main" xmlns="" id="{084BFAB7-1E03-4EB2-8CCE-0C5CACEA3CC1}"/>
              </a:ext>
            </a:extLst>
          </p:cNvPr>
          <p:cNvSpPr/>
          <p:nvPr/>
        </p:nvSpPr>
        <p:spPr>
          <a:xfrm>
            <a:off x="1" y="0"/>
            <a:ext cx="5545550" cy="6858000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任意多边形: 形状 16">
            <a:extLst>
              <a:ext uri="{FF2B5EF4-FFF2-40B4-BE49-F238E27FC236}">
                <a16:creationId xmlns:a16="http://schemas.microsoft.com/office/drawing/2014/main" xmlns="" id="{E4B93134-654E-4019-A634-7D3215DB38CD}"/>
              </a:ext>
            </a:extLst>
          </p:cNvPr>
          <p:cNvSpPr/>
          <p:nvPr/>
        </p:nvSpPr>
        <p:spPr>
          <a:xfrm rot="5400000" flipH="1">
            <a:off x="4286237" y="1140891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1E4C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1" name="任意多边形: 形状 16">
            <a:extLst>
              <a:ext uri="{FF2B5EF4-FFF2-40B4-BE49-F238E27FC236}">
                <a16:creationId xmlns:a16="http://schemas.microsoft.com/office/drawing/2014/main" xmlns="" id="{5554B1C5-6BA6-45C1-B78B-5EFC720BF1CD}"/>
              </a:ext>
            </a:extLst>
          </p:cNvPr>
          <p:cNvSpPr/>
          <p:nvPr/>
        </p:nvSpPr>
        <p:spPr>
          <a:xfrm rot="5400000" flipH="1">
            <a:off x="4255769" y="5254294"/>
            <a:ext cx="2742954" cy="464457"/>
          </a:xfrm>
          <a:custGeom>
            <a:avLst/>
            <a:gdLst>
              <a:gd name="connsiteX0" fmla="*/ 75600 w 2136775"/>
              <a:gd name="connsiteY0" fmla="*/ 0 h 346075"/>
              <a:gd name="connsiteX1" fmla="*/ 279529 w 2136775"/>
              <a:gd name="connsiteY1" fmla="*/ 0 h 346075"/>
              <a:gd name="connsiteX2" fmla="*/ 279529 w 2136775"/>
              <a:gd name="connsiteY2" fmla="*/ 82894 h 346075"/>
              <a:gd name="connsiteX3" fmla="*/ 431929 w 2136775"/>
              <a:gd name="connsiteY3" fmla="*/ 82894 h 346075"/>
              <a:gd name="connsiteX4" fmla="*/ 431929 w 2136775"/>
              <a:gd name="connsiteY4" fmla="*/ 0 h 346075"/>
              <a:gd name="connsiteX5" fmla="*/ 635858 w 2136775"/>
              <a:gd name="connsiteY5" fmla="*/ 0 h 346075"/>
              <a:gd name="connsiteX6" fmla="*/ 635858 w 2136775"/>
              <a:gd name="connsiteY6" fmla="*/ 82894 h 346075"/>
              <a:gd name="connsiteX7" fmla="*/ 788258 w 2136775"/>
              <a:gd name="connsiteY7" fmla="*/ 82894 h 346075"/>
              <a:gd name="connsiteX8" fmla="*/ 788258 w 2136775"/>
              <a:gd name="connsiteY8" fmla="*/ 0 h 346075"/>
              <a:gd name="connsiteX9" fmla="*/ 992187 w 2136775"/>
              <a:gd name="connsiteY9" fmla="*/ 0 h 346075"/>
              <a:gd name="connsiteX10" fmla="*/ 992187 w 2136775"/>
              <a:gd name="connsiteY10" fmla="*/ 82894 h 346075"/>
              <a:gd name="connsiteX11" fmla="*/ 1144587 w 2136775"/>
              <a:gd name="connsiteY11" fmla="*/ 82894 h 346075"/>
              <a:gd name="connsiteX12" fmla="*/ 1144587 w 2136775"/>
              <a:gd name="connsiteY12" fmla="*/ 0 h 346075"/>
              <a:gd name="connsiteX13" fmla="*/ 1348516 w 2136775"/>
              <a:gd name="connsiteY13" fmla="*/ 0 h 346075"/>
              <a:gd name="connsiteX14" fmla="*/ 1348516 w 2136775"/>
              <a:gd name="connsiteY14" fmla="*/ 82894 h 346075"/>
              <a:gd name="connsiteX15" fmla="*/ 1500916 w 2136775"/>
              <a:gd name="connsiteY15" fmla="*/ 82894 h 346075"/>
              <a:gd name="connsiteX16" fmla="*/ 1500916 w 2136775"/>
              <a:gd name="connsiteY16" fmla="*/ 0 h 346075"/>
              <a:gd name="connsiteX17" fmla="*/ 1704845 w 2136775"/>
              <a:gd name="connsiteY17" fmla="*/ 0 h 346075"/>
              <a:gd name="connsiteX18" fmla="*/ 1704845 w 2136775"/>
              <a:gd name="connsiteY18" fmla="*/ 82894 h 346075"/>
              <a:gd name="connsiteX19" fmla="*/ 1857245 w 2136775"/>
              <a:gd name="connsiteY19" fmla="*/ 82894 h 346075"/>
              <a:gd name="connsiteX20" fmla="*/ 1857245 w 2136775"/>
              <a:gd name="connsiteY20" fmla="*/ 0 h 346075"/>
              <a:gd name="connsiteX21" fmla="*/ 2061175 w 2136775"/>
              <a:gd name="connsiteY21" fmla="*/ 0 h 346075"/>
              <a:gd name="connsiteX22" fmla="*/ 2061175 w 2136775"/>
              <a:gd name="connsiteY22" fmla="*/ 82894 h 346075"/>
              <a:gd name="connsiteX23" fmla="*/ 2136775 w 2136775"/>
              <a:gd name="connsiteY23" fmla="*/ 82894 h 346075"/>
              <a:gd name="connsiteX24" fmla="*/ 2136775 w 2136775"/>
              <a:gd name="connsiteY24" fmla="*/ 346075 h 346075"/>
              <a:gd name="connsiteX25" fmla="*/ 0 w 2136775"/>
              <a:gd name="connsiteY25" fmla="*/ 346075 h 346075"/>
              <a:gd name="connsiteX26" fmla="*/ 0 w 2136775"/>
              <a:gd name="connsiteY26" fmla="*/ 82894 h 346075"/>
              <a:gd name="connsiteX27" fmla="*/ 75600 w 2136775"/>
              <a:gd name="connsiteY27" fmla="*/ 82894 h 3460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2136775" h="346075">
                <a:moveTo>
                  <a:pt x="75600" y="0"/>
                </a:moveTo>
                <a:lnTo>
                  <a:pt x="279529" y="0"/>
                </a:lnTo>
                <a:lnTo>
                  <a:pt x="279529" y="82894"/>
                </a:lnTo>
                <a:lnTo>
                  <a:pt x="431929" y="82894"/>
                </a:lnTo>
                <a:lnTo>
                  <a:pt x="431929" y="0"/>
                </a:lnTo>
                <a:lnTo>
                  <a:pt x="635858" y="0"/>
                </a:lnTo>
                <a:lnTo>
                  <a:pt x="635858" y="82894"/>
                </a:lnTo>
                <a:lnTo>
                  <a:pt x="788258" y="82894"/>
                </a:lnTo>
                <a:lnTo>
                  <a:pt x="788258" y="0"/>
                </a:lnTo>
                <a:lnTo>
                  <a:pt x="992187" y="0"/>
                </a:lnTo>
                <a:lnTo>
                  <a:pt x="992187" y="82894"/>
                </a:lnTo>
                <a:lnTo>
                  <a:pt x="1144587" y="82894"/>
                </a:lnTo>
                <a:lnTo>
                  <a:pt x="1144587" y="0"/>
                </a:lnTo>
                <a:lnTo>
                  <a:pt x="1348516" y="0"/>
                </a:lnTo>
                <a:lnTo>
                  <a:pt x="1348516" y="82894"/>
                </a:lnTo>
                <a:lnTo>
                  <a:pt x="1500916" y="82894"/>
                </a:lnTo>
                <a:lnTo>
                  <a:pt x="1500916" y="0"/>
                </a:lnTo>
                <a:lnTo>
                  <a:pt x="1704845" y="0"/>
                </a:lnTo>
                <a:lnTo>
                  <a:pt x="1704845" y="82894"/>
                </a:lnTo>
                <a:lnTo>
                  <a:pt x="1857245" y="82894"/>
                </a:lnTo>
                <a:lnTo>
                  <a:pt x="1857245" y="0"/>
                </a:lnTo>
                <a:lnTo>
                  <a:pt x="2061175" y="0"/>
                </a:lnTo>
                <a:lnTo>
                  <a:pt x="2061175" y="82894"/>
                </a:lnTo>
                <a:lnTo>
                  <a:pt x="2136775" y="82894"/>
                </a:lnTo>
                <a:lnTo>
                  <a:pt x="2136775" y="346075"/>
                </a:lnTo>
                <a:lnTo>
                  <a:pt x="0" y="346075"/>
                </a:lnTo>
                <a:lnTo>
                  <a:pt x="0" y="82894"/>
                </a:lnTo>
                <a:lnTo>
                  <a:pt x="75600" y="82894"/>
                </a:lnTo>
                <a:close/>
              </a:path>
            </a:pathLst>
          </a:custGeom>
          <a:solidFill>
            <a:srgbClr val="1E4C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3FDC3C6D-99CD-4029-A4B2-66084947B1BB}"/>
              </a:ext>
            </a:extLst>
          </p:cNvPr>
          <p:cNvSpPr/>
          <p:nvPr/>
        </p:nvSpPr>
        <p:spPr>
          <a:xfrm>
            <a:off x="3650343" y="1226073"/>
            <a:ext cx="4891314" cy="4891314"/>
          </a:xfrm>
          <a:prstGeom prst="ellipse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xmlns="" id="{31CC1986-C0F2-4C1B-8575-225EEE4D5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859" y="565537"/>
            <a:ext cx="4577000" cy="2211066"/>
          </a:xfrm>
        </p:spPr>
        <p:txBody>
          <a:bodyPr lIns="0" rIns="0">
            <a:noAutofit/>
          </a:bodyPr>
          <a:lstStyle/>
          <a:p>
            <a:pPr algn="l">
              <a:tabLst>
                <a:tab pos="3765550" algn="l"/>
              </a:tabLst>
            </a:pP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ngembangan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profesian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kelanjutan</a:t>
            </a: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b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36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PKB)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xmlns="" id="{73876DDB-D869-4E80-9AE0-B1B350CCA131}"/>
              </a:ext>
            </a:extLst>
          </p:cNvPr>
          <p:cNvSpPr txBox="1">
            <a:spLocks/>
          </p:cNvSpPr>
          <p:nvPr/>
        </p:nvSpPr>
        <p:spPr>
          <a:xfrm>
            <a:off x="364859" y="3118982"/>
            <a:ext cx="3048346" cy="24324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  <a:defRPr/>
            </a:pP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KB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rupakan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giatan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yang </a:t>
            </a:r>
            <a:r>
              <a:rPr lang="en-US" sz="18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ikuti</a:t>
            </a:r>
            <a:r>
              <a:rPr lang="en-US" sz="18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tau</a:t>
            </a:r>
            <a:r>
              <a:rPr lang="en-US" sz="18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ilaksanakan</a:t>
            </a:r>
            <a:r>
              <a:rPr lang="en-US" sz="18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oleh </a:t>
            </a:r>
            <a:r>
              <a:rPr lang="en-US" sz="18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enaga</a:t>
            </a:r>
            <a:r>
              <a:rPr lang="en-US" sz="18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hli</a:t>
            </a:r>
            <a:r>
              <a:rPr lang="en-US" sz="18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b="1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nstruksi</a:t>
            </a:r>
            <a:r>
              <a:rPr lang="en-US" sz="1800" b="1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bagai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paya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tuk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melihara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dan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ningkatkan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ompetensinya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ecara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berkesinambungan</a:t>
            </a:r>
            <a:r>
              <a:rPr lang="en-US" sz="1800" dirty="0">
                <a:solidFill>
                  <a:prstClr val="white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</p:txBody>
      </p:sp>
      <p:sp>
        <p:nvSpPr>
          <p:cNvPr id="27" name="Arc 26">
            <a:extLst>
              <a:ext uri="{FF2B5EF4-FFF2-40B4-BE49-F238E27FC236}">
                <a16:creationId xmlns:a16="http://schemas.microsoft.com/office/drawing/2014/main" xmlns="" id="{293895EF-F846-482A-9164-DAB9FF74888E}"/>
              </a:ext>
            </a:extLst>
          </p:cNvPr>
          <p:cNvSpPr/>
          <p:nvPr/>
        </p:nvSpPr>
        <p:spPr>
          <a:xfrm rot="1294325">
            <a:off x="3862388" y="1438118"/>
            <a:ext cx="4467224" cy="4467224"/>
          </a:xfrm>
          <a:prstGeom prst="arc">
            <a:avLst>
              <a:gd name="adj1" fmla="val 14589245"/>
              <a:gd name="adj2" fmla="val 14266239"/>
            </a:avLst>
          </a:prstGeom>
          <a:ln w="76200">
            <a:solidFill>
              <a:schemeClr val="bg1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94" name="Slide Number Placeholder 93">
            <a:extLst>
              <a:ext uri="{FF2B5EF4-FFF2-40B4-BE49-F238E27FC236}">
                <a16:creationId xmlns:a16="http://schemas.microsoft.com/office/drawing/2014/main" xmlns="" id="{ECB8D3FA-85B0-4687-9A60-D54F9B1AF7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D05A9CD-9176-4D89-A414-3BEEE81BBC77}" type="slidenum">
              <a:rPr lang="en-US" smtClean="0">
                <a:solidFill>
                  <a:prstClr val="black">
                    <a:lumMod val="75000"/>
                    <a:lumOff val="25000"/>
                  </a:prstClr>
                </a:solidFill>
              </a:rPr>
              <a:pPr>
                <a:defRPr/>
              </a:pPr>
              <a:t>40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190" name="Oval 189">
            <a:extLst>
              <a:ext uri="{FF2B5EF4-FFF2-40B4-BE49-F238E27FC236}">
                <a16:creationId xmlns:a16="http://schemas.microsoft.com/office/drawing/2014/main" xmlns="" id="{6C80235F-A638-0D60-0C66-A2C240773605}"/>
              </a:ext>
            </a:extLst>
          </p:cNvPr>
          <p:cNvSpPr/>
          <p:nvPr/>
        </p:nvSpPr>
        <p:spPr>
          <a:xfrm>
            <a:off x="4278341" y="1850585"/>
            <a:ext cx="3646278" cy="364627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>
              <a:solidFill>
                <a:prstClr val="white"/>
              </a:solidFill>
            </a:endParaRPr>
          </a:p>
        </p:txBody>
      </p:sp>
      <p:grpSp>
        <p:nvGrpSpPr>
          <p:cNvPr id="2052" name="Group 2051">
            <a:extLst>
              <a:ext uri="{FF2B5EF4-FFF2-40B4-BE49-F238E27FC236}">
                <a16:creationId xmlns:a16="http://schemas.microsoft.com/office/drawing/2014/main" xmlns="" id="{B35F7111-E718-359D-BCE6-BB57BBE3E7C0}"/>
              </a:ext>
            </a:extLst>
          </p:cNvPr>
          <p:cNvGrpSpPr/>
          <p:nvPr/>
        </p:nvGrpSpPr>
        <p:grpSpPr>
          <a:xfrm>
            <a:off x="6133882" y="308620"/>
            <a:ext cx="5493876" cy="1532892"/>
            <a:chOff x="6133882" y="194320"/>
            <a:chExt cx="5493876" cy="1532892"/>
          </a:xfrm>
        </p:grpSpPr>
        <p:sp>
          <p:nvSpPr>
            <p:cNvPr id="34" name="Freeform 46">
              <a:extLst>
                <a:ext uri="{FF2B5EF4-FFF2-40B4-BE49-F238E27FC236}">
                  <a16:creationId xmlns:a16="http://schemas.microsoft.com/office/drawing/2014/main" xmlns="" id="{B47F8AEC-0526-4A86-A53A-BDDC597416CE}"/>
                </a:ext>
              </a:extLst>
            </p:cNvPr>
            <p:cNvSpPr/>
            <p:nvPr/>
          </p:nvSpPr>
          <p:spPr>
            <a:xfrm>
              <a:off x="6285153" y="875215"/>
              <a:ext cx="5342605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xmlns="" id="{2FBDDD12-3C77-42DB-8FC3-015BD08CFBC9}"/>
                </a:ext>
              </a:extLst>
            </p:cNvPr>
            <p:cNvGrpSpPr/>
            <p:nvPr/>
          </p:nvGrpSpPr>
          <p:grpSpPr>
            <a:xfrm>
              <a:off x="6133882" y="755694"/>
              <a:ext cx="971518" cy="971518"/>
              <a:chOff x="7187500" y="839949"/>
              <a:chExt cx="1422400" cy="14224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xmlns="" id="{17557160-3B88-4BD6-9B6B-2EB953316367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xmlns="" id="{6965462A-E6F0-45F8-B9C4-B22E3BB15E7A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7" name="Title 1">
              <a:extLst>
                <a:ext uri="{FF2B5EF4-FFF2-40B4-BE49-F238E27FC236}">
                  <a16:creationId xmlns:a16="http://schemas.microsoft.com/office/drawing/2014/main" xmlns="" id="{C8A0FE49-A2E6-4288-95C1-416B721FE671}"/>
                </a:ext>
              </a:extLst>
            </p:cNvPr>
            <p:cNvSpPr txBox="1">
              <a:spLocks/>
            </p:cNvSpPr>
            <p:nvPr/>
          </p:nvSpPr>
          <p:spPr>
            <a:xfrm>
              <a:off x="7329517" y="985680"/>
              <a:ext cx="4165292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  <a:defRPr/>
              </a:pPr>
              <a:r>
                <a:rPr lang="en-US" sz="1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Tenaga Ahli </a:t>
              </a:r>
              <a:r>
                <a:rPr lang="en-US" sz="1800" b="1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iliki</a:t>
              </a:r>
              <a:r>
                <a:rPr lang="en-US" sz="1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KK-</a:t>
              </a:r>
              <a:r>
                <a:rPr lang="en-US" sz="1800" b="1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onstruksi</a:t>
              </a:r>
              <a:endParaRPr lang="en-US" sz="1800" b="1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xmlns="" id="{1F691999-2BA2-AA3D-61DF-BA137551367F}"/>
                </a:ext>
              </a:extLst>
            </p:cNvPr>
            <p:cNvGrpSpPr/>
            <p:nvPr/>
          </p:nvGrpSpPr>
          <p:grpSpPr>
            <a:xfrm>
              <a:off x="6216029" y="194320"/>
              <a:ext cx="1400572" cy="1336265"/>
              <a:chOff x="278180" y="309716"/>
              <a:chExt cx="1948979" cy="1956722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xmlns="" id="{0A2BDE7F-6989-57DC-3833-6545CC2E55F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7175" b="89686" l="10000" r="93370">
                            <a14:foregroundMark x1="85217" y1="14126" x2="85217" y2="60987"/>
                            <a14:foregroundMark x1="79130" y1="7175" x2="77717" y2="30942"/>
                            <a14:foregroundMark x1="81196" y1="27578" x2="82174" y2="38341"/>
                            <a14:foregroundMark x1="93370" y1="21300" x2="92500" y2="32960"/>
                            <a14:foregroundMark x1="67500" y1="45740" x2="69674" y2="47534"/>
                            <a14:foregroundMark x1="66522" y1="48206" x2="69130" y2="50673"/>
                            <a14:foregroundMark x1="80326" y1="60538" x2="88043" y2="55381"/>
                            <a14:foregroundMark x1="88043" y1="55381" x2="88152" y2="55381"/>
                            <a14:foregroundMark x1="84457" y1="63453" x2="87935" y2="64126"/>
                            <a14:foregroundMark x1="89130" y1="69731" x2="87826" y2="68834"/>
                            <a14:foregroundMark x1="86522" y1="27578" x2="87283" y2="36547"/>
                            <a14:backgroundMark x1="15761" y1="7848" x2="27826" y2="86099"/>
                            <a14:backgroundMark x1="56630" y1="10538" x2="45652" y2="88341"/>
                            <a14:backgroundMark x1="45652" y1="88341" x2="45652" y2="88341"/>
                            <a14:backgroundMark x1="50978" y1="43498" x2="56630" y2="53812"/>
                            <a14:backgroundMark x1="57717" y1="44843" x2="61630" y2="5269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5144"/>
              <a:stretch/>
            </p:blipFill>
            <p:spPr>
              <a:xfrm flipH="1">
                <a:off x="278180" y="309716"/>
                <a:ext cx="1745318" cy="1956722"/>
              </a:xfrm>
              <a:prstGeom prst="rect">
                <a:avLst/>
              </a:prstGeom>
            </p:spPr>
          </p:pic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xmlns="" id="{6F728D2B-1F27-5527-CB3A-2235B32A0F6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print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ackgroundRemoval t="10000" b="90000" l="10000" r="90000">
                            <a14:foregroundMark x1="58789" y1="34082" x2="64453" y2="62305"/>
                            <a14:foregroundMark x1="64453" y1="62305" x2="74023" y2="66895"/>
                            <a14:foregroundMark x1="74023" y1="66895" x2="81250" y2="62012"/>
                            <a14:foregroundMark x1="81250" y1="62012" x2="79102" y2="42578"/>
                            <a14:foregroundMark x1="79102" y1="42578" x2="72852" y2="36914"/>
                            <a14:foregroundMark x1="72852" y1="36914" x2="70215" y2="36035"/>
                            <a14:foregroundMark x1="70410" y1="40430" x2="70801" y2="64063"/>
                            <a14:foregroundMark x1="70801" y1="64063" x2="70801" y2="64063"/>
                            <a14:foregroundMark x1="63184" y1="43262" x2="77148" y2="60938"/>
                            <a14:foregroundMark x1="73047" y1="38281" x2="75684" y2="62305"/>
                            <a14:foregroundMark x1="78223" y1="40430" x2="76953" y2="58594"/>
                            <a14:foregroundMark x1="76953" y1="58594" x2="76953" y2="58594"/>
                            <a14:foregroundMark x1="80859" y1="38867" x2="81152" y2="46777"/>
                            <a14:foregroundMark x1="81348" y1="37598" x2="64746" y2="33398"/>
                            <a14:foregroundMark x1="64746" y1="33398" x2="57910" y2="34570"/>
                            <a14:foregroundMark x1="56152" y1="34082" x2="56641" y2="53516"/>
                            <a14:foregroundMark x1="64941" y1="37207" x2="66504" y2="63867"/>
                            <a14:foregroundMark x1="55957" y1="50293" x2="59082" y2="64258"/>
                            <a14:foregroundMark x1="60156" y1="68457" x2="80469" y2="67285"/>
                            <a14:foregroundMark x1="73438" y1="60742" x2="60156" y2="56836"/>
                            <a14:foregroundMark x1="62988" y1="68164" x2="62012" y2="48730"/>
                            <a14:foregroundMark x1="62012" y1="48730" x2="61914" y2="48730"/>
                            <a14:backgroundMark x1="28418" y1="20801" x2="44531" y2="57227"/>
                            <a14:backgroundMark x1="44531" y1="57227" x2="50293" y2="64941"/>
                            <a14:backgroundMark x1="52734" y1="56836" x2="52246" y2="67285"/>
                            <a14:backgroundMark x1="55762" y1="55957" x2="54199" y2="58398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570" t="31476" r="15173" b="28306"/>
              <a:stretch/>
            </p:blipFill>
            <p:spPr>
              <a:xfrm>
                <a:off x="1547582" y="486722"/>
                <a:ext cx="679577" cy="874420"/>
              </a:xfrm>
              <a:prstGeom prst="rect">
                <a:avLst/>
              </a:prstGeom>
            </p:spPr>
          </p:pic>
        </p:grpSp>
      </p:grpSp>
      <p:grpSp>
        <p:nvGrpSpPr>
          <p:cNvPr id="2049" name="Group 2048">
            <a:extLst>
              <a:ext uri="{FF2B5EF4-FFF2-40B4-BE49-F238E27FC236}">
                <a16:creationId xmlns:a16="http://schemas.microsoft.com/office/drawing/2014/main" xmlns="" id="{B08CE6F8-AC41-E73B-C046-55936749A332}"/>
              </a:ext>
            </a:extLst>
          </p:cNvPr>
          <p:cNvGrpSpPr/>
          <p:nvPr/>
        </p:nvGrpSpPr>
        <p:grpSpPr>
          <a:xfrm>
            <a:off x="7676114" y="1602179"/>
            <a:ext cx="4465996" cy="2381703"/>
            <a:chOff x="7676114" y="1354529"/>
            <a:chExt cx="4465996" cy="2381703"/>
          </a:xfrm>
        </p:grpSpPr>
        <p:sp>
          <p:nvSpPr>
            <p:cNvPr id="35" name="Freeform 46">
              <a:extLst>
                <a:ext uri="{FF2B5EF4-FFF2-40B4-BE49-F238E27FC236}">
                  <a16:creationId xmlns:a16="http://schemas.microsoft.com/office/drawing/2014/main" xmlns="" id="{D0E50AF2-0884-4E4A-B3F8-055FAD6842F5}"/>
                </a:ext>
              </a:extLst>
            </p:cNvPr>
            <p:cNvSpPr/>
            <p:nvPr/>
          </p:nvSpPr>
          <p:spPr>
            <a:xfrm>
              <a:off x="7799380" y="2300803"/>
              <a:ext cx="4318728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799B3873-668D-43B5-9506-34B08AD24C4A}"/>
                </a:ext>
              </a:extLst>
            </p:cNvPr>
            <p:cNvGrpSpPr/>
            <p:nvPr/>
          </p:nvGrpSpPr>
          <p:grpSpPr>
            <a:xfrm>
              <a:off x="7676114" y="2166239"/>
              <a:ext cx="971518" cy="971518"/>
              <a:chOff x="7187500" y="839949"/>
              <a:chExt cx="1422400" cy="1422400"/>
            </a:xfrm>
          </p:grpSpPr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xmlns="" id="{FC6A1AEC-37B7-4291-B20C-58B8E0F6586B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xmlns="" id="{912DEC58-618B-45F5-9FE7-3128DCC314BD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3" name="Title 1">
              <a:extLst>
                <a:ext uri="{FF2B5EF4-FFF2-40B4-BE49-F238E27FC236}">
                  <a16:creationId xmlns:a16="http://schemas.microsoft.com/office/drawing/2014/main" xmlns="" id="{4AB2ACD1-6140-4842-BC3E-5D762A5714D4}"/>
                </a:ext>
              </a:extLst>
            </p:cNvPr>
            <p:cNvSpPr txBox="1">
              <a:spLocks/>
            </p:cNvSpPr>
            <p:nvPr/>
          </p:nvSpPr>
          <p:spPr>
            <a:xfrm>
              <a:off x="8691089" y="2391329"/>
              <a:ext cx="3451021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  <a:defRPr/>
              </a:pPr>
              <a:r>
                <a:rPr lang="en-US" sz="1800" b="1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gikuti</a:t>
              </a:r>
              <a:r>
                <a:rPr lang="en-US" sz="1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/</a:t>
              </a:r>
              <a:r>
                <a:rPr lang="en-US" sz="1800" b="1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laksanakan</a:t>
              </a:r>
              <a:r>
                <a:rPr lang="en-US" sz="1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PKB</a:t>
              </a:r>
            </a:p>
          </p:txBody>
        </p:sp>
        <p:sp>
          <p:nvSpPr>
            <p:cNvPr id="39" name="Title 1">
              <a:extLst>
                <a:ext uri="{FF2B5EF4-FFF2-40B4-BE49-F238E27FC236}">
                  <a16:creationId xmlns:a16="http://schemas.microsoft.com/office/drawing/2014/main" xmlns="" id="{4D0DD9E9-8C48-41FB-81FC-E16539A15F21}"/>
                </a:ext>
              </a:extLst>
            </p:cNvPr>
            <p:cNvSpPr txBox="1">
              <a:spLocks/>
            </p:cNvSpPr>
            <p:nvPr/>
          </p:nvSpPr>
          <p:spPr>
            <a:xfrm>
              <a:off x="8579881" y="3224936"/>
              <a:ext cx="3444211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4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Untuk</a:t>
              </a:r>
              <a:r>
                <a:rPr 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elihara</a:t>
              </a:r>
              <a:r>
                <a:rPr 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dan </a:t>
              </a:r>
              <a:r>
                <a:rPr lang="en-US" sz="14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ingkatkan</a:t>
              </a:r>
              <a:r>
                <a:rPr 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4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ompetensi</a:t>
              </a:r>
              <a:endPara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  <a:p>
              <a:pPr marL="285750" indent="-285750">
                <a:lnSpc>
                  <a:spcPct val="100000"/>
                </a:lnSpc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r>
                <a:rPr lang="en-US" sz="14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ngumpulkan</a:t>
              </a:r>
              <a:r>
                <a:rPr 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Nilai </a:t>
              </a:r>
              <a:r>
                <a:rPr lang="en-US" sz="1400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redit</a:t>
              </a:r>
              <a:r>
                <a:rPr 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PKB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xmlns="" id="{055BF276-8527-3DD0-7420-F833C818C10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813242" y="1354529"/>
              <a:ext cx="1495181" cy="1505217"/>
            </a:xfrm>
            <a:prstGeom prst="rect">
              <a:avLst/>
            </a:prstGeom>
          </p:spPr>
        </p:pic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xmlns="" id="{95FEDEC6-2B3D-AE90-F356-D41EA5C82BD3}"/>
              </a:ext>
            </a:extLst>
          </p:cNvPr>
          <p:cNvGrpSpPr/>
          <p:nvPr/>
        </p:nvGrpSpPr>
        <p:grpSpPr>
          <a:xfrm>
            <a:off x="6227840" y="5384096"/>
            <a:ext cx="4389610" cy="1019632"/>
            <a:chOff x="5556804" y="5489583"/>
            <a:chExt cx="4389610" cy="1019632"/>
          </a:xfrm>
        </p:grpSpPr>
        <p:sp>
          <p:nvSpPr>
            <p:cNvPr id="125" name="Freeform 46">
              <a:extLst>
                <a:ext uri="{FF2B5EF4-FFF2-40B4-BE49-F238E27FC236}">
                  <a16:creationId xmlns:a16="http://schemas.microsoft.com/office/drawing/2014/main" xmlns="" id="{AAA6EC12-3EF2-8FC5-3A44-7DA196CB5425}"/>
                </a:ext>
              </a:extLst>
            </p:cNvPr>
            <p:cNvSpPr/>
            <p:nvPr/>
          </p:nvSpPr>
          <p:spPr>
            <a:xfrm>
              <a:off x="5680070" y="5672261"/>
              <a:ext cx="4266344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xmlns="" id="{1F7481D7-CDD1-03BC-6880-7824B439CDAC}"/>
                </a:ext>
              </a:extLst>
            </p:cNvPr>
            <p:cNvGrpSpPr/>
            <p:nvPr/>
          </p:nvGrpSpPr>
          <p:grpSpPr>
            <a:xfrm>
              <a:off x="5556804" y="5537697"/>
              <a:ext cx="971518" cy="971518"/>
              <a:chOff x="7187500" y="839949"/>
              <a:chExt cx="1422400" cy="1422400"/>
            </a:xfrm>
          </p:grpSpPr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xmlns="" id="{DAAF51E8-B111-15A3-AEDD-496C19B68DF0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xmlns="" id="{3E2E85E4-1931-686A-3509-BB0ED7415939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29" name="Title 1">
              <a:extLst>
                <a:ext uri="{FF2B5EF4-FFF2-40B4-BE49-F238E27FC236}">
                  <a16:creationId xmlns:a16="http://schemas.microsoft.com/office/drawing/2014/main" xmlns="" id="{1A16FBBD-33AB-35D9-5AE9-FE1C9594029C}"/>
                </a:ext>
              </a:extLst>
            </p:cNvPr>
            <p:cNvSpPr txBox="1">
              <a:spLocks/>
            </p:cNvSpPr>
            <p:nvPr/>
          </p:nvSpPr>
          <p:spPr>
            <a:xfrm>
              <a:off x="6533945" y="5749483"/>
              <a:ext cx="2394583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  <a:defRPr/>
              </a:pPr>
              <a:r>
                <a:rPr lang="en-US" sz="1800" b="1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panjangan</a:t>
              </a:r>
              <a:r>
                <a:rPr lang="en-US" sz="1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SKK</a:t>
              </a:r>
            </a:p>
          </p:txBody>
        </p:sp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xmlns="" id="{996BB2E8-477B-82B2-8AA1-6B645A0D3B7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638121" y="5489583"/>
              <a:ext cx="852247" cy="759993"/>
            </a:xfrm>
            <a:prstGeom prst="rect">
              <a:avLst/>
            </a:prstGeom>
          </p:spPr>
        </p:pic>
      </p:grpSp>
      <p:grpSp>
        <p:nvGrpSpPr>
          <p:cNvPr id="2053" name="Group 2052">
            <a:extLst>
              <a:ext uri="{FF2B5EF4-FFF2-40B4-BE49-F238E27FC236}">
                <a16:creationId xmlns:a16="http://schemas.microsoft.com/office/drawing/2014/main" xmlns="" id="{B45FABD5-A249-7D9C-9883-1DF1E67DEB1E}"/>
              </a:ext>
            </a:extLst>
          </p:cNvPr>
          <p:cNvGrpSpPr/>
          <p:nvPr/>
        </p:nvGrpSpPr>
        <p:grpSpPr>
          <a:xfrm>
            <a:off x="7552424" y="4146207"/>
            <a:ext cx="4040984" cy="1109386"/>
            <a:chOff x="7609574" y="4070007"/>
            <a:chExt cx="4040984" cy="1109386"/>
          </a:xfrm>
        </p:grpSpPr>
        <p:sp>
          <p:nvSpPr>
            <p:cNvPr id="29" name="Freeform 46">
              <a:extLst>
                <a:ext uri="{FF2B5EF4-FFF2-40B4-BE49-F238E27FC236}">
                  <a16:creationId xmlns:a16="http://schemas.microsoft.com/office/drawing/2014/main" xmlns="" id="{19486712-0D64-C97E-6CE1-A04844AA6657}"/>
                </a:ext>
              </a:extLst>
            </p:cNvPr>
            <p:cNvSpPr/>
            <p:nvPr/>
          </p:nvSpPr>
          <p:spPr>
            <a:xfrm>
              <a:off x="7732839" y="4342439"/>
              <a:ext cx="3917719" cy="73247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xmlns="" id="{2C82E31C-1EE4-28ED-768F-C27235387D49}"/>
                </a:ext>
              </a:extLst>
            </p:cNvPr>
            <p:cNvGrpSpPr/>
            <p:nvPr/>
          </p:nvGrpSpPr>
          <p:grpSpPr>
            <a:xfrm>
              <a:off x="7609574" y="4207875"/>
              <a:ext cx="971518" cy="971518"/>
              <a:chOff x="7187500" y="839949"/>
              <a:chExt cx="1422400" cy="1422400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xmlns="" id="{90F8DC40-AD8A-B47B-9BE5-4D015FE4AE2E}"/>
                  </a:ext>
                </a:extLst>
              </p:cNvPr>
              <p:cNvSpPr/>
              <p:nvPr/>
            </p:nvSpPr>
            <p:spPr>
              <a:xfrm>
                <a:off x="7187500" y="839949"/>
                <a:ext cx="1422400" cy="14224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xmlns="" id="{8239B47B-4E88-201A-FEC0-5E2009B8B4BB}"/>
                  </a:ext>
                </a:extLst>
              </p:cNvPr>
              <p:cNvSpPr/>
              <p:nvPr/>
            </p:nvSpPr>
            <p:spPr>
              <a:xfrm>
                <a:off x="7412941" y="1065390"/>
                <a:ext cx="971519" cy="971519"/>
              </a:xfrm>
              <a:prstGeom prst="ellipse">
                <a:avLst/>
              </a:prstGeom>
              <a:solidFill>
                <a:srgbClr val="D01012"/>
              </a:solidFill>
              <a:ln>
                <a:noFill/>
              </a:ln>
              <a:effectLst>
                <a:outerShdw dist="63500" dir="2700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57" name="Title 1">
              <a:extLst>
                <a:ext uri="{FF2B5EF4-FFF2-40B4-BE49-F238E27FC236}">
                  <a16:creationId xmlns:a16="http://schemas.microsoft.com/office/drawing/2014/main" xmlns="" id="{C9564904-4881-34DF-3DAF-CA542BCCCD0F}"/>
                </a:ext>
              </a:extLst>
            </p:cNvPr>
            <p:cNvSpPr txBox="1">
              <a:spLocks/>
            </p:cNvSpPr>
            <p:nvPr/>
          </p:nvSpPr>
          <p:spPr>
            <a:xfrm>
              <a:off x="8655245" y="4453028"/>
              <a:ext cx="2995313" cy="511296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lnSpc>
                  <a:spcPct val="100000"/>
                </a:lnSpc>
                <a:spcAft>
                  <a:spcPts val="1200"/>
                </a:spcAft>
                <a:defRPr/>
              </a:pPr>
              <a:r>
                <a:rPr lang="en-US" sz="1800" b="1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Memenuhi</a:t>
              </a:r>
              <a:r>
                <a:rPr lang="en-US" sz="1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en-US" sz="1800" b="1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Persyaratan</a:t>
              </a:r>
              <a:r>
                <a:rPr lang="en-US" sz="1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Nilai </a:t>
              </a:r>
              <a:r>
                <a:rPr lang="en-US" sz="1800" b="1" dirty="0" err="1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Kredit</a:t>
              </a:r>
              <a:r>
                <a:rPr lang="en-US" sz="18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PKB</a:t>
              </a:r>
            </a:p>
          </p:txBody>
        </p: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xmlns="" id="{A4F187C5-E464-CF73-F657-5868AD012B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44588" y="4070007"/>
              <a:ext cx="766042" cy="766042"/>
            </a:xfrm>
            <a:prstGeom prst="rect">
              <a:avLst/>
            </a:prstGeom>
          </p:spPr>
        </p:pic>
      </p:grpSp>
      <p:pic>
        <p:nvPicPr>
          <p:cNvPr id="2050" name="Picture 2" descr="Construction Hat Cartoon bilder – Bläddra bland 17,518 stockfoton, vektorer  och videor | Adobe Stock">
            <a:extLst>
              <a:ext uri="{FF2B5EF4-FFF2-40B4-BE49-F238E27FC236}">
                <a16:creationId xmlns:a16="http://schemas.microsoft.com/office/drawing/2014/main" xmlns="" id="{88E64FFE-813C-F884-CE2E-6CAEC9009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0000" b="90000" l="10000" r="90000">
                        <a14:foregroundMark x1="22222" y1="70556" x2="39167" y2="73333"/>
                        <a14:foregroundMark x1="39167" y1="73333" x2="40000" y2="73889"/>
                        <a14:foregroundMark x1="71111" y1="43889" x2="66667" y2="53889"/>
                        <a14:foregroundMark x1="50833" y1="60278" x2="56667" y2="60278"/>
                        <a14:foregroundMark x1="34444" y1="62222" x2="38611" y2="61111"/>
                        <a14:foregroundMark x1="40000" y1="65833" x2="40000" y2="72500"/>
                        <a14:foregroundMark x1="45000" y1="75278" x2="46111" y2="70278"/>
                        <a14:foregroundMark x1="43889" y1="69444" x2="44444" y2="61667"/>
                        <a14:foregroundMark x1="28056" y1="83889" x2="39444" y2="78889"/>
                        <a14:foregroundMark x1="58056" y1="60278" x2="45278" y2="59444"/>
                        <a14:foregroundMark x1="42222" y1="48056" x2="43889" y2="54722"/>
                        <a14:foregroundMark x1="36667" y1="60833" x2="40000" y2="60833"/>
                        <a14:foregroundMark x1="34167" y1="61667" x2="37222" y2="61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3567" y="2486051"/>
            <a:ext cx="1883321" cy="1883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2050" descr="lgo sigap.png">
            <a:extLst>
              <a:ext uri="{FF2B5EF4-FFF2-40B4-BE49-F238E27FC236}">
                <a16:creationId xmlns:a16="http://schemas.microsoft.com/office/drawing/2014/main" xmlns="" id="{61B91B0A-8E7E-89FB-264F-A32C40555ECD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624224" y="-2623"/>
            <a:ext cx="2567775" cy="990023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xmlns="" id="{0076F3F1-6CE3-9A42-FBBD-4C0DE0692ADA}"/>
              </a:ext>
            </a:extLst>
          </p:cNvPr>
          <p:cNvSpPr txBox="1">
            <a:spLocks/>
          </p:cNvSpPr>
          <p:nvPr/>
        </p:nvSpPr>
        <p:spPr>
          <a:xfrm>
            <a:off x="4539527" y="2814508"/>
            <a:ext cx="2385275" cy="1771010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butuhan</a:t>
            </a:r>
            <a:r>
              <a:rPr lang="en-US" sz="28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PKB </a:t>
            </a:r>
            <a:r>
              <a:rPr lang="en-US" sz="2800" b="1" dirty="0" err="1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tuk</a:t>
            </a:r>
            <a:r>
              <a:rPr lang="en-US" sz="2800" b="1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Tenaga Ahli</a:t>
            </a:r>
          </a:p>
        </p:txBody>
      </p:sp>
    </p:spTree>
    <p:extLst>
      <p:ext uri="{BB962C8B-B14F-4D97-AF65-F5344CB8AC3E}">
        <p14:creationId xmlns:p14="http://schemas.microsoft.com/office/powerpoint/2010/main" val="97176641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8" name="Picture 397" descr="A close up of a garden&#10;&#10;Description automatically generated">
            <a:extLst>
              <a:ext uri="{FF2B5EF4-FFF2-40B4-BE49-F238E27FC236}">
                <a16:creationId xmlns:a16="http://schemas.microsoft.com/office/drawing/2014/main" xmlns="" id="{B52D0069-3EF9-421B-B6AB-7AB6D3066EC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76482"/>
          <a:stretch/>
        </p:blipFill>
        <p:spPr>
          <a:xfrm>
            <a:off x="0" y="-1"/>
            <a:ext cx="12191999" cy="2033641"/>
          </a:xfrm>
          <a:custGeom>
            <a:avLst/>
            <a:gdLst>
              <a:gd name="connsiteX0" fmla="*/ 0 w 12191999"/>
              <a:gd name="connsiteY0" fmla="*/ 0 h 1612848"/>
              <a:gd name="connsiteX1" fmla="*/ 12191998 w 12191999"/>
              <a:gd name="connsiteY1" fmla="*/ 0 h 1612848"/>
              <a:gd name="connsiteX2" fmla="*/ 12191998 w 12191999"/>
              <a:gd name="connsiteY2" fmla="*/ 263745 h 1612848"/>
              <a:gd name="connsiteX3" fmla="*/ 12191999 w 12191999"/>
              <a:gd name="connsiteY3" fmla="*/ 263745 h 1612848"/>
              <a:gd name="connsiteX4" fmla="*/ 12191999 w 12191999"/>
              <a:gd name="connsiteY4" fmla="*/ 954061 h 1612848"/>
              <a:gd name="connsiteX5" fmla="*/ 11851680 w 12191999"/>
              <a:gd name="connsiteY5" fmla="*/ 942501 h 1612848"/>
              <a:gd name="connsiteX6" fmla="*/ 11049000 w 12191999"/>
              <a:gd name="connsiteY6" fmla="*/ 974945 h 1612848"/>
              <a:gd name="connsiteX7" fmla="*/ 6959600 w 12191999"/>
              <a:gd name="connsiteY7" fmla="*/ 1609945 h 1612848"/>
              <a:gd name="connsiteX8" fmla="*/ 1638300 w 12191999"/>
              <a:gd name="connsiteY8" fmla="*/ 1038445 h 1612848"/>
              <a:gd name="connsiteX9" fmla="*/ 88106 w 12191999"/>
              <a:gd name="connsiteY9" fmla="*/ 1561526 h 1612848"/>
              <a:gd name="connsiteX10" fmla="*/ 0 w 12191999"/>
              <a:gd name="connsiteY10" fmla="*/ 1612848 h 1612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1999" h="1612848">
                <a:moveTo>
                  <a:pt x="0" y="0"/>
                </a:moveTo>
                <a:lnTo>
                  <a:pt x="12191998" y="0"/>
                </a:lnTo>
                <a:lnTo>
                  <a:pt x="12191998" y="263745"/>
                </a:lnTo>
                <a:lnTo>
                  <a:pt x="12191999" y="263745"/>
                </a:lnTo>
                <a:lnTo>
                  <a:pt x="12191999" y="954061"/>
                </a:lnTo>
                <a:lnTo>
                  <a:pt x="11851680" y="942501"/>
                </a:lnTo>
                <a:cubicBezTo>
                  <a:pt x="11592189" y="937904"/>
                  <a:pt x="11319933" y="943724"/>
                  <a:pt x="11049000" y="974945"/>
                </a:cubicBezTo>
                <a:cubicBezTo>
                  <a:pt x="9965267" y="1099828"/>
                  <a:pt x="8528050" y="1599362"/>
                  <a:pt x="6959600" y="1609945"/>
                </a:cubicBezTo>
                <a:cubicBezTo>
                  <a:pt x="5391151" y="1620528"/>
                  <a:pt x="2935818" y="1002462"/>
                  <a:pt x="1638300" y="1038445"/>
                </a:cubicBezTo>
                <a:cubicBezTo>
                  <a:pt x="989542" y="1056437"/>
                  <a:pt x="485775" y="1330545"/>
                  <a:pt x="88106" y="1561526"/>
                </a:cubicBezTo>
                <a:lnTo>
                  <a:pt x="0" y="1612848"/>
                </a:lnTo>
                <a:close/>
              </a:path>
            </a:pathLst>
          </a:custGeom>
        </p:spPr>
      </p:pic>
      <p:sp>
        <p:nvSpPr>
          <p:cNvPr id="396" name="Freeform: Shape 395">
            <a:extLst>
              <a:ext uri="{FF2B5EF4-FFF2-40B4-BE49-F238E27FC236}">
                <a16:creationId xmlns:a16="http://schemas.microsoft.com/office/drawing/2014/main" xmlns="" id="{7858D536-D01D-4FA2-BDCB-BEA1EBADFDC8}"/>
              </a:ext>
            </a:extLst>
          </p:cNvPr>
          <p:cNvSpPr/>
          <p:nvPr/>
        </p:nvSpPr>
        <p:spPr>
          <a:xfrm>
            <a:off x="-1" y="0"/>
            <a:ext cx="12192000" cy="2033640"/>
          </a:xfrm>
          <a:custGeom>
            <a:avLst/>
            <a:gdLst>
              <a:gd name="connsiteX0" fmla="*/ 0 w 12192000"/>
              <a:gd name="connsiteY0" fmla="*/ 0 h 1612848"/>
              <a:gd name="connsiteX1" fmla="*/ 12191999 w 12192000"/>
              <a:gd name="connsiteY1" fmla="*/ 0 h 1612848"/>
              <a:gd name="connsiteX2" fmla="*/ 12191999 w 12192000"/>
              <a:gd name="connsiteY2" fmla="*/ 263745 h 1612848"/>
              <a:gd name="connsiteX3" fmla="*/ 12192000 w 12192000"/>
              <a:gd name="connsiteY3" fmla="*/ 263745 h 1612848"/>
              <a:gd name="connsiteX4" fmla="*/ 12192000 w 12192000"/>
              <a:gd name="connsiteY4" fmla="*/ 954061 h 1612848"/>
              <a:gd name="connsiteX5" fmla="*/ 11851681 w 12192000"/>
              <a:gd name="connsiteY5" fmla="*/ 942501 h 1612848"/>
              <a:gd name="connsiteX6" fmla="*/ 11049001 w 12192000"/>
              <a:gd name="connsiteY6" fmla="*/ 974945 h 1612848"/>
              <a:gd name="connsiteX7" fmla="*/ 6959601 w 12192000"/>
              <a:gd name="connsiteY7" fmla="*/ 1609945 h 1612848"/>
              <a:gd name="connsiteX8" fmla="*/ 1638301 w 12192000"/>
              <a:gd name="connsiteY8" fmla="*/ 1038445 h 1612848"/>
              <a:gd name="connsiteX9" fmla="*/ 88107 w 12192000"/>
              <a:gd name="connsiteY9" fmla="*/ 1561526 h 1612848"/>
              <a:gd name="connsiteX10" fmla="*/ 0 w 12192000"/>
              <a:gd name="connsiteY10" fmla="*/ 1612848 h 1612848"/>
              <a:gd name="connsiteX11" fmla="*/ 0 w 12192000"/>
              <a:gd name="connsiteY11" fmla="*/ 633089 h 1612848"/>
              <a:gd name="connsiteX12" fmla="*/ 0 w 12192000"/>
              <a:gd name="connsiteY12" fmla="*/ 263745 h 16128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2000" h="1612848">
                <a:moveTo>
                  <a:pt x="0" y="0"/>
                </a:moveTo>
                <a:lnTo>
                  <a:pt x="12191999" y="0"/>
                </a:lnTo>
                <a:lnTo>
                  <a:pt x="12191999" y="263745"/>
                </a:lnTo>
                <a:lnTo>
                  <a:pt x="12192000" y="263745"/>
                </a:lnTo>
                <a:lnTo>
                  <a:pt x="12192000" y="954061"/>
                </a:lnTo>
                <a:lnTo>
                  <a:pt x="11851681" y="942501"/>
                </a:lnTo>
                <a:cubicBezTo>
                  <a:pt x="11592190" y="937904"/>
                  <a:pt x="11319934" y="943724"/>
                  <a:pt x="11049001" y="974945"/>
                </a:cubicBezTo>
                <a:cubicBezTo>
                  <a:pt x="9965268" y="1099828"/>
                  <a:pt x="8528051" y="1599362"/>
                  <a:pt x="6959601" y="1609945"/>
                </a:cubicBezTo>
                <a:cubicBezTo>
                  <a:pt x="5391152" y="1620528"/>
                  <a:pt x="2935819" y="1002462"/>
                  <a:pt x="1638301" y="1038445"/>
                </a:cubicBezTo>
                <a:cubicBezTo>
                  <a:pt x="989543" y="1056437"/>
                  <a:pt x="485776" y="1330545"/>
                  <a:pt x="88107" y="1561526"/>
                </a:cubicBezTo>
                <a:lnTo>
                  <a:pt x="0" y="1612848"/>
                </a:lnTo>
                <a:lnTo>
                  <a:pt x="0" y="633089"/>
                </a:lnTo>
                <a:lnTo>
                  <a:pt x="0" y="263745"/>
                </a:lnTo>
                <a:close/>
              </a:path>
            </a:pathLst>
          </a:cu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xmlns="" id="{0519D165-76E0-4E00-B985-8BD231B36033}"/>
              </a:ext>
            </a:extLst>
          </p:cNvPr>
          <p:cNvSpPr/>
          <p:nvPr/>
        </p:nvSpPr>
        <p:spPr>
          <a:xfrm>
            <a:off x="11487150" y="-1"/>
            <a:ext cx="704850" cy="477469"/>
          </a:xfrm>
          <a:custGeom>
            <a:avLst/>
            <a:gdLst>
              <a:gd name="connsiteX0" fmla="*/ 0 w 584288"/>
              <a:gd name="connsiteY0" fmla="*/ 0 h 395800"/>
              <a:gd name="connsiteX1" fmla="*/ 584288 w 584288"/>
              <a:gd name="connsiteY1" fmla="*/ 0 h 395800"/>
              <a:gd name="connsiteX2" fmla="*/ 584288 w 584288"/>
              <a:gd name="connsiteY2" fmla="*/ 346011 h 395800"/>
              <a:gd name="connsiteX3" fmla="*/ 549863 w 584288"/>
              <a:gd name="connsiteY3" fmla="*/ 364696 h 395800"/>
              <a:gd name="connsiteX4" fmla="*/ 395800 w 584288"/>
              <a:gd name="connsiteY4" fmla="*/ 395800 h 395800"/>
              <a:gd name="connsiteX5" fmla="*/ 0 w 584288"/>
              <a:gd name="connsiteY5" fmla="*/ 0 h 395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84288" h="395800">
                <a:moveTo>
                  <a:pt x="0" y="0"/>
                </a:moveTo>
                <a:lnTo>
                  <a:pt x="584288" y="0"/>
                </a:lnTo>
                <a:lnTo>
                  <a:pt x="584288" y="346011"/>
                </a:lnTo>
                <a:lnTo>
                  <a:pt x="549863" y="364696"/>
                </a:lnTo>
                <a:cubicBezTo>
                  <a:pt x="502510" y="384725"/>
                  <a:pt x="450449" y="395800"/>
                  <a:pt x="395800" y="395800"/>
                </a:cubicBezTo>
                <a:cubicBezTo>
                  <a:pt x="177206" y="395800"/>
                  <a:pt x="0" y="218594"/>
                  <a:pt x="0" y="0"/>
                </a:cubicBez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208C06D-9D4B-4427-BC66-B59CB99B15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8191" y="274365"/>
            <a:ext cx="11226800" cy="839788"/>
          </a:xfrm>
        </p:spPr>
        <p:txBody>
          <a:bodyPr>
            <a:noAutofit/>
          </a:bodyPr>
          <a:lstStyle/>
          <a:p>
            <a:r>
              <a:rPr lang="en-US" sz="2800" dirty="0" err="1">
                <a:solidFill>
                  <a:schemeClr val="bg1"/>
                </a:solidFill>
              </a:rPr>
              <a:t>Ketentuan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dirty="0" err="1">
                <a:solidFill>
                  <a:schemeClr val="bg1"/>
                </a:solidFill>
              </a:rPr>
              <a:t>terkait</a:t>
            </a:r>
            <a:r>
              <a:rPr lang="en-US" sz="2800" dirty="0">
                <a:solidFill>
                  <a:schemeClr val="bg1"/>
                </a:solidFill>
              </a:rPr>
              <a:t> PKB </a:t>
            </a:r>
            <a:br>
              <a:rPr lang="en-US" sz="2800" dirty="0">
                <a:solidFill>
                  <a:schemeClr val="bg1"/>
                </a:solidFill>
              </a:rPr>
            </a:br>
            <a:r>
              <a:rPr lang="en-US" sz="2800" dirty="0" err="1">
                <a:solidFill>
                  <a:schemeClr val="bg1"/>
                </a:solidFill>
              </a:rPr>
              <a:t>untuk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dirty="0" err="1">
                <a:solidFill>
                  <a:schemeClr val="bg1"/>
                </a:solidFill>
              </a:rPr>
              <a:t>Perpanjangan</a:t>
            </a:r>
            <a:r>
              <a:rPr lang="en-US" sz="2800" dirty="0">
                <a:solidFill>
                  <a:schemeClr val="bg1"/>
                </a:solidFill>
              </a:rPr>
              <a:t> SKK </a:t>
            </a:r>
            <a:r>
              <a:rPr lang="en-US" sz="2800" dirty="0" err="1">
                <a:solidFill>
                  <a:schemeClr val="bg1"/>
                </a:solidFill>
              </a:rPr>
              <a:t>Konstruksi</a:t>
            </a:r>
            <a:r>
              <a:rPr lang="en-US" sz="2800" dirty="0">
                <a:solidFill>
                  <a:schemeClr val="bg1"/>
                </a:solidFill>
              </a:rPr>
              <a:t> </a:t>
            </a:r>
            <a:r>
              <a:rPr lang="en-US" sz="2800" dirty="0" err="1">
                <a:solidFill>
                  <a:schemeClr val="bg1"/>
                </a:solidFill>
              </a:rPr>
              <a:t>Kualifikasi</a:t>
            </a:r>
            <a:r>
              <a:rPr lang="en-US" sz="2800" dirty="0">
                <a:solidFill>
                  <a:schemeClr val="bg1"/>
                </a:solidFill>
              </a:rPr>
              <a:t> Ahl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2225034-B1BE-4196-AC4B-5C9218614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31ECF42-ACCC-4DC0-AC91-117E3A0ACECD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0F906D24-90BB-6727-458D-B5B00F5735E0}"/>
              </a:ext>
            </a:extLst>
          </p:cNvPr>
          <p:cNvSpPr txBox="1"/>
          <p:nvPr/>
        </p:nvSpPr>
        <p:spPr>
          <a:xfrm>
            <a:off x="3441957" y="1173074"/>
            <a:ext cx="5727628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sz="1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(</a:t>
            </a:r>
            <a:r>
              <a:rPr lang="en-US" sz="1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ermen</a:t>
            </a:r>
            <a:r>
              <a:rPr lang="en-US" sz="1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PUPR </a:t>
            </a:r>
            <a:r>
              <a:rPr lang="en-US" sz="1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Nomor</a:t>
            </a:r>
            <a:r>
              <a:rPr lang="en-US" sz="1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8 </a:t>
            </a:r>
            <a:r>
              <a:rPr lang="en-US" sz="1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Tahun</a:t>
            </a:r>
            <a:r>
              <a:rPr lang="en-US" sz="1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2022 </a:t>
            </a:r>
            <a:r>
              <a:rPr lang="en-US" sz="1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asal</a:t>
            </a:r>
            <a:r>
              <a:rPr lang="en-US" sz="1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23 </a:t>
            </a:r>
            <a:r>
              <a:rPr lang="en-US" sz="1400" i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ayat</a:t>
            </a:r>
            <a:r>
              <a:rPr lang="en-US" sz="1400" i="1" dirty="0">
                <a:solidFill>
                  <a:schemeClr val="bg1"/>
                </a:solidFill>
                <a:latin typeface="Century Gothic" panose="020B0502020202020204" pitchFamily="34" charset="0"/>
              </a:rPr>
              <a:t> (1), (2), dan (3) 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5CE6756C-6A69-9D4B-0ECC-B25C73A3FF2E}"/>
              </a:ext>
            </a:extLst>
          </p:cNvPr>
          <p:cNvSpPr txBox="1"/>
          <p:nvPr/>
        </p:nvSpPr>
        <p:spPr>
          <a:xfrm>
            <a:off x="3787299" y="2479456"/>
            <a:ext cx="7699851" cy="39394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ct val="114000"/>
              </a:lnSpc>
              <a:spcAft>
                <a:spcPts val="1800"/>
              </a:spcAft>
              <a:buFont typeface="Wingdings" panose="05000000000000000000" pitchFamily="2" charset="2"/>
              <a:buChar char="§"/>
              <a:defRPr/>
            </a:pP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TKK yang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telah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memilik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SKK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onstruks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ualifikas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ahl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tidak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dapat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mengajukan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mohonan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baru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pada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jabatan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erja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yang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sama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.</a:t>
            </a:r>
          </a:p>
          <a:p>
            <a:pPr marL="285750" indent="-285750">
              <a:lnSpc>
                <a:spcPct val="114000"/>
              </a:lnSpc>
              <a:spcAft>
                <a:spcPts val="1800"/>
              </a:spcAft>
              <a:buFont typeface="Wingdings" panose="05000000000000000000" pitchFamily="2" charset="2"/>
              <a:buChar char="§"/>
              <a:defRPr/>
            </a:pP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Dalam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hal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mohonan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panjangan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SKK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onstruks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ualifikas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ahl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setelah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masa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berlaku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habis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,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tetap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mengacu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pada tata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cara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mohonan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panjangan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dan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harus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memenuhi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syaratan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nilai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b="1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redit</a:t>
            </a:r>
            <a:r>
              <a:rPr lang="en-US" sz="2000" b="1" dirty="0">
                <a:solidFill>
                  <a:prstClr val="black"/>
                </a:solidFill>
                <a:latin typeface="Century Gothic" panose="020B0502020202020204" pitchFamily="34" charset="0"/>
              </a:rPr>
              <a:t> PKB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.</a:t>
            </a:r>
          </a:p>
          <a:p>
            <a:pPr marL="285750" indent="-285750">
              <a:lnSpc>
                <a:spcPct val="114000"/>
              </a:lnSpc>
              <a:spcAft>
                <a:spcPts val="1800"/>
              </a:spcAft>
              <a:buFont typeface="Wingdings" panose="05000000000000000000" pitchFamily="2" charset="2"/>
              <a:buChar char="§"/>
              <a:defRPr/>
            </a:pP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Dalam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hal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belum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dapat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memenuh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syaratan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nila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redit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,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dapat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mengajukan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mohonan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panjangan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embal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setelah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memenuh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persyaratan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nilai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 </a:t>
            </a:r>
            <a:r>
              <a:rPr lang="en-US" sz="2000" dirty="0" err="1">
                <a:solidFill>
                  <a:prstClr val="black"/>
                </a:solidFill>
                <a:latin typeface="Century Gothic" panose="020B0502020202020204" pitchFamily="34" charset="0"/>
              </a:rPr>
              <a:t>kredit</a:t>
            </a:r>
            <a:r>
              <a:rPr lang="en-US" sz="2000" dirty="0">
                <a:solidFill>
                  <a:prstClr val="black"/>
                </a:solidFill>
                <a:latin typeface="Century Gothic" panose="020B0502020202020204" pitchFamily="34" charset="0"/>
              </a:rPr>
              <a:t>.</a:t>
            </a:r>
          </a:p>
        </p:txBody>
      </p:sp>
      <p:pic>
        <p:nvPicPr>
          <p:cNvPr id="10242" name="Picture 2" descr="Engineering Cartoon Design Construction, engineer, hand, people, engineering  png | PNGWing">
            <a:extLst>
              <a:ext uri="{FF2B5EF4-FFF2-40B4-BE49-F238E27FC236}">
                <a16:creationId xmlns:a16="http://schemas.microsoft.com/office/drawing/2014/main" xmlns="" id="{2865B701-46ED-0C7C-EA56-BB750EB4D7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794" b="98942" l="3889" r="97500">
                        <a14:foregroundMark x1="61111" y1="35714" x2="76667" y2="32275"/>
                        <a14:foregroundMark x1="76667" y1="32275" x2="88333" y2="21693"/>
                        <a14:foregroundMark x1="88333" y1="21693" x2="88056" y2="19048"/>
                        <a14:foregroundMark x1="93333" y1="34392" x2="94257" y2="20529"/>
                        <a14:foregroundMark x1="96944" y1="30688" x2="95556" y2="23016"/>
                        <a14:foregroundMark x1="93888" y1="18858" x2="89444" y2="14021"/>
                        <a14:foregroundMark x1="96493" y1="21693" x2="96287" y2="21469"/>
                        <a14:foregroundMark x1="97222" y1="22487" x2="96493" y2="21693"/>
                        <a14:foregroundMark x1="76389" y1="23810" x2="54444" y2="31746"/>
                        <a14:foregroundMark x1="54444" y1="31746" x2="54444" y2="32011"/>
                        <a14:foregroundMark x1="29722" y1="7672" x2="31111" y2="5291"/>
                        <a14:foregroundMark x1="33056" y1="2381" x2="33333" y2="1058"/>
                        <a14:foregroundMark x1="8333" y1="23545" x2="14167" y2="23545"/>
                        <a14:foregroundMark x1="24444" y1="34127" x2="44444" y2="32011"/>
                        <a14:foregroundMark x1="44444" y1="32011" x2="44444" y2="32011"/>
                        <a14:foregroundMark x1="5556" y1="59259" x2="18611" y2="67989"/>
                        <a14:foregroundMark x1="3889" y1="60053" x2="9722" y2="56085"/>
                        <a14:foregroundMark x1="85000" y1="12698" x2="89722" y2="16138"/>
                        <a14:foregroundMark x1="80556" y1="15344" x2="78444" y2="15962"/>
                        <a14:foregroundMark x1="80278" y1="15079" x2="79167" y2="15873"/>
                        <a14:foregroundMark x1="42222" y1="95767" x2="40556" y2="86772"/>
                        <a14:foregroundMark x1="20278" y1="96296" x2="25833" y2="97090"/>
                        <a14:foregroundMark x1="43611" y1="98942" x2="42222" y2="94444"/>
                        <a14:foregroundMark x1="33611" y1="55026" x2="32222" y2="62698"/>
                        <a14:foregroundMark x1="40278" y1="54233" x2="28056" y2="55291"/>
                        <a14:foregroundMark x1="84722" y1="38360" x2="84722" y2="38360"/>
                        <a14:foregroundMark x1="87500" y1="40741" x2="87500" y2="40741"/>
                        <a14:foregroundMark x1="90137" y1="41437" x2="92778" y2="41270"/>
                        <a14:foregroundMark x1="88611" y1="41534" x2="89071" y2="41505"/>
                        <a14:foregroundMark x1="95726" y1="40245" x2="95907" y2="40188"/>
                        <a14:foregroundMark x1="97500" y1="22222" x2="94722" y2="17460"/>
                        <a14:foregroundMark x1="76944" y1="19312" x2="78333" y2="16667"/>
                        <a14:backgroundMark x1="98056" y1="15873" x2="99167" y2="20899"/>
                        <a14:backgroundMark x1="99167" y1="37566" x2="98611" y2="39947"/>
                        <a14:backgroundMark x1="95556" y1="41799" x2="97778" y2="39683"/>
                        <a14:backgroundMark x1="99167" y1="37302" x2="99722" y2="34392"/>
                        <a14:backgroundMark x1="99167" y1="21693" x2="99167" y2="21693"/>
                        <a14:backgroundMark x1="99722" y1="24603" x2="99722" y2="23280"/>
                        <a14:backgroundMark x1="95278" y1="41534" x2="96667" y2="40476"/>
                        <a14:backgroundMark x1="96111" y1="40741" x2="93611" y2="41270"/>
                        <a14:backgroundMark x1="90556" y1="42063" x2="89444" y2="42063"/>
                        <a14:backgroundMark x1="93056" y1="41799" x2="93056" y2="41799"/>
                        <a14:backgroundMark x1="91944" y1="42063" x2="91944" y2="42063"/>
                        <a14:backgroundMark x1="96111" y1="39947" x2="96111" y2="39947"/>
                        <a14:backgroundMark x1="95833" y1="40476" x2="95833" y2="40476"/>
                        <a14:backgroundMark x1="76389" y1="16931" x2="78056" y2="16402"/>
                        <a14:backgroundMark x1="77500" y1="16402" x2="78611" y2="1560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770" y="2916622"/>
            <a:ext cx="3335533" cy="3502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738731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E8394835-CC9E-3FB8-B5FA-81F0DF09B79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2"/>
          <a:stretch/>
        </p:blipFill>
        <p:spPr>
          <a:xfrm>
            <a:off x="0" y="12205"/>
            <a:ext cx="12220585" cy="6858000"/>
          </a:xfrm>
          <a:prstGeom prst="rect">
            <a:avLst/>
          </a:prstGeom>
        </p:spPr>
      </p:pic>
      <p:pic>
        <p:nvPicPr>
          <p:cNvPr id="14" name="Picture 13" descr="A picture containing text, laser&#10;&#10;Description automatically generated">
            <a:extLst>
              <a:ext uri="{FF2B5EF4-FFF2-40B4-BE49-F238E27FC236}">
                <a16:creationId xmlns:a16="http://schemas.microsoft.com/office/drawing/2014/main" xmlns="" id="{92D05B7E-C316-E994-94A9-67B6A99937C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60" b="10997"/>
          <a:stretch>
            <a:fillRect/>
          </a:stretch>
        </p:blipFill>
        <p:spPr>
          <a:xfrm>
            <a:off x="0" y="12205"/>
            <a:ext cx="12192000" cy="6858000"/>
          </a:xfrm>
          <a:custGeom>
            <a:avLst/>
            <a:gdLst>
              <a:gd name="connsiteX0" fmla="*/ 0 w 12240093"/>
              <a:gd name="connsiteY0" fmla="*/ 0 h 6858000"/>
              <a:gd name="connsiteX1" fmla="*/ 12240093 w 12240093"/>
              <a:gd name="connsiteY1" fmla="*/ 0 h 6858000"/>
              <a:gd name="connsiteX2" fmla="*/ 12240093 w 12240093"/>
              <a:gd name="connsiteY2" fmla="*/ 6858000 h 6858000"/>
              <a:gd name="connsiteX3" fmla="*/ 0 w 1224009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240093" h="6858000">
                <a:moveTo>
                  <a:pt x="0" y="0"/>
                </a:moveTo>
                <a:lnTo>
                  <a:pt x="12240093" y="0"/>
                </a:lnTo>
                <a:lnTo>
                  <a:pt x="1224009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E52E0850-31C9-8DC2-8E4A-B565528A4704}"/>
              </a:ext>
            </a:extLst>
          </p:cNvPr>
          <p:cNvSpPr/>
          <p:nvPr/>
        </p:nvSpPr>
        <p:spPr>
          <a:xfrm>
            <a:off x="136482" y="2816831"/>
            <a:ext cx="9391392" cy="4068201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xmlns="" id="{8BF0DE16-1C59-809C-9EC9-2EBB9E53C7E8}"/>
              </a:ext>
            </a:extLst>
          </p:cNvPr>
          <p:cNvSpPr/>
          <p:nvPr/>
        </p:nvSpPr>
        <p:spPr>
          <a:xfrm>
            <a:off x="1719862" y="129377"/>
            <a:ext cx="7904361" cy="1029405"/>
          </a:xfrm>
          <a:prstGeom prst="round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MENUHAN KECUKUPAN ANGKA KREDIT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 TENAGA AHLI UNTUK PERPANJANGAN SKK</a:t>
            </a:r>
            <a:r>
              <a:rPr kumimoji="0" lang="id-ID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</a:p>
        </p:txBody>
      </p:sp>
      <p:pic>
        <p:nvPicPr>
          <p:cNvPr id="35" name="Picture 34" descr="lgo sigap.png">
            <a:extLst>
              <a:ext uri="{FF2B5EF4-FFF2-40B4-BE49-F238E27FC236}">
                <a16:creationId xmlns:a16="http://schemas.microsoft.com/office/drawing/2014/main" xmlns="" id="{34C20A99-4235-F3CB-1AA4-1977949E3E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24224" y="-2623"/>
            <a:ext cx="2567775" cy="990023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AF98A256-9AF4-836A-5D47-D5944FEEA0CD}"/>
              </a:ext>
            </a:extLst>
          </p:cNvPr>
          <p:cNvSpPr/>
          <p:nvPr/>
        </p:nvSpPr>
        <p:spPr>
          <a:xfrm>
            <a:off x="2965730" y="849255"/>
            <a:ext cx="47962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(</a:t>
            </a:r>
            <a:r>
              <a:rPr kumimoji="0" lang="en-US" sz="10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Permen</a:t>
            </a: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PUPR 12/2021 &amp; </a:t>
            </a:r>
            <a:r>
              <a:rPr kumimoji="0" lang="en-US" sz="10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Permen</a:t>
            </a: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Segoe UI" panose="020B0502040204020203" pitchFamily="34" charset="0"/>
              </a:rPr>
              <a:t> PUPR 8/2022)</a:t>
            </a:r>
            <a:endParaRPr kumimoji="0" lang="en-US" sz="1000" b="0" i="1" u="none" strike="sng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0" name="Arrow: Right 19">
            <a:extLst>
              <a:ext uri="{FF2B5EF4-FFF2-40B4-BE49-F238E27FC236}">
                <a16:creationId xmlns:a16="http://schemas.microsoft.com/office/drawing/2014/main" xmlns="" id="{BB09238D-475A-EB7C-2B43-AC78AF4C07CB}"/>
              </a:ext>
            </a:extLst>
          </p:cNvPr>
          <p:cNvSpPr/>
          <p:nvPr/>
        </p:nvSpPr>
        <p:spPr>
          <a:xfrm>
            <a:off x="1427852" y="1559015"/>
            <a:ext cx="2592000" cy="284851"/>
          </a:xfrm>
          <a:prstGeom prst="rightArrow">
            <a:avLst/>
          </a:prstGeom>
          <a:solidFill>
            <a:srgbClr val="FFC000"/>
          </a:solidFill>
          <a:ln w="203200">
            <a:noFill/>
          </a:ln>
          <a:effectLst>
            <a:outerShdw blurRad="177800" sx="102000" sy="102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8600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47" name="Arrow: Right 146">
            <a:extLst>
              <a:ext uri="{FF2B5EF4-FFF2-40B4-BE49-F238E27FC236}">
                <a16:creationId xmlns:a16="http://schemas.microsoft.com/office/drawing/2014/main" xmlns="" id="{333C22E7-224F-FBFC-C300-60FD9DBFDBA2}"/>
              </a:ext>
            </a:extLst>
          </p:cNvPr>
          <p:cNvSpPr/>
          <p:nvPr/>
        </p:nvSpPr>
        <p:spPr>
          <a:xfrm>
            <a:off x="5418406" y="1576492"/>
            <a:ext cx="4716000" cy="289780"/>
          </a:xfrm>
          <a:prstGeom prst="rightArrow">
            <a:avLst/>
          </a:prstGeom>
          <a:solidFill>
            <a:srgbClr val="FFC000"/>
          </a:solidFill>
          <a:ln w="203200">
            <a:noFill/>
          </a:ln>
          <a:effectLst>
            <a:outerShdw blurRad="177800" sx="102000" sy="102000" algn="ctr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28600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Rectangle: Rounded Corners 26">
            <a:extLst>
              <a:ext uri="{FF2B5EF4-FFF2-40B4-BE49-F238E27FC236}">
                <a16:creationId xmlns:a16="http://schemas.microsoft.com/office/drawing/2014/main" xmlns="" id="{6B3ED0D6-C0C7-D96D-EC33-4C85C3DE5AF8}"/>
              </a:ext>
            </a:extLst>
          </p:cNvPr>
          <p:cNvSpPr/>
          <p:nvPr/>
        </p:nvSpPr>
        <p:spPr>
          <a:xfrm>
            <a:off x="2296105" y="3713066"/>
            <a:ext cx="1251679" cy="948446"/>
          </a:xfrm>
          <a:prstGeom prst="roundRect">
            <a:avLst>
              <a:gd name="adj" fmla="val 6896"/>
            </a:avLst>
          </a:prstGeom>
          <a:solidFill>
            <a:srgbClr val="4C9F38"/>
          </a:solidFill>
          <a:ln>
            <a:noFill/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ILAI DASAR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SKPK</a:t>
            </a:r>
          </a:p>
        </p:txBody>
      </p:sp>
      <p:sp>
        <p:nvSpPr>
          <p:cNvPr id="21" name="Rectangle: Rounded Corners 26">
            <a:extLst>
              <a:ext uri="{FF2B5EF4-FFF2-40B4-BE49-F238E27FC236}">
                <a16:creationId xmlns:a16="http://schemas.microsoft.com/office/drawing/2014/main" xmlns="" id="{699D16E5-825E-F0F1-7C07-672C715C602A}"/>
              </a:ext>
            </a:extLst>
          </p:cNvPr>
          <p:cNvSpPr/>
          <p:nvPr/>
        </p:nvSpPr>
        <p:spPr>
          <a:xfrm>
            <a:off x="236835" y="3713066"/>
            <a:ext cx="1700504" cy="948446"/>
          </a:xfrm>
          <a:prstGeom prst="roundRect">
            <a:avLst>
              <a:gd name="adj" fmla="val 6896"/>
            </a:avLst>
          </a:prstGeom>
          <a:solidFill>
            <a:schemeClr val="accent2"/>
          </a:solidFill>
          <a:ln>
            <a:noFill/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GKA KREDI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ntuk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1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egiata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PKB</a:t>
            </a:r>
          </a:p>
        </p:txBody>
      </p:sp>
      <p:sp>
        <p:nvSpPr>
          <p:cNvPr id="22" name="Equals 21">
            <a:extLst>
              <a:ext uri="{FF2B5EF4-FFF2-40B4-BE49-F238E27FC236}">
                <a16:creationId xmlns:a16="http://schemas.microsoft.com/office/drawing/2014/main" xmlns="" id="{50ED911B-8225-488A-1975-484E43FFC28B}"/>
              </a:ext>
            </a:extLst>
          </p:cNvPr>
          <p:cNvSpPr/>
          <p:nvPr/>
        </p:nvSpPr>
        <p:spPr>
          <a:xfrm>
            <a:off x="1952445" y="4046904"/>
            <a:ext cx="315075" cy="325367"/>
          </a:xfrm>
          <a:prstGeom prst="mathEqual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xmlns="" id="{B674D59B-CB9E-D63D-2C62-FD663EE0E5F7}"/>
              </a:ext>
            </a:extLst>
          </p:cNvPr>
          <p:cNvGrpSpPr/>
          <p:nvPr/>
        </p:nvGrpSpPr>
        <p:grpSpPr>
          <a:xfrm>
            <a:off x="2291621" y="4778988"/>
            <a:ext cx="1256073" cy="1600636"/>
            <a:chOff x="2291712" y="4781123"/>
            <a:chExt cx="1256073" cy="1600636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xmlns="" id="{64646117-ABEE-A5CB-FE5B-EDB90B7049EC}"/>
                </a:ext>
              </a:extLst>
            </p:cNvPr>
            <p:cNvSpPr/>
            <p:nvPr/>
          </p:nvSpPr>
          <p:spPr>
            <a:xfrm>
              <a:off x="2291712" y="4781123"/>
              <a:ext cx="1240368" cy="1600636"/>
            </a:xfrm>
            <a:prstGeom prst="roundRect">
              <a:avLst>
                <a:gd name="adj" fmla="val 6896"/>
              </a:avLst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960D1478-009B-712A-BEF9-38DE8AB929EE}"/>
                </a:ext>
              </a:extLst>
            </p:cNvPr>
            <p:cNvSpPr txBox="1"/>
            <p:nvPr/>
          </p:nvSpPr>
          <p:spPr>
            <a:xfrm>
              <a:off x="2371725" y="4897722"/>
              <a:ext cx="1176060" cy="8463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NSUR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tama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Penunjang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xmlns="" id="{BCB98F17-E3B7-2E24-F3F1-216DC760ADC6}"/>
                </a:ext>
              </a:extLst>
            </p:cNvPr>
            <p:cNvCxnSpPr>
              <a:cxnSpLocks/>
            </p:cNvCxnSpPr>
            <p:nvPr/>
          </p:nvCxnSpPr>
          <p:spPr>
            <a:xfrm>
              <a:off x="3148849" y="4944070"/>
              <a:ext cx="39893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xmlns="" id="{BF6D4147-0184-1C38-645B-3AE16F5EA20F}"/>
              </a:ext>
            </a:extLst>
          </p:cNvPr>
          <p:cNvGrpSpPr/>
          <p:nvPr/>
        </p:nvGrpSpPr>
        <p:grpSpPr>
          <a:xfrm>
            <a:off x="3677877" y="4778917"/>
            <a:ext cx="1327615" cy="1600637"/>
            <a:chOff x="3676962" y="4781122"/>
            <a:chExt cx="1327615" cy="1600637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xmlns="" id="{12C9962D-CA49-6984-E85C-34DBA491B626}"/>
                </a:ext>
              </a:extLst>
            </p:cNvPr>
            <p:cNvSpPr/>
            <p:nvPr/>
          </p:nvSpPr>
          <p:spPr>
            <a:xfrm>
              <a:off x="3676962" y="4781122"/>
              <a:ext cx="1327615" cy="1600637"/>
            </a:xfrm>
            <a:prstGeom prst="roundRect">
              <a:avLst>
                <a:gd name="adj" fmla="val 6896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xmlns="" id="{DD7DF185-672C-BAF0-6058-C95AC0FDF4AA}"/>
                </a:ext>
              </a:extLst>
            </p:cNvPr>
            <p:cNvSpPr txBox="1"/>
            <p:nvPr/>
          </p:nvSpPr>
          <p:spPr>
            <a:xfrm>
              <a:off x="3773888" y="4899193"/>
              <a:ext cx="1114957" cy="106182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JENI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erverifikasi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idak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erverifikasi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xmlns="" id="{54955CA1-3A6D-3487-00F8-165BF25A72A2}"/>
                </a:ext>
              </a:extLst>
            </p:cNvPr>
            <p:cNvCxnSpPr>
              <a:cxnSpLocks/>
            </p:cNvCxnSpPr>
            <p:nvPr/>
          </p:nvCxnSpPr>
          <p:spPr>
            <a:xfrm>
              <a:off x="4628644" y="4957059"/>
              <a:ext cx="35594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xmlns="" id="{A7789746-3144-7148-6FE8-30185B17C447}"/>
              </a:ext>
            </a:extLst>
          </p:cNvPr>
          <p:cNvGrpSpPr/>
          <p:nvPr/>
        </p:nvGrpSpPr>
        <p:grpSpPr>
          <a:xfrm>
            <a:off x="5141557" y="4754444"/>
            <a:ext cx="1230467" cy="1591018"/>
            <a:chOff x="5260930" y="4781122"/>
            <a:chExt cx="1230467" cy="1591018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xmlns="" id="{B5728437-3A6A-6060-7415-DC2E142DFF48}"/>
                </a:ext>
              </a:extLst>
            </p:cNvPr>
            <p:cNvSpPr/>
            <p:nvPr/>
          </p:nvSpPr>
          <p:spPr>
            <a:xfrm>
              <a:off x="5260930" y="4781122"/>
              <a:ext cx="1230467" cy="1591018"/>
            </a:xfrm>
            <a:prstGeom prst="roundRect">
              <a:avLst>
                <a:gd name="adj" fmla="val 6896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xmlns="" id="{A8459EDB-48D9-67AF-BF3E-91A8D2CD837C}"/>
                </a:ext>
              </a:extLst>
            </p:cNvPr>
            <p:cNvSpPr txBox="1"/>
            <p:nvPr/>
          </p:nvSpPr>
          <p:spPr>
            <a:xfrm>
              <a:off x="5470802" y="4901244"/>
              <a:ext cx="916634" cy="84638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SIFA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Umum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Khusu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xmlns="" id="{B5A6D2BD-7A56-09C1-27EA-24191403D88A}"/>
                </a:ext>
              </a:extLst>
            </p:cNvPr>
            <p:cNvCxnSpPr>
              <a:cxnSpLocks/>
            </p:cNvCxnSpPr>
            <p:nvPr/>
          </p:nvCxnSpPr>
          <p:spPr>
            <a:xfrm>
              <a:off x="6053418" y="4932322"/>
              <a:ext cx="39893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xmlns="" id="{111DA2D9-4A1B-7889-45D5-3057615E8093}"/>
              </a:ext>
            </a:extLst>
          </p:cNvPr>
          <p:cNvGrpSpPr/>
          <p:nvPr/>
        </p:nvGrpSpPr>
        <p:grpSpPr>
          <a:xfrm>
            <a:off x="8008492" y="4757888"/>
            <a:ext cx="1443859" cy="1597583"/>
            <a:chOff x="7979938" y="4788054"/>
            <a:chExt cx="1443859" cy="1597583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xmlns="" id="{20C03B44-F79C-CA0D-7556-37C4A2E33CC0}"/>
                </a:ext>
              </a:extLst>
            </p:cNvPr>
            <p:cNvSpPr/>
            <p:nvPr/>
          </p:nvSpPr>
          <p:spPr>
            <a:xfrm>
              <a:off x="7979938" y="4788054"/>
              <a:ext cx="1443859" cy="1595090"/>
            </a:xfrm>
            <a:prstGeom prst="roundRect">
              <a:avLst>
                <a:gd name="adj" fmla="val 6896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0FE784FD-3483-C280-F65B-196CE2AA56B8}"/>
                </a:ext>
              </a:extLst>
            </p:cNvPr>
            <p:cNvSpPr txBox="1"/>
            <p:nvPr/>
          </p:nvSpPr>
          <p:spPr>
            <a:xfrm>
              <a:off x="8092751" y="4892921"/>
              <a:ext cx="1288247" cy="1492716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INGKA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Nasional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nternasional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ala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negeri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Internasional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Luar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negeri</a:t>
              </a: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xmlns="" id="{66BD4B44-935A-3097-86DF-E783AC013F18}"/>
                </a:ext>
              </a:extLst>
            </p:cNvPr>
            <p:cNvCxnSpPr>
              <a:cxnSpLocks/>
            </p:cNvCxnSpPr>
            <p:nvPr/>
          </p:nvCxnSpPr>
          <p:spPr>
            <a:xfrm>
              <a:off x="9024862" y="4930485"/>
              <a:ext cx="39893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xmlns="" id="{4D931194-459F-9453-3FD6-B619A359CC81}"/>
              </a:ext>
            </a:extLst>
          </p:cNvPr>
          <p:cNvGrpSpPr/>
          <p:nvPr/>
        </p:nvGrpSpPr>
        <p:grpSpPr>
          <a:xfrm>
            <a:off x="6488098" y="4749655"/>
            <a:ext cx="1291459" cy="1591018"/>
            <a:chOff x="6589938" y="4781122"/>
            <a:chExt cx="1291459" cy="1591018"/>
          </a:xfrm>
        </p:grpSpPr>
        <p:sp>
          <p:nvSpPr>
            <p:cNvPr id="37" name="Rectangle: Rounded Corners 36">
              <a:extLst>
                <a:ext uri="{FF2B5EF4-FFF2-40B4-BE49-F238E27FC236}">
                  <a16:creationId xmlns:a16="http://schemas.microsoft.com/office/drawing/2014/main" xmlns="" id="{A729BF7A-2572-E2DB-F0CE-2B00FC66D9B4}"/>
                </a:ext>
              </a:extLst>
            </p:cNvPr>
            <p:cNvSpPr/>
            <p:nvPr/>
          </p:nvSpPr>
          <p:spPr>
            <a:xfrm>
              <a:off x="6589938" y="4781122"/>
              <a:ext cx="1288247" cy="1591018"/>
            </a:xfrm>
            <a:prstGeom prst="roundRect">
              <a:avLst>
                <a:gd name="adj" fmla="val 6896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127000" dist="38100" dir="2700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xmlns="" id="{5D73DBC1-286A-5639-2EE5-AC897ED1689C}"/>
                </a:ext>
              </a:extLst>
            </p:cNvPr>
            <p:cNvSpPr txBox="1"/>
            <p:nvPr/>
          </p:nvSpPr>
          <p:spPr>
            <a:xfrm>
              <a:off x="6698811" y="4897722"/>
              <a:ext cx="1143691" cy="106182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ETOD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atap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Muka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Dala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Jaringan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xmlns="" id="{8DD92468-5AF3-296D-5C4B-599765BA1EC2}"/>
                </a:ext>
              </a:extLst>
            </p:cNvPr>
            <p:cNvCxnSpPr>
              <a:cxnSpLocks/>
            </p:cNvCxnSpPr>
            <p:nvPr/>
          </p:nvCxnSpPr>
          <p:spPr>
            <a:xfrm>
              <a:off x="7482462" y="4909960"/>
              <a:ext cx="39893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Rectangle: Rounded Corners 26">
            <a:extLst>
              <a:ext uri="{FF2B5EF4-FFF2-40B4-BE49-F238E27FC236}">
                <a16:creationId xmlns:a16="http://schemas.microsoft.com/office/drawing/2014/main" xmlns="" id="{3EA7115A-F188-22B9-C5A4-051E55AD0553}"/>
              </a:ext>
            </a:extLst>
          </p:cNvPr>
          <p:cNvSpPr/>
          <p:nvPr/>
        </p:nvSpPr>
        <p:spPr>
          <a:xfrm>
            <a:off x="3863810" y="3709863"/>
            <a:ext cx="1018177" cy="951649"/>
          </a:xfrm>
          <a:prstGeom prst="roundRect">
            <a:avLst>
              <a:gd name="adj" fmla="val 6896"/>
            </a:avLst>
          </a:prstGeom>
          <a:solidFill>
            <a:srgbClr val="1E4C6D"/>
          </a:solidFill>
          <a:ln>
            <a:noFill/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OBOT JENIS</a:t>
            </a:r>
          </a:p>
        </p:txBody>
      </p:sp>
      <p:sp>
        <p:nvSpPr>
          <p:cNvPr id="42" name="Rectangle: Rounded Corners 26">
            <a:extLst>
              <a:ext uri="{FF2B5EF4-FFF2-40B4-BE49-F238E27FC236}">
                <a16:creationId xmlns:a16="http://schemas.microsoft.com/office/drawing/2014/main" xmlns="" id="{B7BA6A62-E316-1DBC-9F1D-80D88C984B69}"/>
              </a:ext>
            </a:extLst>
          </p:cNvPr>
          <p:cNvSpPr/>
          <p:nvPr/>
        </p:nvSpPr>
        <p:spPr>
          <a:xfrm>
            <a:off x="5241074" y="3709863"/>
            <a:ext cx="1059286" cy="951649"/>
          </a:xfrm>
          <a:prstGeom prst="roundRect">
            <a:avLst>
              <a:gd name="adj" fmla="val 6896"/>
            </a:avLst>
          </a:prstGeom>
          <a:solidFill>
            <a:srgbClr val="1E4C6D"/>
          </a:solidFill>
          <a:ln>
            <a:noFill/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OBOT SIFAT</a:t>
            </a:r>
          </a:p>
        </p:txBody>
      </p:sp>
      <p:sp>
        <p:nvSpPr>
          <p:cNvPr id="43" name="Rectangle: Rounded Corners 26">
            <a:extLst>
              <a:ext uri="{FF2B5EF4-FFF2-40B4-BE49-F238E27FC236}">
                <a16:creationId xmlns:a16="http://schemas.microsoft.com/office/drawing/2014/main" xmlns="" id="{A872599C-9000-5B85-AB4A-DB4123D5F109}"/>
              </a:ext>
            </a:extLst>
          </p:cNvPr>
          <p:cNvSpPr/>
          <p:nvPr/>
        </p:nvSpPr>
        <p:spPr>
          <a:xfrm>
            <a:off x="6612605" y="3709863"/>
            <a:ext cx="1059286" cy="951649"/>
          </a:xfrm>
          <a:prstGeom prst="roundRect">
            <a:avLst>
              <a:gd name="adj" fmla="val 6896"/>
            </a:avLst>
          </a:prstGeom>
          <a:solidFill>
            <a:srgbClr val="1E4C6D"/>
          </a:solidFill>
          <a:ln>
            <a:noFill/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OBOT METODE</a:t>
            </a:r>
          </a:p>
        </p:txBody>
      </p:sp>
      <p:sp>
        <p:nvSpPr>
          <p:cNvPr id="44" name="Rectangle: Rounded Corners 26">
            <a:extLst>
              <a:ext uri="{FF2B5EF4-FFF2-40B4-BE49-F238E27FC236}">
                <a16:creationId xmlns:a16="http://schemas.microsoft.com/office/drawing/2014/main" xmlns="" id="{1DEDD0AF-949F-4663-2997-4BCE77FB9462}"/>
              </a:ext>
            </a:extLst>
          </p:cNvPr>
          <p:cNvSpPr/>
          <p:nvPr/>
        </p:nvSpPr>
        <p:spPr>
          <a:xfrm>
            <a:off x="7978985" y="3717381"/>
            <a:ext cx="1443859" cy="944131"/>
          </a:xfrm>
          <a:prstGeom prst="roundRect">
            <a:avLst>
              <a:gd name="adj" fmla="val 6896"/>
            </a:avLst>
          </a:prstGeom>
          <a:solidFill>
            <a:srgbClr val="1E4C6D"/>
          </a:solidFill>
          <a:ln>
            <a:noFill/>
          </a:ln>
          <a:effectLst>
            <a:outerShdw blurRad="1270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OBOT TINGKAT</a:t>
            </a:r>
          </a:p>
        </p:txBody>
      </p:sp>
      <p:sp>
        <p:nvSpPr>
          <p:cNvPr id="51" name="Rectangle: Rounded Corners 13">
            <a:extLst>
              <a:ext uri="{FF2B5EF4-FFF2-40B4-BE49-F238E27FC236}">
                <a16:creationId xmlns:a16="http://schemas.microsoft.com/office/drawing/2014/main" xmlns="" id="{A38EAF2A-0532-8C43-0701-9D82E09AE550}"/>
              </a:ext>
            </a:extLst>
          </p:cNvPr>
          <p:cNvSpPr/>
          <p:nvPr/>
        </p:nvSpPr>
        <p:spPr>
          <a:xfrm>
            <a:off x="236835" y="6440425"/>
            <a:ext cx="9186010" cy="325367"/>
          </a:xfrm>
          <a:prstGeom prst="roundRect">
            <a:avLst>
              <a:gd name="adj" fmla="val 6310"/>
            </a:avLst>
          </a:prstGeom>
          <a:solidFill>
            <a:srgbClr val="009999"/>
          </a:solidFill>
          <a:ln w="12700" cap="flat" cmpd="sng" algn="ctr">
            <a:noFill/>
            <a:prstDash val="solid"/>
            <a:miter lim="800000"/>
          </a:ln>
          <a:effectLst>
            <a:outerShdw blurRad="127000" dist="38100" dir="5400000" sx="101000" sy="101000" algn="ctr" rotWithShape="0">
              <a:srgbClr val="000000">
                <a:alpha val="29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otal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seluruhan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Angka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redit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= NILAI KREDIT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D1D0597-25BC-9304-0C7E-4EB7CF000AE2}"/>
              </a:ext>
            </a:extLst>
          </p:cNvPr>
          <p:cNvSpPr/>
          <p:nvPr/>
        </p:nvSpPr>
        <p:spPr>
          <a:xfrm>
            <a:off x="9651599" y="1903475"/>
            <a:ext cx="2460388" cy="4103547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BB6A4A9E-D149-D5A6-CEF6-3784F8D7B442}"/>
              </a:ext>
            </a:extLst>
          </p:cNvPr>
          <p:cNvGrpSpPr/>
          <p:nvPr/>
        </p:nvGrpSpPr>
        <p:grpSpPr>
          <a:xfrm>
            <a:off x="9715134" y="1250176"/>
            <a:ext cx="2307838" cy="1796874"/>
            <a:chOff x="8826420" y="1218626"/>
            <a:chExt cx="2307838" cy="1796874"/>
          </a:xfrm>
        </p:grpSpPr>
        <p:grpSp>
          <p:nvGrpSpPr>
            <p:cNvPr id="141" name="Group 140">
              <a:extLst>
                <a:ext uri="{FF2B5EF4-FFF2-40B4-BE49-F238E27FC236}">
                  <a16:creationId xmlns:a16="http://schemas.microsoft.com/office/drawing/2014/main" xmlns="" id="{A7349FF3-DBF7-0679-AB09-44823583BAEF}"/>
                </a:ext>
              </a:extLst>
            </p:cNvPr>
            <p:cNvGrpSpPr/>
            <p:nvPr/>
          </p:nvGrpSpPr>
          <p:grpSpPr>
            <a:xfrm>
              <a:off x="8826420" y="1218626"/>
              <a:ext cx="2307838" cy="1796874"/>
              <a:chOff x="27967" y="1314594"/>
              <a:chExt cx="2307838" cy="1796874"/>
            </a:xfrm>
          </p:grpSpPr>
          <p:grpSp>
            <p:nvGrpSpPr>
              <p:cNvPr id="142" name="Group 141">
                <a:extLst>
                  <a:ext uri="{FF2B5EF4-FFF2-40B4-BE49-F238E27FC236}">
                    <a16:creationId xmlns:a16="http://schemas.microsoft.com/office/drawing/2014/main" xmlns="" id="{8C70563E-9583-F20D-B48A-BF556072E662}"/>
                  </a:ext>
                </a:extLst>
              </p:cNvPr>
              <p:cNvGrpSpPr/>
              <p:nvPr/>
            </p:nvGrpSpPr>
            <p:grpSpPr>
              <a:xfrm>
                <a:off x="513376" y="1314594"/>
                <a:ext cx="1206486" cy="1019220"/>
                <a:chOff x="1038039" y="1436091"/>
                <a:chExt cx="1206486" cy="1019220"/>
              </a:xfrm>
            </p:grpSpPr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xmlns="" id="{D800714F-7654-6A51-6864-A5D8386AB50A}"/>
                    </a:ext>
                  </a:extLst>
                </p:cNvPr>
                <p:cNvSpPr/>
                <p:nvPr/>
              </p:nvSpPr>
              <p:spPr>
                <a:xfrm>
                  <a:off x="1038039" y="1436091"/>
                  <a:ext cx="1206486" cy="603239"/>
                </a:xfrm>
                <a:custGeom>
                  <a:avLst/>
                  <a:gdLst>
                    <a:gd name="connsiteX0" fmla="*/ 603243 w 1206486"/>
                    <a:gd name="connsiteY0" fmla="*/ 0 h 603239"/>
                    <a:gd name="connsiteX1" fmla="*/ 1194230 w 1206486"/>
                    <a:gd name="connsiteY1" fmla="*/ 481666 h 603239"/>
                    <a:gd name="connsiteX2" fmla="*/ 1206486 w 1206486"/>
                    <a:gd name="connsiteY2" fmla="*/ 603239 h 603239"/>
                    <a:gd name="connsiteX3" fmla="*/ 0 w 1206486"/>
                    <a:gd name="connsiteY3" fmla="*/ 603239 h 603239"/>
                    <a:gd name="connsiteX4" fmla="*/ 12256 w 1206486"/>
                    <a:gd name="connsiteY4" fmla="*/ 481666 h 603239"/>
                    <a:gd name="connsiteX5" fmla="*/ 603243 w 1206486"/>
                    <a:gd name="connsiteY5" fmla="*/ 0 h 603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06486" h="603239">
                      <a:moveTo>
                        <a:pt x="603243" y="0"/>
                      </a:moveTo>
                      <a:cubicBezTo>
                        <a:pt x="894760" y="0"/>
                        <a:pt x="1137980" y="206780"/>
                        <a:pt x="1194230" y="481666"/>
                      </a:cubicBezTo>
                      <a:lnTo>
                        <a:pt x="1206486" y="603239"/>
                      </a:lnTo>
                      <a:lnTo>
                        <a:pt x="0" y="603239"/>
                      </a:lnTo>
                      <a:lnTo>
                        <a:pt x="12256" y="481666"/>
                      </a:lnTo>
                      <a:cubicBezTo>
                        <a:pt x="68506" y="206780"/>
                        <a:pt x="311726" y="0"/>
                        <a:pt x="603243" y="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203200">
                  <a:noFill/>
                </a:ln>
                <a:effectLst>
                  <a:outerShdw blurRad="177800" sx="102000" sy="102000" algn="ctr" rotWithShape="0">
                    <a:prstClr val="black">
                      <a:alpha val="16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2286000" tIns="0" rIns="0" bIns="0" rtlCol="0" anchor="ctr">
                  <a:no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6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  <p:sp>
              <p:nvSpPr>
                <p:cNvPr id="146" name="Oval 145">
                  <a:extLst>
                    <a:ext uri="{FF2B5EF4-FFF2-40B4-BE49-F238E27FC236}">
                      <a16:creationId xmlns:a16="http://schemas.microsoft.com/office/drawing/2014/main" xmlns="" id="{37C2F486-2244-CFCF-7E11-0101E5D95967}"/>
                    </a:ext>
                  </a:extLst>
                </p:cNvPr>
                <p:cNvSpPr/>
                <p:nvPr/>
              </p:nvSpPr>
              <p:spPr>
                <a:xfrm>
                  <a:off x="1225298" y="1623347"/>
                  <a:ext cx="831967" cy="831964"/>
                </a:xfrm>
                <a:prstGeom prst="ellipse">
                  <a:avLst/>
                </a:prstGeom>
                <a:solidFill>
                  <a:srgbClr val="1E4C6D"/>
                </a:solidFill>
                <a:ln w="203200">
                  <a:noFill/>
                </a:ln>
                <a:effectLst>
                  <a:outerShdw blurRad="177800" sx="102000" sy="102000" algn="ctr" rotWithShape="0">
                    <a:prstClr val="black">
                      <a:alpha val="16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286000" tIns="0" rIns="0" bIns="0"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endParaRPr>
                </a:p>
              </p:txBody>
            </p:sp>
          </p:grpSp>
          <p:sp>
            <p:nvSpPr>
              <p:cNvPr id="143" name="Rectangle: Rounded Corners 13">
                <a:extLst>
                  <a:ext uri="{FF2B5EF4-FFF2-40B4-BE49-F238E27FC236}">
                    <a16:creationId xmlns:a16="http://schemas.microsoft.com/office/drawing/2014/main" xmlns="" id="{C2D1AF33-12E8-C50A-C2C7-9FB4EED5674C}"/>
                  </a:ext>
                </a:extLst>
              </p:cNvPr>
              <p:cNvSpPr/>
              <p:nvPr/>
            </p:nvSpPr>
            <p:spPr>
              <a:xfrm>
                <a:off x="27967" y="2431196"/>
                <a:ext cx="2307838" cy="680272"/>
              </a:xfrm>
              <a:prstGeom prst="roundRect">
                <a:avLst>
                  <a:gd name="adj" fmla="val 6310"/>
                </a:avLst>
              </a:prstGeom>
              <a:noFill/>
              <a:ln w="12700" cap="flat" cmpd="sng" algn="ctr">
                <a:noFill/>
                <a:prstDash val="solid"/>
                <a:miter lim="800000"/>
              </a:ln>
              <a:effectLst>
                <a:outerShdw blurRad="127000" dist="38100" dir="5400000" sx="101000" sy="101000" algn="ctr" rotWithShape="0">
                  <a:srgbClr val="000000">
                    <a:alpha val="29000"/>
                  </a:srgbClr>
                </a:outerShdw>
              </a:effectLst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emenuhan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nilai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kredit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PKB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untuk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perpanjangan</a:t>
                </a: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SKK</a:t>
                </a:r>
              </a:p>
            </p:txBody>
          </p:sp>
        </p:grpSp>
        <p:pic>
          <p:nvPicPr>
            <p:cNvPr id="155" name="Picture 154">
              <a:extLst>
                <a:ext uri="{FF2B5EF4-FFF2-40B4-BE49-F238E27FC236}">
                  <a16:creationId xmlns:a16="http://schemas.microsoft.com/office/drawing/2014/main" xmlns="" id="{B1BB80C8-7F61-F471-99F2-5F02FD0A03F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7388" y="1519175"/>
              <a:ext cx="715418" cy="715418"/>
            </a:xfrm>
            <a:prstGeom prst="rect">
              <a:avLst/>
            </a:prstGeom>
          </p:spPr>
        </p:pic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xmlns="" id="{DE314AAB-FDA1-1EED-8F67-CF01F4D100D7}"/>
              </a:ext>
            </a:extLst>
          </p:cNvPr>
          <p:cNvGrpSpPr/>
          <p:nvPr/>
        </p:nvGrpSpPr>
        <p:grpSpPr>
          <a:xfrm>
            <a:off x="9740615" y="3894749"/>
            <a:ext cx="2334699" cy="1021159"/>
            <a:chOff x="372739" y="5832196"/>
            <a:chExt cx="2334699" cy="1021159"/>
          </a:xfrm>
        </p:grpSpPr>
        <p:sp>
          <p:nvSpPr>
            <p:cNvPr id="83" name="Rounded Rectangle 19">
              <a:extLst>
                <a:ext uri="{FF2B5EF4-FFF2-40B4-BE49-F238E27FC236}">
                  <a16:creationId xmlns:a16="http://schemas.microsoft.com/office/drawing/2014/main" xmlns="" id="{06E9627F-FF9B-DB3F-EB5B-FA89AD1D25CE}"/>
                </a:ext>
              </a:extLst>
            </p:cNvPr>
            <p:cNvSpPr/>
            <p:nvPr/>
          </p:nvSpPr>
          <p:spPr>
            <a:xfrm>
              <a:off x="372739" y="5832196"/>
              <a:ext cx="2294565" cy="1021159"/>
            </a:xfrm>
            <a:prstGeom prst="roundRect">
              <a:avLst>
                <a:gd name="adj" fmla="val 14142"/>
              </a:avLst>
            </a:prstGeom>
            <a:solidFill>
              <a:srgbClr val="009999"/>
            </a:solidFill>
            <a:ln w="571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xmlns="" id="{61F5EEA9-2DE1-67BE-7028-FF35045FEFC9}"/>
                </a:ext>
              </a:extLst>
            </p:cNvPr>
            <p:cNvSpPr/>
            <p:nvPr/>
          </p:nvSpPr>
          <p:spPr>
            <a:xfrm>
              <a:off x="412873" y="5868470"/>
              <a:ext cx="2294565" cy="984885"/>
            </a:xfrm>
            <a:prstGeom prst="rect">
              <a:avLst/>
            </a:prstGeom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Jenjang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 9 :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200 SKP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Jenjang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 8 :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150 SKPK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Jenjang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 7 : 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Tahoma" panose="020B0604030504040204" pitchFamily="34" charset="0"/>
                  <a:cs typeface="Segoe UI" panose="020B0502040204020203" pitchFamily="34" charset="0"/>
                </a:rPr>
                <a:t>100 SKPK </a:t>
              </a:r>
              <a:endParaRPr kumimoji="0" lang="en-US" sz="1600" b="1" i="0" u="none" strike="sngStrike" kern="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4F50770E-6C3E-ABA2-6C4E-66BF0C2E34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1927" y="6207024"/>
              <a:ext cx="2064361" cy="0"/>
            </a:xfrm>
            <a:prstGeom prst="line">
              <a:avLst/>
            </a:prstGeom>
            <a:noFill/>
            <a:ln w="6350" cap="flat" cmpd="sng" algn="ctr">
              <a:solidFill>
                <a:srgbClr val="FFFFFF"/>
              </a:solidFill>
              <a:prstDash val="sysDash"/>
              <a:miter lim="800000"/>
            </a:ln>
            <a:effectLst/>
          </p:spPr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DE61373D-E814-C423-E7DC-F39141D713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1927" y="6547552"/>
              <a:ext cx="2064361" cy="0"/>
            </a:xfrm>
            <a:prstGeom prst="line">
              <a:avLst/>
            </a:prstGeom>
            <a:noFill/>
            <a:ln w="6350" cap="flat" cmpd="sng" algn="ctr">
              <a:solidFill>
                <a:srgbClr val="FFFFFF"/>
              </a:solidFill>
              <a:prstDash val="sysDash"/>
              <a:miter lim="800000"/>
            </a:ln>
            <a:effectLst/>
          </p:spPr>
        </p:cxnSp>
      </p:grpSp>
      <p:sp>
        <p:nvSpPr>
          <p:cNvPr id="156" name="Rectangle: Rounded Corners 13">
            <a:extLst>
              <a:ext uri="{FF2B5EF4-FFF2-40B4-BE49-F238E27FC236}">
                <a16:creationId xmlns:a16="http://schemas.microsoft.com/office/drawing/2014/main" xmlns="" id="{183A83AD-2356-6EF8-A90F-37C2FCCC5555}"/>
              </a:ext>
            </a:extLst>
          </p:cNvPr>
          <p:cNvSpPr/>
          <p:nvPr/>
        </p:nvSpPr>
        <p:spPr>
          <a:xfrm>
            <a:off x="9740615" y="3349279"/>
            <a:ext cx="2282357" cy="396184"/>
          </a:xfrm>
          <a:prstGeom prst="roundRect">
            <a:avLst>
              <a:gd name="adj" fmla="val 6310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>
            <a:outerShdw blurRad="127000" dist="38100" dir="5400000" sx="101000" sy="101000" algn="ctr" rotWithShape="0">
              <a:srgbClr val="000000">
                <a:alpha val="29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yarat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ilai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redit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6" name="Rectangle: Rounded Corners 13">
            <a:extLst>
              <a:ext uri="{FF2B5EF4-FFF2-40B4-BE49-F238E27FC236}">
                <a16:creationId xmlns:a16="http://schemas.microsoft.com/office/drawing/2014/main" xmlns="" id="{590783A9-D604-5DB1-6A94-D367B894FC7D}"/>
              </a:ext>
            </a:extLst>
          </p:cNvPr>
          <p:cNvSpPr/>
          <p:nvPr/>
        </p:nvSpPr>
        <p:spPr>
          <a:xfrm>
            <a:off x="248036" y="2888700"/>
            <a:ext cx="9174808" cy="680272"/>
          </a:xfrm>
          <a:prstGeom prst="roundRect">
            <a:avLst>
              <a:gd name="adj" fmla="val 6310"/>
            </a:avLst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127000" dist="38100" dir="5400000" sx="101000" sy="101000" algn="ctr" rotWithShape="0">
              <a:srgbClr val="000000">
                <a:alpha val="29000"/>
              </a:srgbClr>
            </a:outerShdw>
          </a:effectLst>
        </p:spPr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tuk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1 k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giatan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 yang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ikut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oleh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nag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hl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hasilkan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ngka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redit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yang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rupakan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rkalian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ntara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ilai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asar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SKPK dan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obot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SKPK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.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ata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ar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rhitungan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ngk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redi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,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ebaga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erikut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:</a:t>
            </a:r>
          </a:p>
        </p:txBody>
      </p: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xmlns="" id="{3A9C4B1E-354F-2765-8B1D-C3B61E4F0596}"/>
              </a:ext>
            </a:extLst>
          </p:cNvPr>
          <p:cNvCxnSpPr/>
          <p:nvPr/>
        </p:nvCxnSpPr>
        <p:spPr>
          <a:xfrm>
            <a:off x="288600" y="2816832"/>
            <a:ext cx="9134244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xmlns="" id="{78043B74-A0C8-7B4C-F614-43AFF50A5AA3}"/>
              </a:ext>
            </a:extLst>
          </p:cNvPr>
          <p:cNvCxnSpPr/>
          <p:nvPr/>
        </p:nvCxnSpPr>
        <p:spPr>
          <a:xfrm>
            <a:off x="9740615" y="3196530"/>
            <a:ext cx="2268000" cy="0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Multiply 3">
            <a:extLst>
              <a:ext uri="{FF2B5EF4-FFF2-40B4-BE49-F238E27FC236}">
                <a16:creationId xmlns:a16="http://schemas.microsoft.com/office/drawing/2014/main" xmlns="" id="{59ED08D4-D946-EAD0-0397-F447B3FDB257}"/>
              </a:ext>
            </a:extLst>
          </p:cNvPr>
          <p:cNvSpPr/>
          <p:nvPr/>
        </p:nvSpPr>
        <p:spPr>
          <a:xfrm>
            <a:off x="3554459" y="4057520"/>
            <a:ext cx="308815" cy="279324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6" name="Multiply 3">
            <a:extLst>
              <a:ext uri="{FF2B5EF4-FFF2-40B4-BE49-F238E27FC236}">
                <a16:creationId xmlns:a16="http://schemas.microsoft.com/office/drawing/2014/main" xmlns="" id="{6F40A497-D5C7-742F-4C89-E6657C9F8942}"/>
              </a:ext>
            </a:extLst>
          </p:cNvPr>
          <p:cNvSpPr/>
          <p:nvPr/>
        </p:nvSpPr>
        <p:spPr>
          <a:xfrm>
            <a:off x="4927209" y="4045539"/>
            <a:ext cx="308815" cy="279324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7" name="Multiply 3">
            <a:extLst>
              <a:ext uri="{FF2B5EF4-FFF2-40B4-BE49-F238E27FC236}">
                <a16:creationId xmlns:a16="http://schemas.microsoft.com/office/drawing/2014/main" xmlns="" id="{F6C4F1B1-F3A5-AC97-B536-2EF6F3446013}"/>
              </a:ext>
            </a:extLst>
          </p:cNvPr>
          <p:cNvSpPr/>
          <p:nvPr/>
        </p:nvSpPr>
        <p:spPr>
          <a:xfrm>
            <a:off x="6303790" y="4045539"/>
            <a:ext cx="308815" cy="279324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Multiply 3">
            <a:extLst>
              <a:ext uri="{FF2B5EF4-FFF2-40B4-BE49-F238E27FC236}">
                <a16:creationId xmlns:a16="http://schemas.microsoft.com/office/drawing/2014/main" xmlns="" id="{C730A1BE-1FE3-810A-CC68-9439A89CE6EA}"/>
              </a:ext>
            </a:extLst>
          </p:cNvPr>
          <p:cNvSpPr/>
          <p:nvPr/>
        </p:nvSpPr>
        <p:spPr>
          <a:xfrm>
            <a:off x="7671175" y="4045539"/>
            <a:ext cx="308815" cy="279324"/>
          </a:xfrm>
          <a:prstGeom prst="mathMultiply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E4C32E81-A38A-D461-B6A6-6036180B001B}"/>
              </a:ext>
            </a:extLst>
          </p:cNvPr>
          <p:cNvSpPr/>
          <p:nvPr/>
        </p:nvSpPr>
        <p:spPr>
          <a:xfrm>
            <a:off x="136482" y="1871680"/>
            <a:ext cx="9391391" cy="943314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angle: Rounded Corners 13">
            <a:extLst>
              <a:ext uri="{FF2B5EF4-FFF2-40B4-BE49-F238E27FC236}">
                <a16:creationId xmlns:a16="http://schemas.microsoft.com/office/drawing/2014/main" xmlns="" id="{8DC53F3D-AEE6-EBE3-C272-A0A793C53013}"/>
              </a:ext>
            </a:extLst>
          </p:cNvPr>
          <p:cNvSpPr/>
          <p:nvPr/>
        </p:nvSpPr>
        <p:spPr>
          <a:xfrm>
            <a:off x="980491" y="2152103"/>
            <a:ext cx="7562511" cy="680272"/>
          </a:xfrm>
          <a:prstGeom prst="roundRect">
            <a:avLst>
              <a:gd name="adj" fmla="val 6310"/>
            </a:avLst>
          </a:prstGeom>
          <a:noFill/>
          <a:ln w="12700" cap="flat" cmpd="sng" algn="ctr">
            <a:noFill/>
            <a:prstDash val="solid"/>
            <a:miter lim="800000"/>
          </a:ln>
          <a:effectLst>
            <a:outerShdw blurRad="127000" dist="38100" dir="5400000" sx="101000" sy="101000" algn="ctr" rotWithShape="0">
              <a:srgbClr val="000000">
                <a:alpha val="29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ikuti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giatan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an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umpulkan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ngka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redit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39C7DF92-513E-B7DA-E805-143B284ADDF4}"/>
              </a:ext>
            </a:extLst>
          </p:cNvPr>
          <p:cNvGrpSpPr/>
          <p:nvPr/>
        </p:nvGrpSpPr>
        <p:grpSpPr>
          <a:xfrm>
            <a:off x="4121568" y="1189104"/>
            <a:ext cx="1206486" cy="1019220"/>
            <a:chOff x="1038039" y="1436091"/>
            <a:chExt cx="1206486" cy="1019220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2911FBB1-155C-4B87-3256-42FC1A1874F3}"/>
                </a:ext>
              </a:extLst>
            </p:cNvPr>
            <p:cNvSpPr/>
            <p:nvPr/>
          </p:nvSpPr>
          <p:spPr>
            <a:xfrm>
              <a:off x="1038039" y="1436091"/>
              <a:ext cx="1206486" cy="603239"/>
            </a:xfrm>
            <a:custGeom>
              <a:avLst/>
              <a:gdLst>
                <a:gd name="connsiteX0" fmla="*/ 603243 w 1206486"/>
                <a:gd name="connsiteY0" fmla="*/ 0 h 603239"/>
                <a:gd name="connsiteX1" fmla="*/ 1194230 w 1206486"/>
                <a:gd name="connsiteY1" fmla="*/ 481666 h 603239"/>
                <a:gd name="connsiteX2" fmla="*/ 1206486 w 1206486"/>
                <a:gd name="connsiteY2" fmla="*/ 603239 h 603239"/>
                <a:gd name="connsiteX3" fmla="*/ 0 w 1206486"/>
                <a:gd name="connsiteY3" fmla="*/ 603239 h 603239"/>
                <a:gd name="connsiteX4" fmla="*/ 12256 w 1206486"/>
                <a:gd name="connsiteY4" fmla="*/ 481666 h 603239"/>
                <a:gd name="connsiteX5" fmla="*/ 603243 w 1206486"/>
                <a:gd name="connsiteY5" fmla="*/ 0 h 60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6486" h="603239">
                  <a:moveTo>
                    <a:pt x="603243" y="0"/>
                  </a:moveTo>
                  <a:cubicBezTo>
                    <a:pt x="894760" y="0"/>
                    <a:pt x="1137980" y="206780"/>
                    <a:pt x="1194230" y="481666"/>
                  </a:cubicBezTo>
                  <a:lnTo>
                    <a:pt x="1206486" y="603239"/>
                  </a:lnTo>
                  <a:lnTo>
                    <a:pt x="0" y="603239"/>
                  </a:lnTo>
                  <a:lnTo>
                    <a:pt x="12256" y="481666"/>
                  </a:lnTo>
                  <a:cubicBezTo>
                    <a:pt x="68506" y="206780"/>
                    <a:pt x="311726" y="0"/>
                    <a:pt x="603243" y="0"/>
                  </a:cubicBezTo>
                  <a:close/>
                </a:path>
              </a:pathLst>
            </a:custGeom>
            <a:solidFill>
              <a:srgbClr val="FFFFFF"/>
            </a:solidFill>
            <a:ln w="203200">
              <a:noFill/>
            </a:ln>
            <a:effectLst>
              <a:outerShdw blurRad="177800" sx="102000" sy="102000" algn="ctr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2286000" tIns="0" rIns="0" bIns="0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xmlns="" id="{8C8FA929-68FF-BD21-35A0-662192802010}"/>
                </a:ext>
              </a:extLst>
            </p:cNvPr>
            <p:cNvSpPr/>
            <p:nvPr/>
          </p:nvSpPr>
          <p:spPr>
            <a:xfrm>
              <a:off x="1225298" y="1623347"/>
              <a:ext cx="831967" cy="831964"/>
            </a:xfrm>
            <a:prstGeom prst="ellipse">
              <a:avLst/>
            </a:prstGeom>
            <a:solidFill>
              <a:srgbClr val="1E4C6D"/>
            </a:solidFill>
            <a:ln w="203200">
              <a:noFill/>
            </a:ln>
            <a:effectLst>
              <a:outerShdw blurRad="177800" sx="102000" sy="102000" algn="ctr" rotWithShape="0">
                <a:prstClr val="black">
                  <a:alpha val="1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28600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EEF5033E-EDBD-8FBD-DB47-26974AACCC6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9179" y="1507464"/>
            <a:ext cx="715418" cy="715418"/>
          </a:xfrm>
          <a:prstGeom prst="rect">
            <a:avLst/>
          </a:prstGeom>
        </p:spPr>
      </p:pic>
      <p:grpSp>
        <p:nvGrpSpPr>
          <p:cNvPr id="138" name="Group 137">
            <a:extLst>
              <a:ext uri="{FF2B5EF4-FFF2-40B4-BE49-F238E27FC236}">
                <a16:creationId xmlns:a16="http://schemas.microsoft.com/office/drawing/2014/main" xmlns="" id="{6D5B750C-B604-283C-A807-5F1F0C92E313}"/>
              </a:ext>
            </a:extLst>
          </p:cNvPr>
          <p:cNvGrpSpPr/>
          <p:nvPr/>
        </p:nvGrpSpPr>
        <p:grpSpPr>
          <a:xfrm>
            <a:off x="108716" y="1167526"/>
            <a:ext cx="1206486" cy="1651979"/>
            <a:chOff x="513376" y="1314594"/>
            <a:chExt cx="1206486" cy="165197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FDC81E5C-D373-DE41-63F3-2E3BEA3A87DE}"/>
                </a:ext>
              </a:extLst>
            </p:cNvPr>
            <p:cNvGrpSpPr/>
            <p:nvPr/>
          </p:nvGrpSpPr>
          <p:grpSpPr>
            <a:xfrm>
              <a:off x="513376" y="1314594"/>
              <a:ext cx="1206486" cy="1019220"/>
              <a:chOff x="1038039" y="1436091"/>
              <a:chExt cx="1206486" cy="1019220"/>
            </a:xfrm>
          </p:grpSpPr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xmlns="" id="{2DA5F5BD-758B-7998-7A09-A3943674C24E}"/>
                  </a:ext>
                </a:extLst>
              </p:cNvPr>
              <p:cNvSpPr/>
              <p:nvPr/>
            </p:nvSpPr>
            <p:spPr>
              <a:xfrm>
                <a:off x="1038039" y="1436091"/>
                <a:ext cx="1206486" cy="603239"/>
              </a:xfrm>
              <a:custGeom>
                <a:avLst/>
                <a:gdLst>
                  <a:gd name="connsiteX0" fmla="*/ 603243 w 1206486"/>
                  <a:gd name="connsiteY0" fmla="*/ 0 h 603239"/>
                  <a:gd name="connsiteX1" fmla="*/ 1194230 w 1206486"/>
                  <a:gd name="connsiteY1" fmla="*/ 481666 h 603239"/>
                  <a:gd name="connsiteX2" fmla="*/ 1206486 w 1206486"/>
                  <a:gd name="connsiteY2" fmla="*/ 603239 h 603239"/>
                  <a:gd name="connsiteX3" fmla="*/ 0 w 1206486"/>
                  <a:gd name="connsiteY3" fmla="*/ 603239 h 603239"/>
                  <a:gd name="connsiteX4" fmla="*/ 12256 w 1206486"/>
                  <a:gd name="connsiteY4" fmla="*/ 481666 h 603239"/>
                  <a:gd name="connsiteX5" fmla="*/ 603243 w 1206486"/>
                  <a:gd name="connsiteY5" fmla="*/ 0 h 603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6486" h="603239">
                    <a:moveTo>
                      <a:pt x="603243" y="0"/>
                    </a:moveTo>
                    <a:cubicBezTo>
                      <a:pt x="894760" y="0"/>
                      <a:pt x="1137980" y="206780"/>
                      <a:pt x="1194230" y="481666"/>
                    </a:cubicBezTo>
                    <a:lnTo>
                      <a:pt x="1206486" y="603239"/>
                    </a:lnTo>
                    <a:lnTo>
                      <a:pt x="0" y="603239"/>
                    </a:lnTo>
                    <a:lnTo>
                      <a:pt x="12256" y="481666"/>
                    </a:lnTo>
                    <a:cubicBezTo>
                      <a:pt x="68506" y="206780"/>
                      <a:pt x="311726" y="0"/>
                      <a:pt x="60324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203200">
                <a:noFill/>
              </a:ln>
              <a:effectLst>
                <a:outerShdw blurRad="177800" sx="102000" sy="102000" algn="ctr" rotWithShape="0">
                  <a:prstClr val="black">
                    <a:alpha val="1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2286000" tIns="0" rIns="0" bIns="0" rtlCol="0" anchor="ctr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xmlns="" id="{657DB2BB-564E-FE40-F8A9-18A81730A8A5}"/>
                  </a:ext>
                </a:extLst>
              </p:cNvPr>
              <p:cNvSpPr/>
              <p:nvPr/>
            </p:nvSpPr>
            <p:spPr>
              <a:xfrm>
                <a:off x="1225298" y="1623347"/>
                <a:ext cx="831967" cy="831964"/>
              </a:xfrm>
              <a:prstGeom prst="ellipse">
                <a:avLst/>
              </a:prstGeom>
              <a:solidFill>
                <a:srgbClr val="1E4C6D"/>
              </a:solidFill>
              <a:ln w="203200">
                <a:noFill/>
              </a:ln>
              <a:effectLst>
                <a:outerShdw blurRad="177800" sx="102000" sy="102000" algn="ctr" rotWithShape="0">
                  <a:prstClr val="black">
                    <a:alpha val="16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2286000" tIns="0" rIns="0" bIns="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sp>
          <p:nvSpPr>
            <p:cNvPr id="5" name="Rectangle: Rounded Corners 13">
              <a:extLst>
                <a:ext uri="{FF2B5EF4-FFF2-40B4-BE49-F238E27FC236}">
                  <a16:creationId xmlns:a16="http://schemas.microsoft.com/office/drawing/2014/main" xmlns="" id="{4F567E2D-C9ED-C016-6122-1210E2398B04}"/>
                </a:ext>
              </a:extLst>
            </p:cNvPr>
            <p:cNvSpPr/>
            <p:nvPr/>
          </p:nvSpPr>
          <p:spPr>
            <a:xfrm>
              <a:off x="581278" y="2286301"/>
              <a:ext cx="1070680" cy="680272"/>
            </a:xfrm>
            <a:prstGeom prst="roundRect">
              <a:avLst>
                <a:gd name="adj" fmla="val 6310"/>
              </a:avLst>
            </a:prstGeom>
            <a:noFill/>
            <a:ln w="12700" cap="flat" cmpd="sng" algn="ctr">
              <a:noFill/>
              <a:prstDash val="solid"/>
              <a:miter lim="800000"/>
            </a:ln>
            <a:effectLst>
              <a:outerShdw blurRad="127000" dist="38100" dir="5400000" sx="101000" sy="101000" algn="ctr" rotWithShape="0">
                <a:srgbClr val="000000">
                  <a:alpha val="29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Tenaga </a:t>
              </a:r>
              <a:r>
                <a:rPr kumimoji="0" lang="en-US" sz="16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hli</a:t>
              </a: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  </a:t>
              </a:r>
            </a:p>
          </p:txBody>
        </p: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xmlns="" id="{2DBF79D9-87B8-755E-1EEF-9175783BD8A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3128" y="1587458"/>
              <a:ext cx="754725" cy="7547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791453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69F2B50D-44F7-2D4C-8FF4-26BB3602AC8D}"/>
              </a:ext>
            </a:extLst>
          </p:cNvPr>
          <p:cNvSpPr/>
          <p:nvPr/>
        </p:nvSpPr>
        <p:spPr>
          <a:xfrm>
            <a:off x="6526318" y="0"/>
            <a:ext cx="5665681" cy="6858000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DCCBA348-AA22-D74E-97D5-23B1BCCC5CE8}"/>
              </a:ext>
            </a:extLst>
          </p:cNvPr>
          <p:cNvSpPr/>
          <p:nvPr/>
        </p:nvSpPr>
        <p:spPr>
          <a:xfrm>
            <a:off x="366075" y="361306"/>
            <a:ext cx="8560386" cy="6135388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>
            <a:outerShdw blurRad="622300" dist="50800" dir="5400000" algn="ctr" rotWithShape="0">
              <a:srgbClr val="000000">
                <a:alpha val="43137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xmlns="" id="{AE3D6102-98F9-624F-882F-80EE7372BB2D}"/>
              </a:ext>
            </a:extLst>
          </p:cNvPr>
          <p:cNvGrpSpPr/>
          <p:nvPr/>
        </p:nvGrpSpPr>
        <p:grpSpPr>
          <a:xfrm>
            <a:off x="9359158" y="1797850"/>
            <a:ext cx="4146043" cy="5603363"/>
            <a:chOff x="7186617" y="496266"/>
            <a:chExt cx="4146043" cy="5603363"/>
          </a:xfrm>
        </p:grpSpPr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xmlns="" id="{A733BE76-38B6-5D4A-AA86-EE96D55C9B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0" r="12500"/>
            <a:stretch/>
          </p:blipFill>
          <p:spPr>
            <a:xfrm>
              <a:off x="8662031" y="496266"/>
              <a:ext cx="2670629" cy="2670629"/>
            </a:xfrm>
            <a:custGeom>
              <a:avLst/>
              <a:gdLst>
                <a:gd name="connsiteX0" fmla="*/ 1335315 w 2670629"/>
                <a:gd name="connsiteY0" fmla="*/ 0 h 2670629"/>
                <a:gd name="connsiteX1" fmla="*/ 2670629 w 2670629"/>
                <a:gd name="connsiteY1" fmla="*/ 1335315 h 2670629"/>
                <a:gd name="connsiteX2" fmla="*/ 1335315 w 2670629"/>
                <a:gd name="connsiteY2" fmla="*/ 2670629 h 2670629"/>
                <a:gd name="connsiteX3" fmla="*/ 0 w 2670629"/>
                <a:gd name="connsiteY3" fmla="*/ 1335315 h 267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0629" h="2670629">
                  <a:moveTo>
                    <a:pt x="1335315" y="0"/>
                  </a:moveTo>
                  <a:lnTo>
                    <a:pt x="2670629" y="1335315"/>
                  </a:lnTo>
                  <a:lnTo>
                    <a:pt x="1335315" y="2670629"/>
                  </a:lnTo>
                  <a:lnTo>
                    <a:pt x="0" y="1335315"/>
                  </a:lnTo>
                  <a:close/>
                </a:path>
              </a:pathLst>
            </a:cu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xmlns="" id="{496E0318-0039-034E-AEE1-1C77438456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75" r="16675"/>
            <a:stretch/>
          </p:blipFill>
          <p:spPr>
            <a:xfrm>
              <a:off x="7186617" y="1945863"/>
              <a:ext cx="2670629" cy="2670629"/>
            </a:xfrm>
            <a:custGeom>
              <a:avLst/>
              <a:gdLst>
                <a:gd name="connsiteX0" fmla="*/ 1335315 w 2670629"/>
                <a:gd name="connsiteY0" fmla="*/ 0 h 2670629"/>
                <a:gd name="connsiteX1" fmla="*/ 2670629 w 2670629"/>
                <a:gd name="connsiteY1" fmla="*/ 1335315 h 2670629"/>
                <a:gd name="connsiteX2" fmla="*/ 1335315 w 2670629"/>
                <a:gd name="connsiteY2" fmla="*/ 2670629 h 2670629"/>
                <a:gd name="connsiteX3" fmla="*/ 0 w 2670629"/>
                <a:gd name="connsiteY3" fmla="*/ 1335315 h 267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0629" h="2670629">
                  <a:moveTo>
                    <a:pt x="1335315" y="0"/>
                  </a:moveTo>
                  <a:lnTo>
                    <a:pt x="2670629" y="1335315"/>
                  </a:lnTo>
                  <a:lnTo>
                    <a:pt x="1335315" y="2670629"/>
                  </a:lnTo>
                  <a:lnTo>
                    <a:pt x="0" y="1335315"/>
                  </a:lnTo>
                  <a:close/>
                </a:path>
              </a:pathLst>
            </a:cu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xmlns="" id="{AD806F40-8945-FC40-AD03-D96C0443EF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667" r="16667"/>
            <a:stretch/>
          </p:blipFill>
          <p:spPr>
            <a:xfrm>
              <a:off x="8662030" y="3429000"/>
              <a:ext cx="2670629" cy="2670629"/>
            </a:xfrm>
            <a:custGeom>
              <a:avLst/>
              <a:gdLst>
                <a:gd name="connsiteX0" fmla="*/ 1335315 w 2670629"/>
                <a:gd name="connsiteY0" fmla="*/ 0 h 2670629"/>
                <a:gd name="connsiteX1" fmla="*/ 2670629 w 2670629"/>
                <a:gd name="connsiteY1" fmla="*/ 1335315 h 2670629"/>
                <a:gd name="connsiteX2" fmla="*/ 1335315 w 2670629"/>
                <a:gd name="connsiteY2" fmla="*/ 2670629 h 2670629"/>
                <a:gd name="connsiteX3" fmla="*/ 0 w 2670629"/>
                <a:gd name="connsiteY3" fmla="*/ 1335315 h 26706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0629" h="2670629">
                  <a:moveTo>
                    <a:pt x="1335315" y="0"/>
                  </a:moveTo>
                  <a:lnTo>
                    <a:pt x="2670629" y="1335315"/>
                  </a:lnTo>
                  <a:lnTo>
                    <a:pt x="1335315" y="2670629"/>
                  </a:lnTo>
                  <a:lnTo>
                    <a:pt x="0" y="1335315"/>
                  </a:lnTo>
                  <a:close/>
                </a:path>
              </a:pathLst>
            </a:custGeom>
          </p:spPr>
        </p:pic>
      </p:grpSp>
      <p:sp>
        <p:nvSpPr>
          <p:cNvPr id="16" name="Rectangle: Top Corners Rounded 15">
            <a:extLst>
              <a:ext uri="{FF2B5EF4-FFF2-40B4-BE49-F238E27FC236}">
                <a16:creationId xmlns:a16="http://schemas.microsoft.com/office/drawing/2014/main" xmlns="" id="{A6151EA4-FC1C-BD05-059E-EDA3B58D5A1C}"/>
              </a:ext>
            </a:extLst>
          </p:cNvPr>
          <p:cNvSpPr/>
          <p:nvPr/>
        </p:nvSpPr>
        <p:spPr>
          <a:xfrm flipV="1">
            <a:off x="686991" y="600031"/>
            <a:ext cx="2261399" cy="482468"/>
          </a:xfrm>
          <a:prstGeom prst="round2SameRect">
            <a:avLst/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7485CB9D-26AB-6D3D-28EF-1C54605EEDC2}"/>
              </a:ext>
            </a:extLst>
          </p:cNvPr>
          <p:cNvSpPr txBox="1"/>
          <p:nvPr/>
        </p:nvSpPr>
        <p:spPr>
          <a:xfrm>
            <a:off x="971738" y="677401"/>
            <a:ext cx="1976652" cy="2846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169DD8"/>
              </a:buClr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/>
                <a:ea typeface="+mn-ea"/>
                <a:cs typeface="+mn-cs"/>
              </a:rPr>
              <a:t>UNSUR UTAMA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10AE5090-901A-5C82-2B40-F7A19138DF58}"/>
              </a:ext>
            </a:extLst>
          </p:cNvPr>
          <p:cNvCxnSpPr>
            <a:cxnSpLocks/>
          </p:cNvCxnSpPr>
          <p:nvPr/>
        </p:nvCxnSpPr>
        <p:spPr>
          <a:xfrm flipV="1">
            <a:off x="686991" y="600031"/>
            <a:ext cx="8239470" cy="2"/>
          </a:xfrm>
          <a:prstGeom prst="line">
            <a:avLst/>
          </a:prstGeom>
          <a:noFill/>
          <a:ln w="6350" cap="flat" cmpd="sng" algn="ctr">
            <a:solidFill>
              <a:srgbClr val="1E4C6D"/>
            </a:solidFill>
            <a:prstDash val="solid"/>
            <a:miter lim="800000"/>
          </a:ln>
          <a:effectLst/>
        </p:spPr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138F32BA-2CCA-8680-67D2-9DC46BCA05B7}"/>
              </a:ext>
            </a:extLst>
          </p:cNvPr>
          <p:cNvSpPr/>
          <p:nvPr/>
        </p:nvSpPr>
        <p:spPr>
          <a:xfrm>
            <a:off x="703970" y="1419048"/>
            <a:ext cx="3360206" cy="986348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didikan dan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latih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ormal</a:t>
            </a:r>
          </a:p>
          <a:p>
            <a:pPr marL="4445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didik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strata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anju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45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didik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ingkat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4500" marR="0" lvl="0" indent="-177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latih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rj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formal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90404EB2-2505-92F2-0633-3CB8E720D72F}"/>
              </a:ext>
            </a:extLst>
          </p:cNvPr>
          <p:cNvSpPr txBox="1"/>
          <p:nvPr/>
        </p:nvSpPr>
        <p:spPr>
          <a:xfrm>
            <a:off x="703971" y="2534506"/>
            <a:ext cx="3360205" cy="1418715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>
            <a:defPPr>
              <a:defRPr lang="en-US"/>
            </a:defPPr>
            <a:lvl1pPr algn="ctr">
              <a:defRPr sz="16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2"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didik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onformal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0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mbelajar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andiri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0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mbelajar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rkai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eng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ugas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rja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CFCB8C17-B57E-CD30-94B1-D54824A0A775}"/>
              </a:ext>
            </a:extLst>
          </p:cNvPr>
          <p:cNvSpPr txBox="1"/>
          <p:nvPr/>
        </p:nvSpPr>
        <p:spPr>
          <a:xfrm>
            <a:off x="703970" y="4104186"/>
            <a:ext cx="3360206" cy="792453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>
            <a:defPPr>
              <a:defRPr lang="en-US"/>
            </a:defPPr>
            <a:lvl1pPr algn="ctr">
              <a:defRPr sz="1600" b="1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3"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rtisipasi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lam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rtemu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fesi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0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sert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rtemu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rofesi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0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rtisipasi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lam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panitiaan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04426243-4D34-70BB-AEC5-2A689CEF3551}"/>
              </a:ext>
            </a:extLst>
          </p:cNvPr>
          <p:cNvSpPr/>
          <p:nvPr/>
        </p:nvSpPr>
        <p:spPr>
          <a:xfrm>
            <a:off x="4150215" y="1165048"/>
            <a:ext cx="4507451" cy="2145899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4"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Sayembara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/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kompetisi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,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apar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, paten,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karya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tulis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, dan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engajar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sebagai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engajar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/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instruktur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Unica One"/>
            </a:endParaRPr>
          </a:p>
          <a:p>
            <a:pPr marL="449263" marR="0" lvl="1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ayembara/kompetisi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1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paran dan laporan teknis internal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1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paran pada pertemuan tekni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1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atenkan atau mendapatkan hak atas kekayaan intelektual atas hasil karya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1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ulisan makalah untuk pertemuan profesi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1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ulisan untuk majalah atau jurnal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1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ulisan buku/bahan ajar/modul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  <a:p>
            <a:pPr marL="449263" marR="0" lvl="1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id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ngajaran atau sebagai pengajar/instruktu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Lato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900746F0-8949-318D-D31B-2905362CFD10}"/>
              </a:ext>
            </a:extLst>
          </p:cNvPr>
          <p:cNvSpPr/>
          <p:nvPr/>
        </p:nvSpPr>
        <p:spPr>
          <a:xfrm>
            <a:off x="4150215" y="3393337"/>
            <a:ext cx="4507450" cy="1256300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 startAt="5"/>
              <a:tabLst/>
              <a:defRPr/>
            </a:pP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apar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film,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gelar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karya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,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engenal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roduk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, dan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ziarah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arsitektur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</a:p>
          <a:p>
            <a:pPr marL="449263" marR="0" lvl="0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apar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film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arsitektu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Unica One"/>
            </a:endParaRPr>
          </a:p>
          <a:p>
            <a:pPr marL="449263" marR="0" lvl="0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Gela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kary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arsitektu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Unica One"/>
            </a:endParaRPr>
          </a:p>
          <a:p>
            <a:pPr marL="449263" marR="0" lvl="0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engenal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produk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Unica One"/>
            </a:endParaRPr>
          </a:p>
          <a:p>
            <a:pPr marL="449263" marR="0" lvl="0" indent="-1873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Ziarah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Unica One"/>
              </a:rPr>
              <a:t>arsitektu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Unica One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B060CF1C-7682-6E14-755D-9CCF39FB0C41}"/>
              </a:ext>
            </a:extLst>
          </p:cNvPr>
          <p:cNvSpPr/>
          <p:nvPr/>
        </p:nvSpPr>
        <p:spPr>
          <a:xfrm>
            <a:off x="4150215" y="4725512"/>
            <a:ext cx="4507450" cy="603388"/>
          </a:xfrm>
          <a:prstGeom prst="rect">
            <a:avLst/>
          </a:prstGeom>
          <a:solidFill>
            <a:srgbClr val="FFFFFF">
              <a:lumMod val="95000"/>
            </a:srgbClr>
          </a:solidFill>
          <a:ln w="762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228600" marR="0" lvl="0" indent="-2286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 typeface="+mj-lt"/>
              <a:buAutoNum type="arabicPeriod" startAt="6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Kegiat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utam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lainnya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dikembangkan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oleh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Asosiasi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Profesi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terakreditasi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dan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ditetapka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oleh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Direktu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Jenderal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yang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membidangi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konstruksi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Bookman Old Style" panose="02050604050505020204" pitchFamily="18" charset="0"/>
                <a:cs typeface="Segoe UI" panose="020B0502040204020203" pitchFamily="34" charset="0"/>
              </a:rPr>
              <a:t>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Georgia" panose="02040502050405020303" pitchFamily="18" charset="0"/>
              <a:cs typeface="Segoe UI" panose="020B0502040204020203" pitchFamily="34" charset="0"/>
            </a:endParaRPr>
          </a:p>
        </p:txBody>
      </p:sp>
      <p:sp>
        <p:nvSpPr>
          <p:cNvPr id="33" name="Rectangle: Top Corners Rounded 32">
            <a:extLst>
              <a:ext uri="{FF2B5EF4-FFF2-40B4-BE49-F238E27FC236}">
                <a16:creationId xmlns:a16="http://schemas.microsoft.com/office/drawing/2014/main" xmlns="" id="{14D3CE55-E555-27A9-249F-5CF7ED0D2D30}"/>
              </a:ext>
            </a:extLst>
          </p:cNvPr>
          <p:cNvSpPr/>
          <p:nvPr/>
        </p:nvSpPr>
        <p:spPr>
          <a:xfrm flipV="1">
            <a:off x="686991" y="5408541"/>
            <a:ext cx="2261399" cy="708737"/>
          </a:xfrm>
          <a:prstGeom prst="round2SameRect">
            <a:avLst/>
          </a:prstGeom>
          <a:solidFill>
            <a:schemeClr val="accent1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1A3684D6-F428-CE8F-0C0F-CF86ED62EA62}"/>
              </a:ext>
            </a:extLst>
          </p:cNvPr>
          <p:cNvSpPr txBox="1"/>
          <p:nvPr/>
        </p:nvSpPr>
        <p:spPr>
          <a:xfrm>
            <a:off x="971738" y="5485913"/>
            <a:ext cx="1976652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169DD8"/>
              </a:buClr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"/>
                <a:ea typeface="+mn-ea"/>
                <a:cs typeface="+mn-cs"/>
              </a:rPr>
              <a:t>UNSUR PENUNJANG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C275E34F-FCA2-411F-3778-FB6A8ECB16A9}"/>
              </a:ext>
            </a:extLst>
          </p:cNvPr>
          <p:cNvCxnSpPr>
            <a:cxnSpLocks/>
          </p:cNvCxnSpPr>
          <p:nvPr/>
        </p:nvCxnSpPr>
        <p:spPr>
          <a:xfrm flipV="1">
            <a:off x="686991" y="5408543"/>
            <a:ext cx="8239470" cy="2"/>
          </a:xfrm>
          <a:prstGeom prst="line">
            <a:avLst/>
          </a:prstGeom>
          <a:noFill/>
          <a:ln w="6350" cap="flat" cmpd="sng" algn="ctr">
            <a:solidFill>
              <a:srgbClr val="1E4C6D"/>
            </a:solidFill>
            <a:prstDash val="solid"/>
            <a:miter lim="800000"/>
          </a:ln>
          <a:effectLst/>
        </p:spPr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0430CAE9-4CC5-F9F5-CF3E-3BBF3E9736B3}"/>
              </a:ext>
            </a:extLst>
          </p:cNvPr>
          <p:cNvSpPr/>
          <p:nvPr/>
        </p:nvSpPr>
        <p:spPr>
          <a:xfrm>
            <a:off x="3176992" y="5512255"/>
            <a:ext cx="5480674" cy="801083"/>
          </a:xfrm>
          <a:prstGeom prst="rect">
            <a:avLst/>
          </a:prstGeom>
          <a:solidFill>
            <a:srgbClr val="FFFFFF">
              <a:lumMod val="9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347663" marR="0" lvl="1" indent="-2889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>
                <a:tab pos="2340610" algn="l"/>
              </a:tabLst>
              <a:defRPr/>
            </a:pP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akar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tau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narasumber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;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347663" marR="0" lvl="1" indent="-2889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>
                <a:tab pos="2340610" algn="l"/>
              </a:tabLst>
              <a:defRPr/>
            </a:pPr>
            <a:r>
              <a:rPr kumimoji="0" lang="fi-FI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engurus organisasi profesi atau pimpinan LPJK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; dan/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tau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Times New Roman" panose="02020603050405020304" pitchFamily="18" charset="0"/>
              <a:cs typeface="Segoe UI" panose="020B0502040204020203" pitchFamily="34" charset="0"/>
            </a:endParaRPr>
          </a:p>
          <a:p>
            <a:pPr marL="347663" marR="0" lvl="1" indent="-28892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lphaLcParenR"/>
              <a:tabLst>
                <a:tab pos="2340610" algn="l"/>
              </a:tabLst>
              <a:defRPr/>
            </a:pP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penerima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tanda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jasa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,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nugerah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,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atau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 </a:t>
            </a:r>
            <a:r>
              <a:rPr kumimoji="0" lang="en-ID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sejenisnya</a:t>
            </a:r>
            <a:r>
              <a:rPr kumimoji="0" lang="en-ID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Times New Roman" panose="02020603050405020304" pitchFamily="18" charset="0"/>
                <a:cs typeface="Segoe UI" panose="020B0502040204020203" pitchFamily="34" charset="0"/>
              </a:rPr>
              <a:t>.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19426C44-601D-A108-78C5-A00DE826EB39}"/>
              </a:ext>
            </a:extLst>
          </p:cNvPr>
          <p:cNvSpPr txBox="1"/>
          <p:nvPr/>
        </p:nvSpPr>
        <p:spPr>
          <a:xfrm>
            <a:off x="9085715" y="222519"/>
            <a:ext cx="3111779" cy="218521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EGIAT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K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RDASARKAN UNSUR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FF86441-1A20-50DE-C85E-7CF98DEF838F}"/>
              </a:ext>
            </a:extLst>
          </p:cNvPr>
          <p:cNvSpPr/>
          <p:nvPr/>
        </p:nvSpPr>
        <p:spPr>
          <a:xfrm>
            <a:off x="3000861" y="633181"/>
            <a:ext cx="3290813" cy="41617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nsur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utam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arus</a:t>
            </a: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enuhi</a:t>
            </a: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paling </a:t>
            </a:r>
            <a:r>
              <a:rPr kumimoji="0" lang="en-ID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dikit</a:t>
            </a: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75%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r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rsyar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cukup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ila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redit</a:t>
            </a:r>
            <a:endParaRPr kumimoji="0" lang="en-ID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7EF4ACA-C05F-6DFF-1F97-51B19EE9C6CF}"/>
              </a:ext>
            </a:extLst>
          </p:cNvPr>
          <p:cNvSpPr/>
          <p:nvPr/>
        </p:nvSpPr>
        <p:spPr>
          <a:xfrm>
            <a:off x="755305" y="3412564"/>
            <a:ext cx="3232698" cy="41617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gi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Pendidikan non formal </a:t>
            </a: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aling </a:t>
            </a:r>
            <a:r>
              <a:rPr kumimoji="0" lang="en-ID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anyak</a:t>
            </a: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25%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r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rsyar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cukup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ila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redit</a:t>
            </a:r>
            <a:endParaRPr kumimoji="0" lang="en-ID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632371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Picture 106">
            <a:extLst>
              <a:ext uri="{FF2B5EF4-FFF2-40B4-BE49-F238E27FC236}">
                <a16:creationId xmlns:a16="http://schemas.microsoft.com/office/drawing/2014/main" xmlns="" id="{FD76489E-0B6F-1B55-1B1A-279A64765ED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62" t="33241" b="33241"/>
          <a:stretch/>
        </p:blipFill>
        <p:spPr>
          <a:xfrm>
            <a:off x="0" y="246804"/>
            <a:ext cx="3819833" cy="1778939"/>
          </a:xfrm>
          <a:custGeom>
            <a:avLst/>
            <a:gdLst>
              <a:gd name="connsiteX0" fmla="*/ 0 w 4178300"/>
              <a:gd name="connsiteY0" fmla="*/ 0 h 6248400"/>
              <a:gd name="connsiteX1" fmla="*/ 4178300 w 4178300"/>
              <a:gd name="connsiteY1" fmla="*/ 0 h 6248400"/>
              <a:gd name="connsiteX2" fmla="*/ 4178300 w 4178300"/>
              <a:gd name="connsiteY2" fmla="*/ 5959638 h 6248400"/>
              <a:gd name="connsiteX3" fmla="*/ 3889538 w 4178300"/>
              <a:gd name="connsiteY3" fmla="*/ 6248400 h 6248400"/>
              <a:gd name="connsiteX4" fmla="*/ 288762 w 4178300"/>
              <a:gd name="connsiteY4" fmla="*/ 6248400 h 6248400"/>
              <a:gd name="connsiteX5" fmla="*/ 0 w 4178300"/>
              <a:gd name="connsiteY5" fmla="*/ 5959638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78300" h="6248400">
                <a:moveTo>
                  <a:pt x="0" y="0"/>
                </a:moveTo>
                <a:lnTo>
                  <a:pt x="4178300" y="0"/>
                </a:lnTo>
                <a:lnTo>
                  <a:pt x="4178300" y="5959638"/>
                </a:lnTo>
                <a:cubicBezTo>
                  <a:pt x="4178300" y="6119117"/>
                  <a:pt x="4049017" y="6248400"/>
                  <a:pt x="3889538" y="6248400"/>
                </a:cubicBezTo>
                <a:lnTo>
                  <a:pt x="288762" y="6248400"/>
                </a:lnTo>
                <a:cubicBezTo>
                  <a:pt x="129283" y="6248400"/>
                  <a:pt x="0" y="6119117"/>
                  <a:pt x="0" y="5959638"/>
                </a:cubicBezTo>
                <a:close/>
              </a:path>
            </a:pathLst>
          </a:custGeom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xmlns="" id="{CBC9B902-319B-C5FE-6945-CEB59FAE1611}"/>
              </a:ext>
            </a:extLst>
          </p:cNvPr>
          <p:cNvSpPr/>
          <p:nvPr/>
        </p:nvSpPr>
        <p:spPr>
          <a:xfrm rot="16200000">
            <a:off x="1012397" y="-781692"/>
            <a:ext cx="1795038" cy="3819832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xmlns="" id="{6D0ED8BB-E5DE-4C2B-83B0-5336B387872A}"/>
              </a:ext>
            </a:extLst>
          </p:cNvPr>
          <p:cNvSpPr txBox="1"/>
          <p:nvPr/>
        </p:nvSpPr>
        <p:spPr>
          <a:xfrm>
            <a:off x="529078" y="403150"/>
            <a:ext cx="3469339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>
              <a:defRPr sz="2800">
                <a:solidFill>
                  <a:schemeClr val="bg1"/>
                </a:solidFill>
                <a:latin typeface="Segoe UI Black" panose="020B0A02040204020203" pitchFamily="34" charset="0"/>
                <a:ea typeface="Segoe UI Black" panose="020B0A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KEGIATAN PKB </a:t>
            </a:r>
            <a:r>
              <a:rPr kumimoji="0" lang="id-ID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BERDASARKAN JENI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Segoe UI" panose="020B0502040204020203" pitchFamily="34" charset="0"/>
              <a:ea typeface="Segoe UI Black" panose="020B0A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xmlns="" id="{6CB3A2D8-03D4-8791-CE35-2FF28754DDA4}"/>
              </a:ext>
            </a:extLst>
          </p:cNvPr>
          <p:cNvGrpSpPr/>
          <p:nvPr/>
        </p:nvGrpSpPr>
        <p:grpSpPr>
          <a:xfrm>
            <a:off x="8381232" y="4883503"/>
            <a:ext cx="3684764" cy="1879018"/>
            <a:chOff x="-1695023" y="4374540"/>
            <a:chExt cx="3684764" cy="1879018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975CEDCD-1C7C-4FB3-867E-1C73869775C2}"/>
                </a:ext>
              </a:extLst>
            </p:cNvPr>
            <p:cNvGrpSpPr/>
            <p:nvPr/>
          </p:nvGrpSpPr>
          <p:grpSpPr>
            <a:xfrm>
              <a:off x="113147" y="4374540"/>
              <a:ext cx="1876594" cy="1879018"/>
              <a:chOff x="5161849" y="2540755"/>
              <a:chExt cx="1876594" cy="1879018"/>
            </a:xfrm>
          </p:grpSpPr>
          <p:sp>
            <p:nvSpPr>
              <p:cNvPr id="5" name="Rectangle 4">
                <a:extLst>
                  <a:ext uri="{FF2B5EF4-FFF2-40B4-BE49-F238E27FC236}">
                    <a16:creationId xmlns:a16="http://schemas.microsoft.com/office/drawing/2014/main" xmlns="" id="{B0572B51-25DD-BFDD-685F-1944A4B2D36D}"/>
                  </a:ext>
                </a:extLst>
              </p:cNvPr>
              <p:cNvSpPr/>
              <p:nvPr/>
            </p:nvSpPr>
            <p:spPr>
              <a:xfrm>
                <a:off x="5177513" y="2540755"/>
                <a:ext cx="1860930" cy="187901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D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6" name="TextBox 7">
                <a:extLst>
                  <a:ext uri="{FF2B5EF4-FFF2-40B4-BE49-F238E27FC236}">
                    <a16:creationId xmlns:a16="http://schemas.microsoft.com/office/drawing/2014/main" xmlns="" id="{DE24A1E4-B434-D9BB-46AF-6036A1954D6C}"/>
                  </a:ext>
                </a:extLst>
              </p:cNvPr>
              <p:cNvSpPr txBox="1"/>
              <p:nvPr/>
            </p:nvSpPr>
            <p:spPr>
              <a:xfrm>
                <a:off x="5306385" y="2628282"/>
                <a:ext cx="1579229" cy="553998"/>
              </a:xfrm>
              <a:prstGeom prst="rect">
                <a:avLst/>
              </a:prstGeom>
              <a:noFill/>
            </p:spPr>
            <p:txBody>
              <a:bodyPr wrap="square" lIns="0" tIns="0" rIns="0" bIns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Buku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Catatan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Elektronik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entury Gothic" panose="020B0502020202020204" pitchFamily="34" charset="0"/>
                    <a:ea typeface="+mn-ea"/>
                    <a:cs typeface="+mn-cs"/>
                  </a:rPr>
                  <a:t> Tenaga Ahli pada SIKI-PKB</a:t>
                </a:r>
                <a:endParaRPr kumimoji="0" lang="en-ID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endParaRPr>
              </a:p>
            </p:txBody>
          </p:sp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xmlns="" id="{08B2F335-23D6-FB03-A29E-8179D4B68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61849" y="3312565"/>
                <a:ext cx="809554" cy="809554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xmlns="" id="{178FB8B9-0D9F-B8BD-3E96-72F82A6794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88413" y="3277314"/>
                <a:ext cx="1051414" cy="1051414"/>
              </a:xfrm>
              <a:prstGeom prst="rect">
                <a:avLst/>
              </a:prstGeom>
            </p:spPr>
          </p:pic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xmlns="" id="{8023EE43-60BD-CE99-EA2E-27444D5A4008}"/>
                </a:ext>
              </a:extLst>
            </p:cNvPr>
            <p:cNvSpPr txBox="1"/>
            <p:nvPr/>
          </p:nvSpPr>
          <p:spPr>
            <a:xfrm>
              <a:off x="-1695023" y="5752957"/>
              <a:ext cx="1735610" cy="4985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2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Login </a:t>
              </a:r>
              <a:r>
                <a:rPr kumimoji="0" lang="en-ID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enggunakan</a:t>
              </a:r>
              <a:r>
                <a:rPr kumimoji="0" lang="en-ID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user name &amp; password SIKI / SIMPAN</a:t>
              </a:r>
            </a:p>
          </p:txBody>
        </p:sp>
      </p:grp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xmlns="" id="{66AFEBA9-FC2F-6B3B-F6EA-F69C9DCB529A}"/>
              </a:ext>
            </a:extLst>
          </p:cNvPr>
          <p:cNvSpPr/>
          <p:nvPr/>
        </p:nvSpPr>
        <p:spPr>
          <a:xfrm>
            <a:off x="209586" y="3048000"/>
            <a:ext cx="3610248" cy="3627866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27000" dist="38100" algn="l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Ins="216000"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ID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xmlns="" id="{25B632FD-111F-0473-2C15-6436C7D7E64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072" b="89686" l="10000" r="92935">
                        <a14:foregroundMark x1="85109" y1="8072" x2="86098" y2="78251"/>
                        <a14:foregroundMark x1="86703" y1="83409" x2="86816" y2="83009"/>
                        <a14:foregroundMark x1="86606" y1="83750" x2="86588" y2="83812"/>
                        <a14:foregroundMark x1="65543" y1="45740" x2="72065" y2="51794"/>
                        <a14:foregroundMark x1="74565" y1="49776" x2="74565" y2="49776"/>
                        <a14:foregroundMark x1="84783" y1="52466" x2="92935" y2="23543"/>
                        <a14:foregroundMark x1="75652" y1="26906" x2="76196" y2="34753"/>
                        <a14:foregroundMark x1="81087" y1="28251" x2="81087" y2="37892"/>
                        <a14:foregroundMark x1="89891" y1="58072" x2="80326" y2="56726"/>
                        <a14:foregroundMark x1="85109" y1="63453" x2="88587" y2="64574"/>
                        <a14:foregroundMark x1="88261" y1="26233" x2="86413" y2="31390"/>
                        <a14:foregroundMark x1="89239" y1="69283" x2="85326" y2="69283"/>
                        <a14:backgroundMark x1="11739" y1="41031" x2="55217" y2="24215"/>
                        <a14:backgroundMark x1="55217" y1="24215" x2="57935" y2="20852"/>
                        <a14:backgroundMark x1="55761" y1="15919" x2="50543" y2="62332"/>
                        <a14:backgroundMark x1="50543" y1="62332" x2="50543" y2="62556"/>
                        <a14:backgroundMark x1="63261" y1="19731" x2="54022" y2="28924"/>
                        <a14:backgroundMark x1="54457" y1="42601" x2="59891" y2="56278"/>
                        <a14:backgroundMark x1="63370" y1="30942" x2="61304" y2="30045"/>
                        <a14:backgroundMark x1="59457" y1="45291" x2="62283" y2="52915"/>
                        <a14:backgroundMark x1="86413" y1="83632" x2="85652" y2="88789"/>
                        <a14:backgroundMark x1="86087" y1="80493" x2="86304" y2="83184"/>
                        <a14:backgroundMark x1="85978" y1="79596" x2="86413" y2="80942"/>
                        <a14:backgroundMark x1="86087" y1="78251" x2="86087" y2="79821"/>
                        <a14:backgroundMark x1="86739" y1="84753" x2="86630" y2="8296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5140"/>
          <a:stretch/>
        </p:blipFill>
        <p:spPr>
          <a:xfrm>
            <a:off x="2988799" y="4544689"/>
            <a:ext cx="2140639" cy="2313311"/>
          </a:xfrm>
          <a:prstGeom prst="rect">
            <a:avLst/>
          </a:prstGeom>
        </p:spPr>
      </p:pic>
      <p:grpSp>
        <p:nvGrpSpPr>
          <p:cNvPr id="70" name="Group 69">
            <a:extLst>
              <a:ext uri="{FF2B5EF4-FFF2-40B4-BE49-F238E27FC236}">
                <a16:creationId xmlns:a16="http://schemas.microsoft.com/office/drawing/2014/main" xmlns="" id="{898A9B8A-316D-2F31-E09B-5F0006E8F1BD}"/>
              </a:ext>
            </a:extLst>
          </p:cNvPr>
          <p:cNvGrpSpPr/>
          <p:nvPr/>
        </p:nvGrpSpPr>
        <p:grpSpPr>
          <a:xfrm>
            <a:off x="667171" y="2726657"/>
            <a:ext cx="2686867" cy="596538"/>
            <a:chOff x="633642" y="2590801"/>
            <a:chExt cx="2686867" cy="596538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xmlns="" id="{4C2F9699-6159-BE30-0D5A-DF0AF4EC833A}"/>
                </a:ext>
              </a:extLst>
            </p:cNvPr>
            <p:cNvSpPr/>
            <p:nvPr/>
          </p:nvSpPr>
          <p:spPr>
            <a:xfrm>
              <a:off x="636303" y="2602996"/>
              <a:ext cx="2684206" cy="584343"/>
            </a:xfrm>
            <a:prstGeom prst="rect">
              <a:avLst/>
            </a:prstGeom>
            <a:gradFill>
              <a:gsLst>
                <a:gs pos="0">
                  <a:srgbClr val="085171">
                    <a:alpha val="90000"/>
                  </a:srgbClr>
                </a:gs>
                <a:gs pos="100000">
                  <a:srgbClr val="2D728F">
                    <a:alpha val="80000"/>
                  </a:srgb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D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xmlns="" id="{46569153-3268-A06C-8C2F-25C6F55B8F84}"/>
                </a:ext>
              </a:extLst>
            </p:cNvPr>
            <p:cNvSpPr txBox="1"/>
            <p:nvPr/>
          </p:nvSpPr>
          <p:spPr>
            <a:xfrm>
              <a:off x="633642" y="2590801"/>
              <a:ext cx="267248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"/>
                  <a:ea typeface="+mn-ea"/>
                  <a:cs typeface="+mn-cs"/>
                </a:rPr>
                <a:t>Keuntungan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"/>
                  <a:ea typeface="+mn-ea"/>
                  <a:cs typeface="+mn-cs"/>
                </a:rPr>
                <a:t>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"/>
                  <a:ea typeface="+mn-ea"/>
                  <a:cs typeface="+mn-cs"/>
                </a:rPr>
                <a:t>Kegiatan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"/>
                  <a:ea typeface="+mn-ea"/>
                  <a:cs typeface="+mn-cs"/>
                </a:rPr>
                <a:t> PKB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 "/>
                  <a:ea typeface="+mn-ea"/>
                  <a:cs typeface="+mn-cs"/>
                </a:rPr>
                <a:t>Terverifikasi</a:t>
              </a:r>
              <a:endPara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"/>
                <a:ea typeface="+mn-ea"/>
                <a:cs typeface="+mn-cs"/>
              </a:endParaRP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xmlns="" id="{0A64BD8F-48D5-C51A-F045-9A2CC2B86CD1}"/>
              </a:ext>
            </a:extLst>
          </p:cNvPr>
          <p:cNvGrpSpPr/>
          <p:nvPr/>
        </p:nvGrpSpPr>
        <p:grpSpPr>
          <a:xfrm>
            <a:off x="3961555" y="201882"/>
            <a:ext cx="7963740" cy="5937661"/>
            <a:chOff x="4077667" y="317994"/>
            <a:chExt cx="7963740" cy="5937661"/>
          </a:xfrm>
        </p:grpSpPr>
        <p:sp>
          <p:nvSpPr>
            <p:cNvPr id="88" name="Rectangle: Rounded Corners 87">
              <a:extLst>
                <a:ext uri="{FF2B5EF4-FFF2-40B4-BE49-F238E27FC236}">
                  <a16:creationId xmlns:a16="http://schemas.microsoft.com/office/drawing/2014/main" xmlns="" id="{6A279992-959A-44C0-BDE4-6F008E8499F7}"/>
                </a:ext>
              </a:extLst>
            </p:cNvPr>
            <p:cNvSpPr/>
            <p:nvPr/>
          </p:nvSpPr>
          <p:spPr>
            <a:xfrm>
              <a:off x="5436531" y="5322973"/>
              <a:ext cx="4508090" cy="932682"/>
            </a:xfrm>
            <a:prstGeom prst="roundRect">
              <a:avLst/>
            </a:prstGeom>
            <a:gradFill>
              <a:gsLst>
                <a:gs pos="0">
                  <a:srgbClr val="085171">
                    <a:alpha val="90000"/>
                  </a:srgbClr>
                </a:gs>
                <a:gs pos="100000">
                  <a:srgbClr val="2D728F">
                    <a:alpha val="80000"/>
                  </a:srgbClr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otal Nilai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Kredit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PKB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Total Angka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Kredit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Kegiatan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PKB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erverifikasi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dan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idak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erverifikasi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)</a:t>
              </a:r>
            </a:p>
          </p:txBody>
        </p:sp>
        <p:cxnSp>
          <p:nvCxnSpPr>
            <p:cNvPr id="139" name="Connector: Elbow 138">
              <a:extLst>
                <a:ext uri="{FF2B5EF4-FFF2-40B4-BE49-F238E27FC236}">
                  <a16:creationId xmlns:a16="http://schemas.microsoft.com/office/drawing/2014/main" xmlns="" id="{EABE82CB-40D3-4A79-9024-A9156D343911}"/>
                </a:ext>
              </a:extLst>
            </p:cNvPr>
            <p:cNvCxnSpPr>
              <a:cxnSpLocks/>
              <a:stCxn id="22" idx="2"/>
              <a:endCxn id="88" idx="0"/>
            </p:cNvCxnSpPr>
            <p:nvPr/>
          </p:nvCxnSpPr>
          <p:spPr>
            <a:xfrm rot="16200000" flipH="1">
              <a:off x="6212358" y="3844754"/>
              <a:ext cx="1148651" cy="1807785"/>
            </a:xfrm>
            <a:prstGeom prst="bentConnector3">
              <a:avLst>
                <a:gd name="adj1" fmla="val 80815"/>
              </a:avLst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Connector: Elbow 141">
              <a:extLst>
                <a:ext uri="{FF2B5EF4-FFF2-40B4-BE49-F238E27FC236}">
                  <a16:creationId xmlns:a16="http://schemas.microsoft.com/office/drawing/2014/main" xmlns="" id="{2C4FC003-D8DD-47CD-87B7-0001F5B3D22B}"/>
                </a:ext>
              </a:extLst>
            </p:cNvPr>
            <p:cNvCxnSpPr>
              <a:cxnSpLocks/>
              <a:stCxn id="10" idx="2"/>
              <a:endCxn id="88" idx="0"/>
            </p:cNvCxnSpPr>
            <p:nvPr/>
          </p:nvCxnSpPr>
          <p:spPr>
            <a:xfrm rot="5400000">
              <a:off x="8615349" y="3976839"/>
              <a:ext cx="421361" cy="2270906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xmlns="" id="{79D56796-E59D-4559-E915-7732C1D73AF2}"/>
                </a:ext>
              </a:extLst>
            </p:cNvPr>
            <p:cNvGrpSpPr/>
            <p:nvPr/>
          </p:nvGrpSpPr>
          <p:grpSpPr>
            <a:xfrm>
              <a:off x="4077667" y="317994"/>
              <a:ext cx="3610248" cy="3856328"/>
              <a:chOff x="4628058" y="952060"/>
              <a:chExt cx="3610248" cy="3856328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xmlns="" id="{0FC4D7D1-8DBC-E7E6-CD4E-A3B2EF7A3072}"/>
                  </a:ext>
                </a:extLst>
              </p:cNvPr>
              <p:cNvSpPr/>
              <p:nvPr/>
            </p:nvSpPr>
            <p:spPr>
              <a:xfrm>
                <a:off x="4628058" y="952060"/>
                <a:ext cx="3610248" cy="2434422"/>
              </a:xfrm>
              <a:prstGeom prst="roundRect">
                <a:avLst>
                  <a:gd name="adj" fmla="val 5435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xmlns="" id="{A754EE2F-EF94-A1D0-F8D9-2630556F85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59400" y="1022094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xmlns="" id="{F64ED22C-A84E-29A7-6787-C547659F07A7}"/>
                  </a:ext>
                </a:extLst>
              </p:cNvPr>
              <p:cNvSpPr/>
              <p:nvPr/>
            </p:nvSpPr>
            <p:spPr>
              <a:xfrm>
                <a:off x="4628058" y="3603071"/>
                <a:ext cx="3610248" cy="1205317"/>
              </a:xfrm>
              <a:prstGeom prst="roundRect">
                <a:avLst>
                  <a:gd name="adj" fmla="val 5435"/>
                </a:avLst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Kegiatan PKB yang diikuti dan Perolehan angka kredit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otomatis tercatat</a:t>
                </a:r>
                <a:r>
                  <a:rPr kumimoji="0" lang="sv-S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pada buku catatan elektronik tenaga ahli di SIKI-PKB </a:t>
                </a:r>
              </a:p>
            </p:txBody>
          </p: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xmlns="" id="{52BDC159-D531-D7B7-6A1C-E9BE8569543B}"/>
                  </a:ext>
                </a:extLst>
              </p:cNvPr>
              <p:cNvCxnSpPr>
                <a:cxnSpLocks/>
                <a:stCxn id="9" idx="2"/>
                <a:endCxn id="22" idx="0"/>
              </p:cNvCxnSpPr>
              <p:nvPr/>
            </p:nvCxnSpPr>
            <p:spPr>
              <a:xfrm>
                <a:off x="6433182" y="3386482"/>
                <a:ext cx="0" cy="216589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xmlns="" id="{15FF09AF-7D68-DD5D-0F53-FD61BA9C8E8E}"/>
                  </a:ext>
                </a:extLst>
              </p:cNvPr>
              <p:cNvSpPr txBox="1"/>
              <p:nvPr/>
            </p:nvSpPr>
            <p:spPr>
              <a:xfrm>
                <a:off x="4754128" y="1803696"/>
                <a:ext cx="3337725" cy="107721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(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tenaga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ahli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Mengikuti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kegiatan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PKB yang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diselenggarakan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oleh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penyelenggara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PKB dan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tercatat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di SIKI-PKB)</a:t>
                </a:r>
                <a:endPara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xmlns="" id="{A83677DA-5228-9443-2461-DECB6ABDB79F}"/>
                  </a:ext>
                </a:extLst>
              </p:cNvPr>
              <p:cNvSpPr/>
              <p:nvPr/>
            </p:nvSpPr>
            <p:spPr>
              <a:xfrm>
                <a:off x="5846985" y="1083696"/>
                <a:ext cx="1831035" cy="6084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Kegiatan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PKB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Terverifikasi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endParaRPr kumimoji="0" lang="en-ID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xmlns="" id="{64A09B6B-E3EF-8025-CF5F-769C3B1F9ABD}"/>
                </a:ext>
              </a:extLst>
            </p:cNvPr>
            <p:cNvGrpSpPr/>
            <p:nvPr/>
          </p:nvGrpSpPr>
          <p:grpSpPr>
            <a:xfrm>
              <a:off x="7867110" y="317994"/>
              <a:ext cx="4174297" cy="4583618"/>
              <a:chOff x="8417501" y="952060"/>
              <a:chExt cx="4174297" cy="4583618"/>
            </a:xfrm>
          </p:grpSpPr>
          <p:sp>
            <p:nvSpPr>
              <p:cNvPr id="25" name="Rectangle: Rounded Corners 24">
                <a:extLst>
                  <a:ext uri="{FF2B5EF4-FFF2-40B4-BE49-F238E27FC236}">
                    <a16:creationId xmlns:a16="http://schemas.microsoft.com/office/drawing/2014/main" xmlns="" id="{0C03E508-2723-9872-0971-00E4EF35A079}"/>
                  </a:ext>
                </a:extLst>
              </p:cNvPr>
              <p:cNvSpPr/>
              <p:nvPr/>
            </p:nvSpPr>
            <p:spPr>
              <a:xfrm>
                <a:off x="8417501" y="952060"/>
                <a:ext cx="4167871" cy="2434422"/>
              </a:xfrm>
              <a:prstGeom prst="roundRect">
                <a:avLst>
                  <a:gd name="adj" fmla="val 5435"/>
                </a:avLst>
              </a:prstGeom>
              <a:solidFill>
                <a:schemeClr val="accent6">
                  <a:lumMod val="40000"/>
                  <a:lumOff val="6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xmlns="" id="{2436A0CE-987F-FC80-DA0B-C341CB4BC7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16420" y="996673"/>
                <a:ext cx="720000" cy="720000"/>
              </a:xfrm>
              <a:prstGeom prst="rect">
                <a:avLst/>
              </a:prstGeom>
            </p:spPr>
          </p:pic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xmlns="" id="{4DCFE18D-11F4-8996-65FF-D284C7E0B950}"/>
                  </a:ext>
                </a:extLst>
              </p:cNvPr>
              <p:cNvSpPr/>
              <p:nvPr/>
            </p:nvSpPr>
            <p:spPr>
              <a:xfrm>
                <a:off x="8423927" y="3620003"/>
                <a:ext cx="4167871" cy="1207437"/>
              </a:xfrm>
              <a:prstGeom prst="roundRect">
                <a:avLst>
                  <a:gd name="adj" fmla="val 543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encatatan kegiatan PKB secara mandiri </a:t>
                </a:r>
                <a:r>
                  <a:rPr kumimoji="0" lang="sv-SE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ada buku catatan elektronik tenaga ahli di SIKI-PKB dan 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erolehan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Angka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Kredit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berdasarkan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enilaian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mandiri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xmlns="" id="{DFD04C3F-4030-7DC0-5C07-74FDD88E7666}"/>
                  </a:ext>
                </a:extLst>
              </p:cNvPr>
              <p:cNvSpPr/>
              <p:nvPr/>
            </p:nvSpPr>
            <p:spPr>
              <a:xfrm>
                <a:off x="8431948" y="4993192"/>
                <a:ext cx="4159850" cy="542486"/>
              </a:xfrm>
              <a:prstGeom prst="round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5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Verifikasi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,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validasi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, dan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penilaian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 oleh LPJK</a:t>
                </a:r>
              </a:p>
            </p:txBody>
          </p:sp>
          <p:cxnSp>
            <p:nvCxnSpPr>
              <p:cNvPr id="33" name="Straight Arrow Connector 32">
                <a:extLst>
                  <a:ext uri="{FF2B5EF4-FFF2-40B4-BE49-F238E27FC236}">
                    <a16:creationId xmlns:a16="http://schemas.microsoft.com/office/drawing/2014/main" xmlns="" id="{C4AA2074-85C4-F8CA-E3CD-1C1EC4B2AEB7}"/>
                  </a:ext>
                </a:extLst>
              </p:cNvPr>
              <p:cNvCxnSpPr>
                <a:cxnSpLocks/>
                <a:stCxn id="25" idx="2"/>
                <a:endCxn id="23" idx="0"/>
              </p:cNvCxnSpPr>
              <p:nvPr/>
            </p:nvCxnSpPr>
            <p:spPr>
              <a:xfrm>
                <a:off x="10501437" y="3386482"/>
                <a:ext cx="6426" cy="233521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Arrow Connector 43">
                <a:extLst>
                  <a:ext uri="{FF2B5EF4-FFF2-40B4-BE49-F238E27FC236}">
                    <a16:creationId xmlns:a16="http://schemas.microsoft.com/office/drawing/2014/main" xmlns="" id="{E88ECFE4-E463-63D0-977F-80F20758F276}"/>
                  </a:ext>
                </a:extLst>
              </p:cNvPr>
              <p:cNvCxnSpPr>
                <a:cxnSpLocks/>
                <a:stCxn id="23" idx="2"/>
                <a:endCxn id="10" idx="0"/>
              </p:cNvCxnSpPr>
              <p:nvPr/>
            </p:nvCxnSpPr>
            <p:spPr>
              <a:xfrm>
                <a:off x="10507863" y="4827440"/>
                <a:ext cx="4010" cy="165752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xmlns="" id="{5F987B8C-D4E2-4CDC-E000-E22E86E292FA}"/>
                  </a:ext>
                </a:extLst>
              </p:cNvPr>
              <p:cNvSpPr txBox="1"/>
              <p:nvPr/>
            </p:nvSpPr>
            <p:spPr>
              <a:xfrm>
                <a:off x="8590475" y="1842305"/>
                <a:ext cx="3861628" cy="1077218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marL="176213" marR="0" lvl="0" indent="-17621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Melakukan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kegiatan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PKB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secara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mandiri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;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atau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  <a:p>
                <a:pPr marL="176213" marR="0" lvl="0" indent="-17621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Mengikuti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kegiatan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PKB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penyelenggara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yang </a:t>
                </a:r>
                <a:r>
                  <a:rPr kumimoji="0" 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tidak</a:t>
                </a: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tercatat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di SIKI-PKB</a:t>
                </a:r>
                <a:endParaRPr kumimoji="0" lang="en-US" sz="16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xmlns="" id="{A5D91366-8F1C-8516-6A0B-CD585BE4F4DB}"/>
                  </a:ext>
                </a:extLst>
              </p:cNvPr>
              <p:cNvSpPr/>
              <p:nvPr/>
            </p:nvSpPr>
            <p:spPr>
              <a:xfrm>
                <a:off x="9346430" y="1068922"/>
                <a:ext cx="3018950" cy="6084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Kegiatan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PKB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Tidak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r>
                  <a:rPr kumimoji="0" lang="en-US" sz="16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Terverifikasi</a:t>
                </a: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 </a:t>
                </a:r>
                <a:endParaRPr kumimoji="0" lang="en-ID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endParaRPr>
              </a:p>
            </p:txBody>
          </p:sp>
        </p:grp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DE440EF0-674A-9AFE-C469-69D601F467C4}"/>
              </a:ext>
            </a:extLst>
          </p:cNvPr>
          <p:cNvSpPr txBox="1"/>
          <p:nvPr/>
        </p:nvSpPr>
        <p:spPr>
          <a:xfrm>
            <a:off x="355450" y="3380528"/>
            <a:ext cx="3310311" cy="30059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oleh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gka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redit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PKB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rverifikas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ebih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ingg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bandingk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eng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idak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rverifikasi</a:t>
            </a: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beda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obot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SKPK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gk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redi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rverifika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dan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idak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rverifika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0-75%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ngk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redi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rverifikasi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rcatat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car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tomatis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pada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uku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atatan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lektronik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naga</a:t>
            </a:r>
            <a:r>
              <a:rPr kumimoji="0" lang="en-ID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hli</a:t>
            </a:r>
            <a:endParaRPr kumimoji="0" lang="en-ID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xmlns="" id="{242AF483-E153-E1AF-B742-0CB38C74A688}"/>
              </a:ext>
            </a:extLst>
          </p:cNvPr>
          <p:cNvSpPr/>
          <p:nvPr/>
        </p:nvSpPr>
        <p:spPr>
          <a:xfrm>
            <a:off x="4015576" y="2125604"/>
            <a:ext cx="3512685" cy="41617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gi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terverifikas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harus</a:t>
            </a: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emenuhi</a:t>
            </a: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paling </a:t>
            </a:r>
            <a:r>
              <a:rPr kumimoji="0" lang="en-ID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edikit</a:t>
            </a: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60%</a:t>
            </a:r>
            <a:r>
              <a:rPr kumimoji="0" lang="en-ID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dar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ersyarat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ecukup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nila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kredit</a:t>
            </a:r>
            <a:endParaRPr kumimoji="0" lang="en-ID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305434"/>
      </p:ext>
    </p:extLst>
  </p:cSld>
  <p:clrMapOvr>
    <a:masterClrMapping/>
  </p:clrMapOvr>
  <p:transition spd="med">
    <p:pull/>
  </p:transition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building, outdoor, stone, government building&#10;&#10;Description automatically generated">
            <a:extLst>
              <a:ext uri="{FF2B5EF4-FFF2-40B4-BE49-F238E27FC236}">
                <a16:creationId xmlns:a16="http://schemas.microsoft.com/office/drawing/2014/main" xmlns="" id="{0450E0D7-1C1C-A2B1-B89D-1AB8F3015B3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1992" cy="2788197"/>
          </a:xfrm>
          <a:custGeom>
            <a:avLst/>
            <a:gdLst>
              <a:gd name="connsiteX0" fmla="*/ 0 w 10174482"/>
              <a:gd name="connsiteY0" fmla="*/ 0 h 2326811"/>
              <a:gd name="connsiteX1" fmla="*/ 10174482 w 10174482"/>
              <a:gd name="connsiteY1" fmla="*/ 0 h 2326811"/>
              <a:gd name="connsiteX2" fmla="*/ 10174482 w 10174482"/>
              <a:gd name="connsiteY2" fmla="*/ 2326811 h 2326811"/>
              <a:gd name="connsiteX3" fmla="*/ 0 w 10174482"/>
              <a:gd name="connsiteY3" fmla="*/ 2326811 h 23268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174482" h="2326811">
                <a:moveTo>
                  <a:pt x="0" y="0"/>
                </a:moveTo>
                <a:lnTo>
                  <a:pt x="10174482" y="0"/>
                </a:lnTo>
                <a:lnTo>
                  <a:pt x="10174482" y="2326811"/>
                </a:lnTo>
                <a:lnTo>
                  <a:pt x="0" y="2326811"/>
                </a:lnTo>
                <a:close/>
              </a:path>
            </a:pathLst>
          </a:cu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029ED0D-FBA9-19F6-8456-31574998A6E7}"/>
              </a:ext>
            </a:extLst>
          </p:cNvPr>
          <p:cNvSpPr/>
          <p:nvPr/>
        </p:nvSpPr>
        <p:spPr>
          <a:xfrm>
            <a:off x="-8" y="18167"/>
            <a:ext cx="12192000" cy="2788198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4076D980-23C5-57F5-22BE-800170C1824A}"/>
              </a:ext>
            </a:extLst>
          </p:cNvPr>
          <p:cNvSpPr/>
          <p:nvPr/>
        </p:nvSpPr>
        <p:spPr>
          <a:xfrm>
            <a:off x="407988" y="1063247"/>
            <a:ext cx="11376025" cy="53400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AA9F0977-75F3-73BB-6D67-8AF35CCD66C7}"/>
              </a:ext>
            </a:extLst>
          </p:cNvPr>
          <p:cNvSpPr/>
          <p:nvPr/>
        </p:nvSpPr>
        <p:spPr>
          <a:xfrm>
            <a:off x="407988" y="206970"/>
            <a:ext cx="9899794" cy="80368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Calibri Light" panose="020F0302020204030204" pitchFamily="34" charset="0"/>
              </a:rPr>
              <a:t>CONTOH LOGBOOK PKB TENAGA AHL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0EFA8833-F7AE-DAC2-3592-457DFEA8A882}"/>
              </a:ext>
            </a:extLst>
          </p:cNvPr>
          <p:cNvSpPr txBox="1"/>
          <p:nvPr/>
        </p:nvSpPr>
        <p:spPr>
          <a:xfrm>
            <a:off x="407987" y="1069625"/>
            <a:ext cx="109611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ntoh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orang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enag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hl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emilik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3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rtifik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eahli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yaitu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hl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ajeme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onstruk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hli Teknik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endu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, dan 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hli SD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.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AAB09ED2-4EE4-9BC1-1066-435FA3BF20B4}"/>
              </a:ext>
            </a:extLst>
          </p:cNvPr>
          <p:cNvGraphicFramePr>
            <a:graphicFrameLocks noGrp="1"/>
          </p:cNvGraphicFramePr>
          <p:nvPr/>
        </p:nvGraphicFramePr>
        <p:xfrm>
          <a:off x="218760" y="1675182"/>
          <a:ext cx="11754464" cy="4943764"/>
        </p:xfrm>
        <a:graphic>
          <a:graphicData uri="http://schemas.openxmlformats.org/drawingml/2006/table">
            <a:tbl>
              <a:tblPr/>
              <a:tblGrid>
                <a:gridCol w="481381">
                  <a:extLst>
                    <a:ext uri="{9D8B030D-6E8A-4147-A177-3AD203B41FA5}">
                      <a16:colId xmlns:a16="http://schemas.microsoft.com/office/drawing/2014/main" xmlns="" val="1991424859"/>
                    </a:ext>
                  </a:extLst>
                </a:gridCol>
                <a:gridCol w="1125255">
                  <a:extLst>
                    <a:ext uri="{9D8B030D-6E8A-4147-A177-3AD203B41FA5}">
                      <a16:colId xmlns:a16="http://schemas.microsoft.com/office/drawing/2014/main" xmlns="" val="667440367"/>
                    </a:ext>
                  </a:extLst>
                </a:gridCol>
                <a:gridCol w="1816479">
                  <a:extLst>
                    <a:ext uri="{9D8B030D-6E8A-4147-A177-3AD203B41FA5}">
                      <a16:colId xmlns:a16="http://schemas.microsoft.com/office/drawing/2014/main" xmlns="" val="1093287795"/>
                    </a:ext>
                  </a:extLst>
                </a:gridCol>
                <a:gridCol w="1046642">
                  <a:extLst>
                    <a:ext uri="{9D8B030D-6E8A-4147-A177-3AD203B41FA5}">
                      <a16:colId xmlns:a16="http://schemas.microsoft.com/office/drawing/2014/main" xmlns="" val="1200127004"/>
                    </a:ext>
                  </a:extLst>
                </a:gridCol>
                <a:gridCol w="754733">
                  <a:extLst>
                    <a:ext uri="{9D8B030D-6E8A-4147-A177-3AD203B41FA5}">
                      <a16:colId xmlns:a16="http://schemas.microsoft.com/office/drawing/2014/main" xmlns="" val="2970934110"/>
                    </a:ext>
                  </a:extLst>
                </a:gridCol>
                <a:gridCol w="757283">
                  <a:extLst>
                    <a:ext uri="{9D8B030D-6E8A-4147-A177-3AD203B41FA5}">
                      <a16:colId xmlns:a16="http://schemas.microsoft.com/office/drawing/2014/main" xmlns="" val="84267071"/>
                    </a:ext>
                  </a:extLst>
                </a:gridCol>
                <a:gridCol w="489557">
                  <a:extLst>
                    <a:ext uri="{9D8B030D-6E8A-4147-A177-3AD203B41FA5}">
                      <a16:colId xmlns:a16="http://schemas.microsoft.com/office/drawing/2014/main" xmlns="" val="4262291053"/>
                    </a:ext>
                  </a:extLst>
                </a:gridCol>
                <a:gridCol w="826127">
                  <a:extLst>
                    <a:ext uri="{9D8B030D-6E8A-4147-A177-3AD203B41FA5}">
                      <a16:colId xmlns:a16="http://schemas.microsoft.com/office/drawing/2014/main" xmlns="" val="4293083537"/>
                    </a:ext>
                  </a:extLst>
                </a:gridCol>
                <a:gridCol w="826127">
                  <a:extLst>
                    <a:ext uri="{9D8B030D-6E8A-4147-A177-3AD203B41FA5}">
                      <a16:colId xmlns:a16="http://schemas.microsoft.com/office/drawing/2014/main" xmlns="" val="3261679446"/>
                    </a:ext>
                  </a:extLst>
                </a:gridCol>
                <a:gridCol w="795530">
                  <a:extLst>
                    <a:ext uri="{9D8B030D-6E8A-4147-A177-3AD203B41FA5}">
                      <a16:colId xmlns:a16="http://schemas.microsoft.com/office/drawing/2014/main" xmlns="" val="3673150609"/>
                    </a:ext>
                  </a:extLst>
                </a:gridCol>
                <a:gridCol w="795530">
                  <a:extLst>
                    <a:ext uri="{9D8B030D-6E8A-4147-A177-3AD203B41FA5}">
                      <a16:colId xmlns:a16="http://schemas.microsoft.com/office/drawing/2014/main" xmlns="" val="1704293626"/>
                    </a:ext>
                  </a:extLst>
                </a:gridCol>
                <a:gridCol w="1019910">
                  <a:extLst>
                    <a:ext uri="{9D8B030D-6E8A-4147-A177-3AD203B41FA5}">
                      <a16:colId xmlns:a16="http://schemas.microsoft.com/office/drawing/2014/main" xmlns="" val="2676472472"/>
                    </a:ext>
                  </a:extLst>
                </a:gridCol>
                <a:gridCol w="1019910">
                  <a:extLst>
                    <a:ext uri="{9D8B030D-6E8A-4147-A177-3AD203B41FA5}">
                      <a16:colId xmlns:a16="http://schemas.microsoft.com/office/drawing/2014/main" xmlns="" val="3161190483"/>
                    </a:ext>
                  </a:extLst>
                </a:gridCol>
              </a:tblGrid>
              <a:tr h="38961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No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egiatan</a:t>
                      </a:r>
                      <a:endParaRPr lang="en-ID" sz="11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nsur</a:t>
                      </a:r>
                      <a:endParaRPr lang="en-ID" sz="11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  <a:p>
                      <a:pPr algn="ctr" fontAlgn="ctr"/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(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nentukan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nilai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asar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SKPK)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Jenis</a:t>
                      </a:r>
                      <a:endParaRPr lang="en-ID" sz="11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  <a:p>
                      <a:pPr algn="ctr" fontAlgn="ctr"/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(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nentukan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obot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jenis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ifat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(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nentukan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obot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ifat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tode</a:t>
                      </a:r>
                      <a:endParaRPr lang="en-ID" sz="11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(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nentukan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obot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9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tode</a:t>
                      </a:r>
                      <a:r>
                        <a:rPr lang="en-ID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  <a:p>
                      <a:pPr algn="ctr" fontAlgn="ctr"/>
                      <a:endParaRPr lang="en-ID" sz="11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ingkat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D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(</a:t>
                      </a:r>
                      <a:r>
                        <a:rPr lang="en-ID" sz="10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nentukan</a:t>
                      </a:r>
                      <a:r>
                        <a:rPr lang="en-ID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0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obot</a:t>
                      </a:r>
                      <a:r>
                        <a:rPr lang="en-ID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000" b="0" i="1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ifat</a:t>
                      </a:r>
                      <a:r>
                        <a:rPr lang="en-ID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rolehan Angka Kredit Berdasarkan Penilaian Mandiri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Catatan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40047938"/>
                  </a:ext>
                </a:extLst>
              </a:tr>
              <a:tr h="52812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hli MK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hli Teknik </a:t>
                      </a:r>
                      <a:r>
                        <a:rPr lang="en-ID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endungan</a:t>
                      </a:r>
                      <a:endParaRPr lang="en-ID" sz="10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hli SDA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hli MK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hli Teknik </a:t>
                      </a:r>
                      <a:r>
                        <a:rPr lang="en-ID" sz="105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endungan</a:t>
                      </a:r>
                      <a:endParaRPr lang="en-ID" sz="105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hli SDA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(</a:t>
                      </a:r>
                      <a:r>
                        <a:rPr lang="en-ID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obot</a:t>
                      </a:r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yang </a:t>
                      </a:r>
                      <a:r>
                        <a:rPr lang="en-ID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iperhitungkan</a:t>
                      </a:r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esuai</a:t>
                      </a:r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raturan</a:t>
                      </a:r>
                      <a:r>
                        <a:rPr lang="en-ID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</a:txBody>
                  <a:tcPr marL="7680" marR="7680" marT="768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80810746"/>
                  </a:ext>
                </a:extLst>
              </a:tr>
              <a:tr h="389617"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Webinar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endungan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i-FI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serta Pertemuan Profesi (klasifikasi keg: sipil)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erverifikas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husus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husus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aring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Nasional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3,2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jenis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ifat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tode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ingkat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9033262"/>
                  </a:ext>
                </a:extLst>
              </a:tr>
              <a:tr h="181858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5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7087758"/>
                  </a:ext>
                </a:extLst>
              </a:tr>
              <a:tr h="580064"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ayembara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anajeme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laksanaan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fi-FI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serta Sayembara/ Kompetisi (klasifikasi keg: Manajemen pelaksanaan)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idak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erverifikas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husus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aring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Internasional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alam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negeri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6,4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5,12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5,12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jenis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ifat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ingkat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27412027"/>
                  </a:ext>
                </a:extLst>
              </a:tr>
              <a:tr h="181858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03109691"/>
                  </a:ext>
                </a:extLst>
              </a:tr>
              <a:tr h="770510"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nyusun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Rencana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Tata Ruang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mbelajar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erkait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eng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nugas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erja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(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lasifikasi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keg: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rencana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wilayah dan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ota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idak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erverifikas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atap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uka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Nasional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20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20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 dirty="0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20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jenis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ifat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644220"/>
                  </a:ext>
                </a:extLst>
              </a:tr>
              <a:tr h="19051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25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12598520"/>
                  </a:ext>
                </a:extLst>
              </a:tr>
              <a:tr h="770510"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nulis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rtikel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alam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uleti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anajeme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onstruks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nulis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ntuk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ajalah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rosiding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seminar, dan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Jurnal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 (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lasifikasi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keg: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anajeme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laksana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idak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erverifikas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husus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Daring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Nasional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10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jenis, sifat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5421959"/>
                  </a:ext>
                </a:extLst>
              </a:tr>
              <a:tr h="19051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0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0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17369655"/>
                  </a:ext>
                </a:extLst>
              </a:tr>
              <a:tr h="580064"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5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Instruktur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latih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/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imtek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bangun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irigasi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ngajaran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ebagai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Pengajar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/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Instruktur</a:t>
                      </a:r>
                      <a:endParaRPr lang="en-ID" sz="11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(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lasifikasi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keg: </a:t>
                      </a:r>
                      <a:r>
                        <a:rPr lang="en-ID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ipil</a:t>
                      </a:r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)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erverifikasi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Umum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husus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husus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atap Muka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Nasional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5,6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7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1" i="0" u="none" strike="noStrike">
                          <a:solidFill>
                            <a:srgbClr val="00B050"/>
                          </a:solidFill>
                          <a:effectLst/>
                          <a:latin typeface="Tahoma" panose="020B0604030504040204" pitchFamily="34" charset="0"/>
                        </a:rPr>
                        <a:t>7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ID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jenis, sifat, metode, tingkat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67224124"/>
                  </a:ext>
                </a:extLst>
              </a:tr>
              <a:tr h="190514"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7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0,8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ID" sz="1050" b="0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</a:p>
                  </a:txBody>
                  <a:tcPr marL="7680" marR="7680" marT="768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197901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261618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CA49F5E-93A3-46E5-A9CF-6A4C62C526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3B07A0C5-E9B9-4209-9F8E-6DEC9D731AA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87" name="Picture 86">
            <a:extLst>
              <a:ext uri="{FF2B5EF4-FFF2-40B4-BE49-F238E27FC236}">
                <a16:creationId xmlns:a16="http://schemas.microsoft.com/office/drawing/2014/main" xmlns="" id="{A3F47239-721A-49FE-803E-640B4CF351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67" b="16667"/>
          <a:stretch/>
        </p:blipFill>
        <p:spPr>
          <a:xfrm>
            <a:off x="0" y="-2"/>
            <a:ext cx="12192000" cy="4572001"/>
          </a:xfrm>
          <a:prstGeom prst="rect">
            <a:avLst/>
          </a:prstGeom>
          <a:gradFill>
            <a:gsLst>
              <a:gs pos="100000">
                <a:schemeClr val="accent1">
                  <a:lumMod val="75000"/>
                </a:schemeClr>
              </a:gs>
              <a:gs pos="0">
                <a:schemeClr val="accent1">
                  <a:alpha val="79000"/>
                </a:schemeClr>
              </a:gs>
            </a:gsLst>
            <a:lin ang="2700000" scaled="1"/>
          </a:gradFill>
          <a:ln>
            <a:noFill/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8539054-6989-4A7F-A77F-4E7FEDDD00B9}"/>
              </a:ext>
            </a:extLst>
          </p:cNvPr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996493C-03DB-400D-BDAC-9DB194F3B5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1183" y="2285998"/>
            <a:ext cx="3480522" cy="1329595"/>
          </a:xfrm>
        </p:spPr>
        <p:txBody>
          <a:bodyPr wrap="square" lIns="0" tIns="0" rIns="0" bIns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NYELENGGARA</a:t>
            </a:r>
            <a:br>
              <a:rPr lang="en-US" sz="32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KEGIATAN </a:t>
            </a:r>
            <a:b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en-US" sz="32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KB</a:t>
            </a:r>
          </a:p>
        </p:txBody>
      </p:sp>
      <p:graphicFrame>
        <p:nvGraphicFramePr>
          <p:cNvPr id="38" name="Diagram 37"/>
          <p:cNvGraphicFramePr/>
          <p:nvPr/>
        </p:nvGraphicFramePr>
        <p:xfrm>
          <a:off x="3228974" y="141583"/>
          <a:ext cx="8172451" cy="64865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440086D6-A656-454F-9527-0E3D05AC6A4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6077" r="94231">
                        <a14:foregroundMark x1="9462" y1="31000" x2="10077" y2="46000"/>
                        <a14:foregroundMark x1="10077" y1="46000" x2="14462" y2="44462"/>
                        <a14:foregroundMark x1="94231" y1="24692" x2="94231" y2="30615"/>
                        <a14:foregroundMark x1="15769" y1="59154" x2="19077" y2="59154"/>
                        <a14:foregroundMark x1="28769" y1="62462" x2="25385" y2="58308"/>
                        <a14:foregroundMark x1="6077" y1="30615" x2="6077" y2="33077"/>
                        <a14:foregroundMark x1="17385" y1="31000" x2="38846" y2="32692"/>
                        <a14:foregroundMark x1="34231" y1="66231" x2="37538" y2="67077"/>
                        <a14:foregroundMark x1="18231" y1="69615" x2="24538" y2="75077"/>
                        <a14:foregroundMark x1="22462" y1="41923" x2="30231" y2="52692"/>
                        <a14:foregroundMark x1="30231" y1="52692" x2="30385" y2="53231"/>
                        <a14:foregroundMark x1="38385" y1="35615" x2="34615" y2="36923"/>
                        <a14:foregroundMark x1="69846" y1="78000" x2="69846" y2="78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18" y="3123776"/>
            <a:ext cx="3480522" cy="348052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ABB0ED0-E6F1-165E-E254-042A19DF0345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7921" y="3660822"/>
            <a:ext cx="488080" cy="4880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FE779756-9110-3D51-B43C-5E61E88F27B6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8396" y="2626171"/>
            <a:ext cx="488080" cy="4880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A20CC65E-AC54-870F-F119-01F3D606EB03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4852" y="549037"/>
            <a:ext cx="518633" cy="51863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2ABC55F5-0F2E-7C3A-C2C1-03D86AAE1106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3803" y="1574936"/>
            <a:ext cx="518633" cy="51863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2AC59EE7-68FE-AE1E-2CF3-CE7A17879B64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9080" y="4594721"/>
            <a:ext cx="538632" cy="538632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73A2504C-2256-FC5F-3B7B-E256DC16B661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947" y="5594015"/>
            <a:ext cx="615151" cy="615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0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pan dir="u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>
            <a:extLst>
              <a:ext uri="{FF2B5EF4-FFF2-40B4-BE49-F238E27FC236}">
                <a16:creationId xmlns:a16="http://schemas.microsoft.com/office/drawing/2014/main" xmlns="" id="{7CE0BA4C-6FC4-0CEA-C461-BDA6410B1527}"/>
              </a:ext>
            </a:extLst>
          </p:cNvPr>
          <p:cNvSpPr/>
          <p:nvPr/>
        </p:nvSpPr>
        <p:spPr>
          <a:xfrm>
            <a:off x="58308" y="4217401"/>
            <a:ext cx="3617263" cy="24708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4560AC05-D583-4DD0-AA18-7883D67C0E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51" imgH="351" progId="TCLayout.ActiveDocument.1">
                  <p:embed/>
                </p:oleObj>
              </mc:Choice>
              <mc:Fallback>
                <p:oleObj name="think-cell Slid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993BDA0-92DB-456D-9BE5-730831D7474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xmlns="" id="{EC921B79-08C6-46CD-8011-9A8B0F3849B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26" b="11626"/>
          <a:stretch/>
        </p:blipFill>
        <p:spPr>
          <a:xfrm flipH="1">
            <a:off x="0" y="-1790700"/>
            <a:ext cx="12192000" cy="6248400"/>
          </a:xfrm>
          <a:custGeom>
            <a:avLst/>
            <a:gdLst>
              <a:gd name="connsiteX0" fmla="*/ 12192000 w 12192000"/>
              <a:gd name="connsiteY0" fmla="*/ 0 h 6248400"/>
              <a:gd name="connsiteX1" fmla="*/ 9898414 w 12192000"/>
              <a:gd name="connsiteY1" fmla="*/ 0 h 6248400"/>
              <a:gd name="connsiteX2" fmla="*/ 9769502 w 12192000"/>
              <a:gd name="connsiteY2" fmla="*/ 0 h 6248400"/>
              <a:gd name="connsiteX3" fmla="*/ 0 w 12192000"/>
              <a:gd name="connsiteY3" fmla="*/ 0 h 6248400"/>
              <a:gd name="connsiteX4" fmla="*/ 0 w 12192000"/>
              <a:gd name="connsiteY4" fmla="*/ 3556000 h 6248400"/>
              <a:gd name="connsiteX5" fmla="*/ 10093299 w 12192000"/>
              <a:gd name="connsiteY5" fmla="*/ 3556000 h 6248400"/>
              <a:gd name="connsiteX6" fmla="*/ 10111306 w 12192000"/>
              <a:gd name="connsiteY6" fmla="*/ 3556000 h 6248400"/>
              <a:gd name="connsiteX7" fmla="*/ 11465987 w 12192000"/>
              <a:gd name="connsiteY7" fmla="*/ 6248400 h 6248400"/>
              <a:gd name="connsiteX8" fmla="*/ 12192000 w 12192000"/>
              <a:gd name="connsiteY8" fmla="*/ 6248400 h 6248400"/>
              <a:gd name="connsiteX9" fmla="*/ 12192000 w 12192000"/>
              <a:gd name="connsiteY9" fmla="*/ 3556000 h 6248400"/>
              <a:gd name="connsiteX10" fmla="*/ 12192000 w 12192000"/>
              <a:gd name="connsiteY10" fmla="*/ 1636622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248400">
                <a:moveTo>
                  <a:pt x="12192000" y="0"/>
                </a:moveTo>
                <a:lnTo>
                  <a:pt x="9898414" y="0"/>
                </a:lnTo>
                <a:lnTo>
                  <a:pt x="9769502" y="0"/>
                </a:lnTo>
                <a:lnTo>
                  <a:pt x="0" y="0"/>
                </a:lnTo>
                <a:lnTo>
                  <a:pt x="0" y="3556000"/>
                </a:lnTo>
                <a:lnTo>
                  <a:pt x="10093299" y="3556000"/>
                </a:lnTo>
                <a:lnTo>
                  <a:pt x="10111306" y="3556000"/>
                </a:lnTo>
                <a:lnTo>
                  <a:pt x="11465987" y="6248400"/>
                </a:lnTo>
                <a:lnTo>
                  <a:pt x="12192000" y="6248400"/>
                </a:lnTo>
                <a:lnTo>
                  <a:pt x="12192000" y="3556000"/>
                </a:lnTo>
                <a:lnTo>
                  <a:pt x="12192000" y="1636622"/>
                </a:lnTo>
                <a:close/>
              </a:path>
            </a:pathLst>
          </a:custGeom>
        </p:spPr>
      </p:pic>
      <p:sp>
        <p:nvSpPr>
          <p:cNvPr id="76" name="Freeform: Shape 75">
            <a:extLst>
              <a:ext uri="{FF2B5EF4-FFF2-40B4-BE49-F238E27FC236}">
                <a16:creationId xmlns:a16="http://schemas.microsoft.com/office/drawing/2014/main" xmlns="" id="{30EB046B-6F9B-4D35-BF9C-F2F2BD1B1D36}"/>
              </a:ext>
            </a:extLst>
          </p:cNvPr>
          <p:cNvSpPr/>
          <p:nvPr/>
        </p:nvSpPr>
        <p:spPr>
          <a:xfrm>
            <a:off x="2092350" y="-1752600"/>
            <a:ext cx="10099650" cy="3556000"/>
          </a:xfrm>
          <a:custGeom>
            <a:avLst/>
            <a:gdLst>
              <a:gd name="connsiteX0" fmla="*/ 323797 w 10093300"/>
              <a:gd name="connsiteY0" fmla="*/ 0 h 3556000"/>
              <a:gd name="connsiteX1" fmla="*/ 10093300 w 10093300"/>
              <a:gd name="connsiteY1" fmla="*/ 0 h 3556000"/>
              <a:gd name="connsiteX2" fmla="*/ 10093300 w 10093300"/>
              <a:gd name="connsiteY2" fmla="*/ 3556000 h 3556000"/>
              <a:gd name="connsiteX3" fmla="*/ 0 w 10093300"/>
              <a:gd name="connsiteY3" fmla="*/ 3556000 h 3556000"/>
              <a:gd name="connsiteX4" fmla="*/ 1050899 w 10093300"/>
              <a:gd name="connsiteY4" fmla="*/ 1454203 h 355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3300" h="3556000">
                <a:moveTo>
                  <a:pt x="323797" y="0"/>
                </a:moveTo>
                <a:lnTo>
                  <a:pt x="10093300" y="0"/>
                </a:lnTo>
                <a:lnTo>
                  <a:pt x="10093300" y="3556000"/>
                </a:lnTo>
                <a:lnTo>
                  <a:pt x="0" y="3556000"/>
                </a:lnTo>
                <a:lnTo>
                  <a:pt x="1050899" y="1454203"/>
                </a:lnTo>
                <a:close/>
              </a:path>
            </a:pathLst>
          </a:custGeom>
          <a:gradFill>
            <a:gsLst>
              <a:gs pos="0">
                <a:srgbClr val="085171">
                  <a:alpha val="90000"/>
                </a:srgbClr>
              </a:gs>
              <a:gs pos="100000">
                <a:srgbClr val="2D728F">
                  <a:alpha val="80000"/>
                </a:srgb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19027EFF-29B5-4798-96DC-F950B871CF38}"/>
              </a:ext>
            </a:extLst>
          </p:cNvPr>
          <p:cNvSpPr txBox="1"/>
          <p:nvPr/>
        </p:nvSpPr>
        <p:spPr>
          <a:xfrm>
            <a:off x="1853900" y="2647244"/>
            <a:ext cx="1669665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gistrasi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Akun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yelenggara</a:t>
            </a:r>
            <a:endParaRPr kumimoji="0" lang="en-ID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A40E5F0-B882-4587-ABF6-11CBA23437B0}"/>
              </a:ext>
            </a:extLst>
          </p:cNvPr>
          <p:cNvSpPr txBox="1"/>
          <p:nvPr/>
        </p:nvSpPr>
        <p:spPr>
          <a:xfrm>
            <a:off x="1553265" y="3191044"/>
            <a:ext cx="2251794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lalu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https://siki.pu.go.id/pkb-v2/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46587993-A9F4-4A44-B286-A12A3D96A461}"/>
              </a:ext>
            </a:extLst>
          </p:cNvPr>
          <p:cNvSpPr txBox="1"/>
          <p:nvPr/>
        </p:nvSpPr>
        <p:spPr>
          <a:xfrm>
            <a:off x="4666342" y="2645793"/>
            <a:ext cx="1338938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gaju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giat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DC7E562E-7EA7-4BAA-940C-05209517A4DB}"/>
              </a:ext>
            </a:extLst>
          </p:cNvPr>
          <p:cNvSpPr txBox="1"/>
          <p:nvPr/>
        </p:nvSpPr>
        <p:spPr>
          <a:xfrm>
            <a:off x="7236396" y="2652332"/>
            <a:ext cx="1819502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yelenggara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giat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C93F035C-384B-44A9-BBB3-2ECB04DF3B20}"/>
              </a:ext>
            </a:extLst>
          </p:cNvPr>
          <p:cNvSpPr txBox="1"/>
          <p:nvPr/>
        </p:nvSpPr>
        <p:spPr>
          <a:xfrm>
            <a:off x="9703767" y="2616471"/>
            <a:ext cx="1338938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effectLst/>
                <a:uLnTx/>
                <a:uFillTx/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lapor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giatan</a:t>
            </a:r>
            <a:r>
              <a:rPr kumimoji="0" lang="en-ID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</a:t>
            </a: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xmlns="" id="{86C5A425-A810-490F-AA30-9463041DBCEB}"/>
              </a:ext>
            </a:extLst>
          </p:cNvPr>
          <p:cNvCxnSpPr>
            <a:cxnSpLocks/>
          </p:cNvCxnSpPr>
          <p:nvPr/>
        </p:nvCxnSpPr>
        <p:spPr>
          <a:xfrm flipH="1">
            <a:off x="11559855" y="-1238250"/>
            <a:ext cx="632145" cy="12522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B5660CC7-CE27-64AE-FCA0-8C50A7897929}"/>
              </a:ext>
            </a:extLst>
          </p:cNvPr>
          <p:cNvCxnSpPr/>
          <p:nvPr/>
        </p:nvCxnSpPr>
        <p:spPr>
          <a:xfrm>
            <a:off x="3987350" y="3406487"/>
            <a:ext cx="0" cy="2592000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xmlns="" id="{EF07D503-7B0A-C9CA-A181-6F8E10968330}"/>
              </a:ext>
            </a:extLst>
          </p:cNvPr>
          <p:cNvSpPr/>
          <p:nvPr/>
        </p:nvSpPr>
        <p:spPr>
          <a:xfrm>
            <a:off x="3861154" y="3309962"/>
            <a:ext cx="209862" cy="209862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Arrow: Right 9">
            <a:extLst>
              <a:ext uri="{FF2B5EF4-FFF2-40B4-BE49-F238E27FC236}">
                <a16:creationId xmlns:a16="http://schemas.microsoft.com/office/drawing/2014/main" xmlns="" id="{9CFC017B-FCEA-ABA4-9833-1B5A022CE691}"/>
              </a:ext>
            </a:extLst>
          </p:cNvPr>
          <p:cNvSpPr/>
          <p:nvPr/>
        </p:nvSpPr>
        <p:spPr>
          <a:xfrm>
            <a:off x="2037408" y="1704413"/>
            <a:ext cx="9838519" cy="486313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xmlns="" id="{4F48EAF6-136A-4377-B53F-5D8D3312D07E}"/>
              </a:ext>
            </a:extLst>
          </p:cNvPr>
          <p:cNvSpPr/>
          <p:nvPr/>
        </p:nvSpPr>
        <p:spPr>
          <a:xfrm>
            <a:off x="2248402" y="1475642"/>
            <a:ext cx="1113968" cy="960316"/>
          </a:xfrm>
          <a:prstGeom prst="hexag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Hexagon 18">
            <a:extLst>
              <a:ext uri="{FF2B5EF4-FFF2-40B4-BE49-F238E27FC236}">
                <a16:creationId xmlns:a16="http://schemas.microsoft.com/office/drawing/2014/main" xmlns="" id="{343E141D-7941-400F-993C-BA837B958F0C}"/>
              </a:ext>
            </a:extLst>
          </p:cNvPr>
          <p:cNvSpPr/>
          <p:nvPr/>
        </p:nvSpPr>
        <p:spPr>
          <a:xfrm>
            <a:off x="4711223" y="1475642"/>
            <a:ext cx="1113968" cy="960316"/>
          </a:xfrm>
          <a:prstGeom prst="hexag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Hexagon 30">
            <a:extLst>
              <a:ext uri="{FF2B5EF4-FFF2-40B4-BE49-F238E27FC236}">
                <a16:creationId xmlns:a16="http://schemas.microsoft.com/office/drawing/2014/main" xmlns="" id="{8964CF20-5CB8-4D97-9604-BA45B21874E4}"/>
              </a:ext>
            </a:extLst>
          </p:cNvPr>
          <p:cNvSpPr/>
          <p:nvPr/>
        </p:nvSpPr>
        <p:spPr>
          <a:xfrm>
            <a:off x="7455851" y="1475642"/>
            <a:ext cx="1113968" cy="960316"/>
          </a:xfrm>
          <a:prstGeom prst="hexag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7" name="Hexagon 36">
            <a:extLst>
              <a:ext uri="{FF2B5EF4-FFF2-40B4-BE49-F238E27FC236}">
                <a16:creationId xmlns:a16="http://schemas.microsoft.com/office/drawing/2014/main" xmlns="" id="{C2439114-F283-4A4B-B28A-DC56A7B4340B}"/>
              </a:ext>
            </a:extLst>
          </p:cNvPr>
          <p:cNvSpPr/>
          <p:nvPr/>
        </p:nvSpPr>
        <p:spPr>
          <a:xfrm>
            <a:off x="9816252" y="1475642"/>
            <a:ext cx="1113968" cy="960316"/>
          </a:xfrm>
          <a:prstGeom prst="hexagon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xmlns="" id="{077F9A7C-FADE-4DDF-9A64-11CD481463F5}"/>
              </a:ext>
            </a:extLst>
          </p:cNvPr>
          <p:cNvSpPr/>
          <p:nvPr/>
        </p:nvSpPr>
        <p:spPr>
          <a:xfrm>
            <a:off x="19754" y="-1809750"/>
            <a:ext cx="3149600" cy="6248400"/>
          </a:xfrm>
          <a:custGeom>
            <a:avLst/>
            <a:gdLst>
              <a:gd name="connsiteX0" fmla="*/ 0 w 3149600"/>
              <a:gd name="connsiteY0" fmla="*/ 0 h 6248400"/>
              <a:gd name="connsiteX1" fmla="*/ 2422498 w 3149600"/>
              <a:gd name="connsiteY1" fmla="*/ 0 h 6248400"/>
              <a:gd name="connsiteX2" fmla="*/ 3149600 w 3149600"/>
              <a:gd name="connsiteY2" fmla="*/ 1454203 h 6248400"/>
              <a:gd name="connsiteX3" fmla="*/ 2098701 w 3149600"/>
              <a:gd name="connsiteY3" fmla="*/ 3556000 h 6248400"/>
              <a:gd name="connsiteX4" fmla="*/ 2080694 w 3149600"/>
              <a:gd name="connsiteY4" fmla="*/ 3556000 h 6248400"/>
              <a:gd name="connsiteX5" fmla="*/ 726013 w 3149600"/>
              <a:gd name="connsiteY5" fmla="*/ 6248400 h 6248400"/>
              <a:gd name="connsiteX6" fmla="*/ 0 w 3149600"/>
              <a:gd name="connsiteY6" fmla="*/ 6248400 h 6248400"/>
              <a:gd name="connsiteX7" fmla="*/ 0 w 3149600"/>
              <a:gd name="connsiteY7" fmla="*/ 3556000 h 6248400"/>
              <a:gd name="connsiteX8" fmla="*/ 0 w 3149600"/>
              <a:gd name="connsiteY8" fmla="*/ 1636622 h 62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149600" h="6248400">
                <a:moveTo>
                  <a:pt x="0" y="0"/>
                </a:moveTo>
                <a:lnTo>
                  <a:pt x="2422498" y="0"/>
                </a:lnTo>
                <a:lnTo>
                  <a:pt x="3149600" y="1454203"/>
                </a:lnTo>
                <a:lnTo>
                  <a:pt x="2098701" y="3556000"/>
                </a:lnTo>
                <a:lnTo>
                  <a:pt x="2080694" y="3556000"/>
                </a:lnTo>
                <a:lnTo>
                  <a:pt x="726013" y="6248400"/>
                </a:lnTo>
                <a:lnTo>
                  <a:pt x="0" y="6248400"/>
                </a:lnTo>
                <a:lnTo>
                  <a:pt x="0" y="3556000"/>
                </a:lnTo>
                <a:lnTo>
                  <a:pt x="0" y="1636622"/>
                </a:lnTo>
                <a:close/>
              </a:path>
            </a:pathLst>
          </a:custGeom>
          <a:solidFill>
            <a:schemeClr val="bg1">
              <a:lumMod val="5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xmlns="" id="{29AB2504-32CC-4BCD-BFB5-4E2D69290145}"/>
              </a:ext>
            </a:extLst>
          </p:cNvPr>
          <p:cNvCxnSpPr>
            <a:cxnSpLocks/>
          </p:cNvCxnSpPr>
          <p:nvPr/>
        </p:nvCxnSpPr>
        <p:spPr>
          <a:xfrm flipH="1">
            <a:off x="0" y="190585"/>
            <a:ext cx="2208724" cy="43753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Freeform: Shape 78">
            <a:extLst>
              <a:ext uri="{FF2B5EF4-FFF2-40B4-BE49-F238E27FC236}">
                <a16:creationId xmlns:a16="http://schemas.microsoft.com/office/drawing/2014/main" xmlns="" id="{113DCBB0-DF73-4025-8541-EB1C0F4E9CCA}"/>
              </a:ext>
            </a:extLst>
          </p:cNvPr>
          <p:cNvSpPr/>
          <p:nvPr/>
        </p:nvSpPr>
        <p:spPr>
          <a:xfrm>
            <a:off x="303819" y="-1238250"/>
            <a:ext cx="3577062" cy="1450181"/>
          </a:xfrm>
          <a:custGeom>
            <a:avLst/>
            <a:gdLst>
              <a:gd name="connsiteX0" fmla="*/ 733862 w 3577062"/>
              <a:gd name="connsiteY0" fmla="*/ 0 h 1467722"/>
              <a:gd name="connsiteX1" fmla="*/ 3577062 w 3577062"/>
              <a:gd name="connsiteY1" fmla="*/ 0 h 1467722"/>
              <a:gd name="connsiteX2" fmla="*/ 2843201 w 3577062"/>
              <a:gd name="connsiteY2" fmla="*/ 1467722 h 1467722"/>
              <a:gd name="connsiteX3" fmla="*/ 0 w 3577062"/>
              <a:gd name="connsiteY3" fmla="*/ 1467722 h 1467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7062" h="1467722">
                <a:moveTo>
                  <a:pt x="733862" y="0"/>
                </a:moveTo>
                <a:lnTo>
                  <a:pt x="3577062" y="0"/>
                </a:lnTo>
                <a:lnTo>
                  <a:pt x="2843201" y="1467722"/>
                </a:lnTo>
                <a:lnTo>
                  <a:pt x="0" y="1467722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6D211C3-66DD-4DE0-BDED-8EA2480A3284}"/>
              </a:ext>
            </a:extLst>
          </p:cNvPr>
          <p:cNvSpPr txBox="1"/>
          <p:nvPr/>
        </p:nvSpPr>
        <p:spPr>
          <a:xfrm>
            <a:off x="4246697" y="3304380"/>
            <a:ext cx="2731683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ogi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ku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yelenggara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3E75AC14-06A7-0138-409F-329BB4097CAE}"/>
              </a:ext>
            </a:extLst>
          </p:cNvPr>
          <p:cNvSpPr/>
          <p:nvPr/>
        </p:nvSpPr>
        <p:spPr>
          <a:xfrm>
            <a:off x="3865392" y="3715577"/>
            <a:ext cx="209862" cy="209862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CDDD6A03-821C-A622-423E-E7F06C887C34}"/>
              </a:ext>
            </a:extLst>
          </p:cNvPr>
          <p:cNvSpPr txBox="1"/>
          <p:nvPr/>
        </p:nvSpPr>
        <p:spPr>
          <a:xfrm>
            <a:off x="4262302" y="3712768"/>
            <a:ext cx="3131305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i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olaboras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yelenggara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5A7E2E39-C875-B8D6-7DCB-4F0373456A14}"/>
              </a:ext>
            </a:extLst>
          </p:cNvPr>
          <p:cNvSpPr/>
          <p:nvPr/>
        </p:nvSpPr>
        <p:spPr>
          <a:xfrm>
            <a:off x="3863558" y="4180489"/>
            <a:ext cx="209862" cy="209862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77287DD5-1A3C-BC26-11D1-07FB01A6818F}"/>
              </a:ext>
            </a:extLst>
          </p:cNvPr>
          <p:cNvSpPr txBox="1"/>
          <p:nvPr/>
        </p:nvSpPr>
        <p:spPr>
          <a:xfrm>
            <a:off x="4246697" y="4174907"/>
            <a:ext cx="2952217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i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ubklasifikas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naga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hli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06FF42B0-498D-AF5C-9414-8AA0CE517BED}"/>
              </a:ext>
            </a:extLst>
          </p:cNvPr>
          <p:cNvSpPr/>
          <p:nvPr/>
        </p:nvSpPr>
        <p:spPr>
          <a:xfrm>
            <a:off x="3875718" y="4619914"/>
            <a:ext cx="209862" cy="209862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93FA462A-C934-CFCA-AA29-A2AFEEA3F7AD}"/>
              </a:ext>
            </a:extLst>
          </p:cNvPr>
          <p:cNvSpPr txBox="1"/>
          <p:nvPr/>
        </p:nvSpPr>
        <p:spPr>
          <a:xfrm>
            <a:off x="4262302" y="4614145"/>
            <a:ext cx="3171671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i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lasifika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giat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sur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tode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dan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ingk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giat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)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xmlns="" id="{92B04AF2-9C87-CB92-D215-FD2F6A647DD1}"/>
              </a:ext>
            </a:extLst>
          </p:cNvPr>
          <p:cNvSpPr/>
          <p:nvPr/>
        </p:nvSpPr>
        <p:spPr>
          <a:xfrm>
            <a:off x="3863558" y="5500053"/>
            <a:ext cx="209862" cy="209862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FCA6C170-BF08-B540-4F47-27A0C72836EE}"/>
              </a:ext>
            </a:extLst>
          </p:cNvPr>
          <p:cNvSpPr txBox="1"/>
          <p:nvPr/>
        </p:nvSpPr>
        <p:spPr>
          <a:xfrm>
            <a:off x="4262302" y="5494471"/>
            <a:ext cx="317167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i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at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giatan</a:t>
            </a:r>
            <a:endParaRPr kumimoji="0" lang="en-ID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8FF9859C-064D-E9D0-5910-25EF80B48E8F}"/>
              </a:ext>
            </a:extLst>
          </p:cNvPr>
          <p:cNvSpPr/>
          <p:nvPr/>
        </p:nvSpPr>
        <p:spPr>
          <a:xfrm>
            <a:off x="3865276" y="5928520"/>
            <a:ext cx="209862" cy="209862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EABC322C-AFFF-F555-D00B-3817BA3B2CF2}"/>
              </a:ext>
            </a:extLst>
          </p:cNvPr>
          <p:cNvSpPr txBox="1"/>
          <p:nvPr/>
        </p:nvSpPr>
        <p:spPr>
          <a:xfrm>
            <a:off x="4246697" y="5922938"/>
            <a:ext cx="3171671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unggah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erkas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lengkapan</a:t>
            </a:r>
            <a:endParaRPr kumimoji="0" lang="en-ID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8" name="Picture 27" descr="lgo sigap.png">
            <a:extLst>
              <a:ext uri="{FF2B5EF4-FFF2-40B4-BE49-F238E27FC236}">
                <a16:creationId xmlns:a16="http://schemas.microsoft.com/office/drawing/2014/main" xmlns="" id="{FCA9F246-7F5F-B5DA-097C-031A8DAA3AC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24224" y="-2623"/>
            <a:ext cx="2567775" cy="99002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C99843E8-9603-A049-1DC7-18DC58B7F3C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018" y="1620208"/>
            <a:ext cx="703192" cy="70319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xmlns="" id="{FF511969-4158-B774-9D2E-D5D991F02B0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31974" y="1733428"/>
            <a:ext cx="746824" cy="45114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xmlns="" id="{613F86FE-F8C9-D09A-0665-B263B2B0DC7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3333" b="96889" l="10000" r="90000">
                        <a14:foregroundMark x1="31556" y1="16111" x2="33111" y2="49000"/>
                        <a14:foregroundMark x1="25000" y1="31778" x2="27333" y2="41444"/>
                        <a14:foregroundMark x1="20556" y1="43000" x2="23222" y2="33111"/>
                        <a14:foregroundMark x1="18778" y1="51333" x2="19778" y2="44556"/>
                        <a14:foregroundMark x1="25778" y1="29444" x2="30778" y2="29889"/>
                        <a14:foregroundMark x1="41222" y1="25000" x2="57667" y2="23667"/>
                        <a14:foregroundMark x1="49778" y1="6778" x2="74778" y2="38222"/>
                        <a14:foregroundMark x1="18778" y1="76111" x2="68889" y2="73667"/>
                        <a14:foregroundMark x1="68889" y1="73667" x2="79556" y2="75556"/>
                        <a14:foregroundMark x1="18222" y1="75778" x2="20111" y2="91444"/>
                        <a14:foregroundMark x1="39667" y1="78444" x2="39111" y2="95333"/>
                        <a14:foregroundMark x1="61000" y1="80000" x2="61778" y2="96889"/>
                        <a14:foregroundMark x1="81111" y1="78889" x2="81889" y2="95333"/>
                        <a14:foregroundMark x1="50556" y1="41667" x2="75333" y2="14778"/>
                        <a14:foregroundMark x1="74778" y1="41889" x2="75556" y2="10333"/>
                        <a14:foregroundMark x1="80556" y1="40111" x2="49556" y2="8667"/>
                        <a14:foregroundMark x1="49556" y1="8667" x2="74778" y2="4333"/>
                        <a14:foregroundMark x1="78778" y1="4889" x2="80333" y2="42222"/>
                        <a14:foregroundMark x1="47444" y1="3333" x2="46667" y2="38222"/>
                        <a14:foregroundMark x1="55222" y1="23889" x2="60000" y2="39556"/>
                        <a14:foregroundMark x1="70444" y1="9333" x2="69111" y2="20000"/>
                        <a14:foregroundMark x1="81111" y1="9889" x2="82889" y2="18778"/>
                        <a14:foregroundMark x1="63111" y1="8000" x2="62000" y2="18444"/>
                        <a14:foregroundMark x1="54000" y1="20000" x2="54444" y2="28111"/>
                        <a14:foregroundMark x1="45667" y1="38222" x2="45667" y2="45333"/>
                        <a14:foregroundMark x1="62889" y1="34667" x2="64111" y2="46889"/>
                        <a14:foregroundMark x1="50889" y1="46111" x2="68556" y2="44556"/>
                        <a14:foregroundMark x1="72000" y1="44000" x2="80333" y2="45556"/>
                        <a14:foregroundMark x1="75889" y1="47444" x2="44333" y2="45000"/>
                        <a14:foregroundMark x1="44333" y1="47111" x2="49556" y2="47111"/>
                        <a14:foregroundMark x1="57111" y1="47667" x2="60222" y2="46889"/>
                        <a14:foregroundMark x1="30556" y1="16889" x2="30222" y2="14778"/>
                        <a14:foregroundMark x1="19000" y1="72667" x2="17000" y2="77111"/>
                        <a14:foregroundMark x1="82111" y1="74556" x2="79778" y2="85222"/>
                        <a14:foregroundMark x1="34222" y1="15778" x2="29000" y2="18111"/>
                        <a14:foregroundMark x1="71778" y1="32889" x2="69778" y2="39222"/>
                        <a14:foregroundMark x1="72556" y1="21000" x2="71556" y2="29000"/>
                        <a14:foregroundMark x1="28000" y1="18444" x2="29556" y2="21556"/>
                        <a14:foregroundMark x1="20889" y1="47556" x2="20111" y2="49778"/>
                        <a14:foregroundMark x1="25222" y1="29000" x2="31667" y2="25111"/>
                        <a14:foregroundMark x1="21333" y1="78333" x2="33222" y2="76889"/>
                        <a14:foregroundMark x1="81889" y1="81556" x2="81556" y2="83778"/>
                        <a14:foregroundMark x1="80222" y1="81000" x2="78778" y2="83556"/>
                        <a14:foregroundMark x1="60444" y1="80778" x2="60222" y2="87222"/>
                        <a14:foregroundMark x1="58667" y1="82778" x2="61222" y2="84000"/>
                        <a14:foregroundMark x1="38333" y1="83222" x2="41889" y2="85111"/>
                        <a14:foregroundMark x1="40333" y1="82000" x2="41667" y2="86111"/>
                        <a14:foregroundMark x1="17444" y1="82000" x2="16222" y2="85556"/>
                        <a14:foregroundMark x1="21111" y1="82000" x2="20889" y2="85889"/>
                        <a14:foregroundMark x1="38333" y1="82444" x2="37556" y2="85556"/>
                        <a14:foregroundMark x1="40444" y1="82444" x2="42222" y2="85667"/>
                        <a14:foregroundMark x1="28222" y1="18111" x2="30889" y2="23556"/>
                        <a14:foregroundMark x1="28222" y1="20667" x2="28222" y2="20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076" y="1609310"/>
            <a:ext cx="661515" cy="631679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xmlns="" id="{4DB00435-8569-AAF6-5702-A3D9D99C0BE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857" y="1639921"/>
            <a:ext cx="642758" cy="613768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xmlns="" id="{40F8CF8F-2555-44D4-E617-391A57AEB434}"/>
              </a:ext>
            </a:extLst>
          </p:cNvPr>
          <p:cNvCxnSpPr>
            <a:cxnSpLocks/>
            <a:stCxn id="40" idx="4"/>
            <a:endCxn id="44" idx="0"/>
          </p:cNvCxnSpPr>
          <p:nvPr/>
        </p:nvCxnSpPr>
        <p:spPr>
          <a:xfrm>
            <a:off x="9260138" y="3457563"/>
            <a:ext cx="0" cy="2569369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4F2D17FF-66E1-C5A0-2DF5-487244334973}"/>
              </a:ext>
            </a:extLst>
          </p:cNvPr>
          <p:cNvSpPr/>
          <p:nvPr/>
        </p:nvSpPr>
        <p:spPr>
          <a:xfrm>
            <a:off x="9155207" y="3247701"/>
            <a:ext cx="209862" cy="209862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30370ABB-34B0-7A1C-110B-D37260CBD4F0}"/>
              </a:ext>
            </a:extLst>
          </p:cNvPr>
          <p:cNvSpPr txBox="1"/>
          <p:nvPr/>
        </p:nvSpPr>
        <p:spPr>
          <a:xfrm>
            <a:off x="9556313" y="3253517"/>
            <a:ext cx="2319611" cy="107721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unggah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daftar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naga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hli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yang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rlibat</a:t>
            </a:r>
            <a:endParaRPr kumimoji="0" lang="en-ID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IK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nag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hli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sur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tode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xmlns="" id="{B94AA724-387A-DA8C-88DB-6C35AD1C3E4B}"/>
              </a:ext>
            </a:extLst>
          </p:cNvPr>
          <p:cNvSpPr/>
          <p:nvPr/>
        </p:nvSpPr>
        <p:spPr>
          <a:xfrm>
            <a:off x="9155207" y="6026932"/>
            <a:ext cx="209862" cy="209862"/>
          </a:xfrm>
          <a:prstGeom prst="ellipse">
            <a:avLst/>
          </a:prstGeom>
          <a:solidFill>
            <a:srgbClr val="FFC000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DDE4D76D-5ED8-EA61-70C7-AEBE11ED474A}"/>
              </a:ext>
            </a:extLst>
          </p:cNvPr>
          <p:cNvSpPr txBox="1"/>
          <p:nvPr/>
        </p:nvSpPr>
        <p:spPr>
          <a:xfrm>
            <a:off x="9571918" y="6021350"/>
            <a:ext cx="2350815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ngunggah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aporan</a:t>
            </a:r>
            <a:r>
              <a:rPr kumimoji="0" lang="en-ID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ater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, dan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okumenta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Kegiatan</a:t>
            </a: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18A0937-BA9D-1A49-0A0C-DF19442AD188}"/>
              </a:ext>
            </a:extLst>
          </p:cNvPr>
          <p:cNvSpPr/>
          <p:nvPr/>
        </p:nvSpPr>
        <p:spPr>
          <a:xfrm>
            <a:off x="9540710" y="4445358"/>
            <a:ext cx="2514047" cy="1477580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2698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ips </a:t>
            </a:r>
            <a:r>
              <a:rPr kumimoji="0" lang="en-ID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gumpulan</a:t>
            </a:r>
            <a:r>
              <a:rPr kumimoji="0" lang="en-ID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Data 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nag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hl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yang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rlibat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apat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lakuk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input data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naga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hl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ng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emindai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QR Code 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yang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tersambung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ngan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ID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oogle form 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yang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ibuat</a:t>
            </a:r>
            <a:r>
              <a:rPr kumimoji="0" lang="en-ID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oleh </a:t>
            </a:r>
            <a:r>
              <a:rPr kumimoji="0" lang="en-ID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yelenggara</a:t>
            </a:r>
            <a:endParaRPr kumimoji="0" lang="en-ID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xmlns="" id="{DA9BC37C-0230-5ADB-4BD8-37A1643D45EE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051" y="4301945"/>
            <a:ext cx="584523" cy="584523"/>
          </a:xfrm>
          <a:prstGeom prst="rect">
            <a:avLst/>
          </a:prstGeom>
        </p:spPr>
      </p:pic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F84A2CCF-6C7E-2BCA-1413-457383807513}"/>
              </a:ext>
            </a:extLst>
          </p:cNvPr>
          <p:cNvCxnSpPr/>
          <p:nvPr/>
        </p:nvCxnSpPr>
        <p:spPr>
          <a:xfrm>
            <a:off x="9873823" y="4800121"/>
            <a:ext cx="185608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3EE57911-587F-0810-BA52-6B5106383F47}"/>
              </a:ext>
            </a:extLst>
          </p:cNvPr>
          <p:cNvSpPr txBox="1"/>
          <p:nvPr/>
        </p:nvSpPr>
        <p:spPr>
          <a:xfrm>
            <a:off x="137237" y="5064778"/>
            <a:ext cx="2023948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doma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PKB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bag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enyelenggara</a:t>
            </a:r>
            <a:endParaRPr kumimoji="0" lang="en-ID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xmlns="" id="{FDC5AEAC-F036-5F12-1F29-435A35539FBD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564" y="5784236"/>
            <a:ext cx="809554" cy="809554"/>
          </a:xfrm>
          <a:prstGeom prst="rect">
            <a:avLst/>
          </a:prstGeom>
        </p:spPr>
      </p:pic>
      <p:sp>
        <p:nvSpPr>
          <p:cNvPr id="43" name="Title 1">
            <a:extLst>
              <a:ext uri="{FF2B5EF4-FFF2-40B4-BE49-F238E27FC236}">
                <a16:creationId xmlns:a16="http://schemas.microsoft.com/office/drawing/2014/main" xmlns="" id="{C9725411-3B53-3BFB-5744-D9673A73C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6942" y="230353"/>
            <a:ext cx="8912969" cy="1105346"/>
          </a:xfrm>
        </p:spPr>
        <p:txBody>
          <a:bodyPr anchor="ctr">
            <a:noAutofit/>
          </a:bodyPr>
          <a:lstStyle/>
          <a:p>
            <a:pPr lv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spc="0" dirty="0" err="1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ALUR</a:t>
            </a:r>
            <a:r>
              <a:rPr lang="en-US" sz="3200" b="1" spc="0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en-US" sz="3200" b="1" spc="0" dirty="0" err="1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BESAR</a:t>
            </a:r>
            <a:r>
              <a:rPr lang="en-US" sz="3200" b="1" spc="0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id-ID" sz="2400" b="1" spc="0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/>
            </a:r>
            <a:br>
              <a:rPr lang="id-ID" sz="2400" b="1" spc="0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</a:br>
            <a:r>
              <a:rPr lang="id-ID" sz="2400" b="1" spc="0" dirty="0">
                <a:solidFill>
                  <a:schemeClr val="bg1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PENCATATAN KEGIATAN PKB </a:t>
            </a:r>
            <a:r>
              <a:rPr lang="id-ID" sz="2400" b="1" spc="0" dirty="0">
                <a:solidFill>
                  <a:srgbClr val="FFFF00"/>
                </a:solidFill>
                <a:latin typeface="Segoe UI" panose="020B05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OLEH PENYELENGGARA</a:t>
            </a:r>
            <a:endParaRPr lang="en-ID" sz="3600" b="1" dirty="0">
              <a:solidFill>
                <a:srgbClr val="FFFF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xmlns="" id="{82B5314E-D2E4-43B3-CFB3-6AD82CDAD59A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423" y="4397834"/>
            <a:ext cx="2103039" cy="2103039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xmlns="" id="{04AA4C90-BE33-2CD6-2D5A-99D302FFAEDA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7014" y="1527159"/>
            <a:ext cx="856565" cy="856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92025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2">
            <a:extLst>
              <a:ext uri="{FF2B5EF4-FFF2-40B4-BE49-F238E27FC236}">
                <a16:creationId xmlns:a16="http://schemas.microsoft.com/office/drawing/2014/main" xmlns="" id="{92789CA6-F88B-2485-BDF2-69B0627EA1AB}"/>
              </a:ext>
            </a:extLst>
          </p:cNvPr>
          <p:cNvSpPr/>
          <p:nvPr/>
        </p:nvSpPr>
        <p:spPr>
          <a:xfrm>
            <a:off x="175500" y="5250728"/>
            <a:ext cx="3266196" cy="1194901"/>
          </a:xfrm>
          <a:prstGeom prst="roundRect">
            <a:avLst>
              <a:gd name="adj" fmla="val 41113"/>
            </a:avLst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240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8E5EC6EA-6543-098A-4814-547D6C25FF44}"/>
              </a:ext>
            </a:extLst>
          </p:cNvPr>
          <p:cNvGrpSpPr/>
          <p:nvPr/>
        </p:nvGrpSpPr>
        <p:grpSpPr>
          <a:xfrm>
            <a:off x="4239673" y="3119645"/>
            <a:ext cx="648757" cy="642984"/>
            <a:chOff x="2237560" y="1339677"/>
            <a:chExt cx="486568" cy="482238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xmlns="" id="{AF074250-4E16-E4CA-EE14-1F9C20387F97}"/>
                </a:ext>
              </a:extLst>
            </p:cNvPr>
            <p:cNvSpPr/>
            <p:nvPr/>
          </p:nvSpPr>
          <p:spPr>
            <a:xfrm>
              <a:off x="2241890" y="1339677"/>
              <a:ext cx="482238" cy="482238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2400" dirty="0"/>
            </a:p>
          </p:txBody>
        </p:sp>
        <p:sp>
          <p:nvSpPr>
            <p:cNvPr id="29" name="TextBox 11">
              <a:extLst>
                <a:ext uri="{FF2B5EF4-FFF2-40B4-BE49-F238E27FC236}">
                  <a16:creationId xmlns:a16="http://schemas.microsoft.com/office/drawing/2014/main" xmlns="" id="{06B71A36-1FCC-F7BC-BAA1-ABB8C4090280}"/>
                </a:ext>
              </a:extLst>
            </p:cNvPr>
            <p:cNvSpPr txBox="1"/>
            <p:nvPr/>
          </p:nvSpPr>
          <p:spPr>
            <a:xfrm>
              <a:off x="2237560" y="1398401"/>
              <a:ext cx="470598" cy="307825"/>
            </a:xfrm>
            <a:prstGeom prst="rect">
              <a:avLst/>
            </a:prstGeom>
            <a:noFill/>
          </p:spPr>
          <p:txBody>
            <a:bodyPr wrap="square" t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2667" b="1" dirty="0">
                  <a:solidFill>
                    <a:schemeClr val="bg1"/>
                  </a:solidFill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C8F2E3B4-E8E5-C472-FF70-DAA80740EB29}"/>
              </a:ext>
            </a:extLst>
          </p:cNvPr>
          <p:cNvGrpSpPr/>
          <p:nvPr/>
        </p:nvGrpSpPr>
        <p:grpSpPr>
          <a:xfrm>
            <a:off x="4626656" y="2091528"/>
            <a:ext cx="650431" cy="642984"/>
            <a:chOff x="2825448" y="1682386"/>
            <a:chExt cx="487823" cy="482238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DA2C37CE-D909-A2FF-2D02-75974E24FA61}"/>
                </a:ext>
              </a:extLst>
            </p:cNvPr>
            <p:cNvSpPr/>
            <p:nvPr/>
          </p:nvSpPr>
          <p:spPr>
            <a:xfrm>
              <a:off x="2831033" y="1682386"/>
              <a:ext cx="482238" cy="482238"/>
            </a:xfrm>
            <a:prstGeom prst="ellipse">
              <a:avLst/>
            </a:prstGeom>
            <a:solidFill>
              <a:srgbClr val="96BE97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ko-KR" altLang="en-US" sz="2400" dirty="0"/>
            </a:p>
          </p:txBody>
        </p:sp>
        <p:sp>
          <p:nvSpPr>
            <p:cNvPr id="27" name="TextBox 14">
              <a:extLst>
                <a:ext uri="{FF2B5EF4-FFF2-40B4-BE49-F238E27FC236}">
                  <a16:creationId xmlns:a16="http://schemas.microsoft.com/office/drawing/2014/main" xmlns="" id="{8209AB9D-85CD-A251-E25C-DAEEE8FFD22B}"/>
                </a:ext>
              </a:extLst>
            </p:cNvPr>
            <p:cNvSpPr txBox="1"/>
            <p:nvPr/>
          </p:nvSpPr>
          <p:spPr>
            <a:xfrm>
              <a:off x="2825448" y="1768757"/>
              <a:ext cx="470598" cy="307825"/>
            </a:xfrm>
            <a:prstGeom prst="rect">
              <a:avLst/>
            </a:prstGeom>
            <a:noFill/>
          </p:spPr>
          <p:txBody>
            <a:bodyPr wrap="square" tIns="0" bIns="0" rtlCol="0" anchor="ctr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ko-KR" sz="2667" b="1" dirty="0">
                  <a:solidFill>
                    <a:schemeClr val="bg1"/>
                  </a:solidFill>
                  <a:cs typeface="Arial" pitchFamily="34" charset="0"/>
                </a:rPr>
                <a:t>2</a:t>
              </a:r>
            </a:p>
          </p:txBody>
        </p:sp>
      </p:grpSp>
      <p:sp>
        <p:nvSpPr>
          <p:cNvPr id="8" name="Oval 7">
            <a:extLst>
              <a:ext uri="{FF2B5EF4-FFF2-40B4-BE49-F238E27FC236}">
                <a16:creationId xmlns:a16="http://schemas.microsoft.com/office/drawing/2014/main" xmlns="" id="{61C43B91-2BE6-F158-3FFA-1B631F3999E0}"/>
              </a:ext>
            </a:extLst>
          </p:cNvPr>
          <p:cNvSpPr/>
          <p:nvPr/>
        </p:nvSpPr>
        <p:spPr>
          <a:xfrm>
            <a:off x="5744925" y="1840020"/>
            <a:ext cx="642984" cy="642984"/>
          </a:xfrm>
          <a:prstGeom prst="ellipse">
            <a:avLst/>
          </a:prstGeom>
          <a:solidFill>
            <a:srgbClr val="589EA5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400" dirty="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5561322B-6442-F495-B914-3A538C7C10E9}"/>
              </a:ext>
            </a:extLst>
          </p:cNvPr>
          <p:cNvSpPr/>
          <p:nvPr/>
        </p:nvSpPr>
        <p:spPr>
          <a:xfrm>
            <a:off x="5277084" y="4183507"/>
            <a:ext cx="642984" cy="642984"/>
          </a:xfrm>
          <a:prstGeom prst="ellipse">
            <a:avLst/>
          </a:prstGeom>
          <a:solidFill>
            <a:srgbClr val="00206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400" dirty="0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C6375C13-F48D-77FA-CBD0-B4EB1F5B3DB7}"/>
              </a:ext>
            </a:extLst>
          </p:cNvPr>
          <p:cNvSpPr/>
          <p:nvPr/>
        </p:nvSpPr>
        <p:spPr>
          <a:xfrm>
            <a:off x="6431425" y="3701551"/>
            <a:ext cx="642984" cy="642984"/>
          </a:xfrm>
          <a:prstGeom prst="ellipse">
            <a:avLst/>
          </a:prstGeom>
          <a:solidFill>
            <a:srgbClr val="295568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400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2713A928-4CB8-0D9D-2EAF-982D58323A74}"/>
              </a:ext>
            </a:extLst>
          </p:cNvPr>
          <p:cNvSpPr/>
          <p:nvPr/>
        </p:nvSpPr>
        <p:spPr>
          <a:xfrm>
            <a:off x="6639121" y="2598619"/>
            <a:ext cx="642984" cy="642984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400" dirty="0"/>
          </a:p>
        </p:txBody>
      </p:sp>
      <p:sp>
        <p:nvSpPr>
          <p:cNvPr id="12" name="TextBox 19">
            <a:extLst>
              <a:ext uri="{FF2B5EF4-FFF2-40B4-BE49-F238E27FC236}">
                <a16:creationId xmlns:a16="http://schemas.microsoft.com/office/drawing/2014/main" xmlns="" id="{6A516893-9D4B-0116-BDBC-98E909BFBC5E}"/>
              </a:ext>
            </a:extLst>
          </p:cNvPr>
          <p:cNvSpPr txBox="1"/>
          <p:nvPr/>
        </p:nvSpPr>
        <p:spPr>
          <a:xfrm>
            <a:off x="5851539" y="1956295"/>
            <a:ext cx="627464" cy="410433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667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BE71C32-9C51-A3BD-6B5C-378FFA4F46AF}"/>
              </a:ext>
            </a:extLst>
          </p:cNvPr>
          <p:cNvSpPr/>
          <p:nvPr/>
        </p:nvSpPr>
        <p:spPr>
          <a:xfrm>
            <a:off x="421998" y="3167396"/>
            <a:ext cx="3726506" cy="9233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solidFill>
                  <a:schemeClr val="bg1"/>
                </a:solidFill>
              </a:rPr>
              <a:t>Kementerian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en-US" b="1" dirty="0" err="1">
                <a:solidFill>
                  <a:schemeClr val="bg1"/>
                </a:solidFill>
              </a:rPr>
              <a:t>Lembaga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en-US" b="1" dirty="0" err="1">
                <a:solidFill>
                  <a:schemeClr val="bg1"/>
                </a:solidFill>
              </a:rPr>
              <a:t>Pemerintah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Provinsi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en-US" b="1" dirty="0" err="1">
                <a:solidFill>
                  <a:schemeClr val="bg1"/>
                </a:solidFill>
              </a:rPr>
              <a:t>Pemerintah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Kabupaten</a:t>
            </a:r>
            <a:r>
              <a:rPr lang="en-US" b="1" dirty="0">
                <a:solidFill>
                  <a:schemeClr val="bg1"/>
                </a:solidFill>
              </a:rPr>
              <a:t>/Kot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TextBox 21">
            <a:extLst>
              <a:ext uri="{FF2B5EF4-FFF2-40B4-BE49-F238E27FC236}">
                <a16:creationId xmlns:a16="http://schemas.microsoft.com/office/drawing/2014/main" xmlns="" id="{D07A7356-51E3-DF84-7781-3E02AC712E63}"/>
              </a:ext>
            </a:extLst>
          </p:cNvPr>
          <p:cNvSpPr txBox="1"/>
          <p:nvPr/>
        </p:nvSpPr>
        <p:spPr>
          <a:xfrm>
            <a:off x="6733705" y="2709211"/>
            <a:ext cx="627464" cy="410433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667" b="1" dirty="0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15" name="TextBox 22">
            <a:extLst>
              <a:ext uri="{FF2B5EF4-FFF2-40B4-BE49-F238E27FC236}">
                <a16:creationId xmlns:a16="http://schemas.microsoft.com/office/drawing/2014/main" xmlns="" id="{2FBB4519-B3DD-9751-F889-7DA8994D0F4A}"/>
              </a:ext>
            </a:extLst>
          </p:cNvPr>
          <p:cNvSpPr txBox="1"/>
          <p:nvPr/>
        </p:nvSpPr>
        <p:spPr>
          <a:xfrm>
            <a:off x="6538115" y="3798241"/>
            <a:ext cx="627464" cy="410433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667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16" name="TextBox 23">
            <a:extLst>
              <a:ext uri="{FF2B5EF4-FFF2-40B4-BE49-F238E27FC236}">
                <a16:creationId xmlns:a16="http://schemas.microsoft.com/office/drawing/2014/main" xmlns="" id="{3533F947-88DC-8317-3D89-A09B1FE3B57E}"/>
              </a:ext>
            </a:extLst>
          </p:cNvPr>
          <p:cNvSpPr txBox="1"/>
          <p:nvPr/>
        </p:nvSpPr>
        <p:spPr>
          <a:xfrm>
            <a:off x="5399251" y="4285114"/>
            <a:ext cx="627464" cy="410433"/>
          </a:xfrm>
          <a:prstGeom prst="rect">
            <a:avLst/>
          </a:prstGeom>
          <a:noFill/>
        </p:spPr>
        <p:txBody>
          <a:bodyPr wrap="square" t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ko-KR" sz="2667" b="1" dirty="0">
                <a:solidFill>
                  <a:schemeClr val="bg1"/>
                </a:solidFill>
                <a:cs typeface="Arial" pitchFamily="34" charset="0"/>
              </a:rPr>
              <a:t>6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D68F0749-3067-0242-51A2-0F3E8E314AE6}"/>
              </a:ext>
            </a:extLst>
          </p:cNvPr>
          <p:cNvSpPr/>
          <p:nvPr/>
        </p:nvSpPr>
        <p:spPr>
          <a:xfrm>
            <a:off x="768072" y="981412"/>
            <a:ext cx="3866031" cy="1200329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solidFill>
                  <a:schemeClr val="bg1"/>
                </a:solidFill>
              </a:rPr>
              <a:t>Asosias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rofesi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Asosias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Badan</a:t>
            </a:r>
            <a:r>
              <a:rPr lang="en-US" dirty="0">
                <a:solidFill>
                  <a:schemeClr val="bg1"/>
                </a:solidFill>
              </a:rPr>
              <a:t> Usaha, </a:t>
            </a:r>
          </a:p>
          <a:p>
            <a:r>
              <a:rPr lang="en-US" dirty="0" err="1">
                <a:solidFill>
                  <a:schemeClr val="bg1"/>
                </a:solidFill>
              </a:rPr>
              <a:t>d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asosias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lainnya</a:t>
            </a:r>
            <a:r>
              <a:rPr lang="en-US" dirty="0">
                <a:solidFill>
                  <a:schemeClr val="bg1"/>
                </a:solidFill>
              </a:rPr>
              <a:t> yang </a:t>
            </a:r>
            <a:r>
              <a:rPr lang="en-US" dirty="0" err="1">
                <a:solidFill>
                  <a:schemeClr val="bg1"/>
                </a:solidFill>
              </a:rPr>
              <a:t>terkai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deng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jasa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konstruks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b="1" dirty="0">
                <a:solidFill>
                  <a:schemeClr val="bg1"/>
                </a:solidFill>
              </a:rPr>
              <a:t>yang </a:t>
            </a:r>
            <a:r>
              <a:rPr lang="en-US" b="1" dirty="0" err="1">
                <a:solidFill>
                  <a:schemeClr val="bg1"/>
                </a:solidFill>
              </a:rPr>
              <a:t>tidak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terakreditasi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F7CE54A6-753F-468D-69B8-EE56CF6AE329}"/>
              </a:ext>
            </a:extLst>
          </p:cNvPr>
          <p:cNvSpPr/>
          <p:nvPr/>
        </p:nvSpPr>
        <p:spPr>
          <a:xfrm>
            <a:off x="6088357" y="1130598"/>
            <a:ext cx="4992555" cy="646331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solidFill>
                  <a:schemeClr val="bg1"/>
                </a:solidFill>
              </a:rPr>
              <a:t>Lembaga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Pendidikan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en-US" b="1" dirty="0" err="1">
                <a:solidFill>
                  <a:schemeClr val="bg1"/>
                </a:solidFill>
              </a:rPr>
              <a:t>Pelatiha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yang </a:t>
            </a:r>
            <a:r>
              <a:rPr lang="en-US" dirty="0" err="1">
                <a:solidFill>
                  <a:schemeClr val="bg1"/>
                </a:solidFill>
              </a:rPr>
              <a:t>teregistras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d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idak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teregistrasi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F524563-DBC9-6893-E939-84E65CC4248E}"/>
              </a:ext>
            </a:extLst>
          </p:cNvPr>
          <p:cNvSpPr/>
          <p:nvPr/>
        </p:nvSpPr>
        <p:spPr>
          <a:xfrm>
            <a:off x="7361169" y="2351077"/>
            <a:ext cx="4526978" cy="66697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solidFill>
                  <a:schemeClr val="bg1"/>
                </a:solidFill>
              </a:rPr>
              <a:t>Konsult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konstruks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d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Kontraktor</a:t>
            </a:r>
            <a:endParaRPr lang="en-US" b="1" dirty="0">
              <a:solidFill>
                <a:schemeClr val="bg1"/>
              </a:solidFill>
            </a:endParaRPr>
          </a:p>
          <a:p>
            <a:r>
              <a:rPr lang="en-US" dirty="0" err="1">
                <a:solidFill>
                  <a:schemeClr val="bg1"/>
                </a:solidFill>
              </a:rPr>
              <a:t>pekerja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konstruksi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F69FCE28-5DFD-0308-0549-13151664C494}"/>
              </a:ext>
            </a:extLst>
          </p:cNvPr>
          <p:cNvSpPr/>
          <p:nvPr/>
        </p:nvSpPr>
        <p:spPr>
          <a:xfrm>
            <a:off x="7215965" y="3638783"/>
            <a:ext cx="3788294" cy="646331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solidFill>
                  <a:schemeClr val="bg1"/>
                </a:solidFill>
              </a:rPr>
              <a:t>Pabrikator</a:t>
            </a:r>
            <a:r>
              <a:rPr lang="en-US" b="1" dirty="0">
                <a:solidFill>
                  <a:schemeClr val="bg1"/>
                </a:solidFill>
              </a:rPr>
              <a:t>, Distributor, </a:t>
            </a:r>
            <a:r>
              <a:rPr lang="en-US" b="1" dirty="0" err="1">
                <a:solidFill>
                  <a:schemeClr val="bg1"/>
                </a:solidFill>
              </a:rPr>
              <a:t>Aplikator</a:t>
            </a:r>
            <a:r>
              <a:rPr lang="en-US" b="1" dirty="0">
                <a:solidFill>
                  <a:schemeClr val="bg1"/>
                </a:solidFill>
              </a:rPr>
              <a:t> Material </a:t>
            </a:r>
            <a:r>
              <a:rPr lang="en-US" b="1" dirty="0" err="1">
                <a:solidFill>
                  <a:schemeClr val="bg1"/>
                </a:solidFill>
              </a:rPr>
              <a:t>da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Peralatan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Konstruksi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F47E9E87-4881-E71E-2522-2AC12CF7674A}"/>
              </a:ext>
            </a:extLst>
          </p:cNvPr>
          <p:cNvSpPr/>
          <p:nvPr/>
        </p:nvSpPr>
        <p:spPr>
          <a:xfrm>
            <a:off x="5399251" y="4986725"/>
            <a:ext cx="6034867" cy="92333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>
                <a:solidFill>
                  <a:schemeClr val="bg1"/>
                </a:solidFill>
              </a:rPr>
              <a:t>Lembaga</a:t>
            </a:r>
            <a:r>
              <a:rPr lang="en-US" b="1" dirty="0">
                <a:solidFill>
                  <a:schemeClr val="bg1"/>
                </a:solidFill>
              </a:rPr>
              <a:t>/</a:t>
            </a:r>
            <a:r>
              <a:rPr lang="en-US" b="1" dirty="0" err="1">
                <a:solidFill>
                  <a:schemeClr val="bg1"/>
                </a:solidFill>
              </a:rPr>
              <a:t>Organisasi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</a:rPr>
              <a:t>lain yang </a:t>
            </a:r>
            <a:r>
              <a:rPr lang="en-US" dirty="0" err="1">
                <a:solidFill>
                  <a:schemeClr val="bg1"/>
                </a:solidFill>
              </a:rPr>
              <a:t>memilik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vis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pengembangan</a:t>
            </a:r>
            <a:r>
              <a:rPr lang="en-US" dirty="0">
                <a:solidFill>
                  <a:schemeClr val="bg1"/>
                </a:solidFill>
              </a:rPr>
              <a:t> SDM </a:t>
            </a:r>
            <a:r>
              <a:rPr lang="en-US" dirty="0" err="1">
                <a:solidFill>
                  <a:schemeClr val="bg1"/>
                </a:solidFill>
              </a:rPr>
              <a:t>konstruksi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memiliki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truktur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organisasi</a:t>
            </a:r>
            <a:r>
              <a:rPr lang="en-US" dirty="0">
                <a:solidFill>
                  <a:schemeClr val="bg1"/>
                </a:solidFill>
              </a:rPr>
              <a:t> yang </a:t>
            </a:r>
            <a:r>
              <a:rPr lang="en-US" dirty="0" err="1">
                <a:solidFill>
                  <a:schemeClr val="bg1"/>
                </a:solidFill>
              </a:rPr>
              <a:t>jelas</a:t>
            </a:r>
            <a:r>
              <a:rPr lang="en-US" dirty="0">
                <a:solidFill>
                  <a:schemeClr val="bg1"/>
                </a:solidFill>
              </a:rPr>
              <a:t>, </a:t>
            </a:r>
            <a:r>
              <a:rPr lang="en-US" dirty="0" err="1">
                <a:solidFill>
                  <a:schemeClr val="bg1"/>
                </a:solidFill>
              </a:rPr>
              <a:t>d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mampu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menyelenggarak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kegiatan</a:t>
            </a:r>
            <a:r>
              <a:rPr lang="en-US" dirty="0">
                <a:solidFill>
                  <a:schemeClr val="bg1"/>
                </a:solidFill>
              </a:rPr>
              <a:t> PKB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0C5825FA-BA98-252B-0459-F0C30F6310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64" y="5029796"/>
            <a:ext cx="488499" cy="620689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A5F34B1A-C37F-8F8F-BA68-A4493F66C88C}"/>
              </a:ext>
            </a:extLst>
          </p:cNvPr>
          <p:cNvSpPr/>
          <p:nvPr/>
        </p:nvSpPr>
        <p:spPr>
          <a:xfrm>
            <a:off x="860251" y="5371028"/>
            <a:ext cx="2712265" cy="9543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err="1">
                <a:solidFill>
                  <a:schemeClr val="bg1"/>
                </a:solidFill>
              </a:rPr>
              <a:t>Penyelenggara</a:t>
            </a:r>
            <a:r>
              <a:rPr lang="en-US" dirty="0">
                <a:solidFill>
                  <a:schemeClr val="bg1"/>
                </a:solidFill>
              </a:rPr>
              <a:t> PKB </a:t>
            </a:r>
            <a:r>
              <a:rPr lang="en-US" dirty="0" err="1">
                <a:solidFill>
                  <a:schemeClr val="bg1"/>
                </a:solidFill>
              </a:rPr>
              <a:t>merupakan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entitas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berbadan</a:t>
            </a:r>
            <a:r>
              <a:rPr lang="en-US" b="1" dirty="0">
                <a:solidFill>
                  <a:srgbClr val="FFFF00"/>
                </a:solidFill>
              </a:rPr>
              <a:t> </a:t>
            </a:r>
            <a:r>
              <a:rPr lang="en-US" b="1" dirty="0" err="1">
                <a:solidFill>
                  <a:srgbClr val="FFFF00"/>
                </a:solidFill>
              </a:rPr>
              <a:t>hukum</a:t>
            </a:r>
            <a:endParaRPr lang="en-GB" dirty="0">
              <a:solidFill>
                <a:srgbClr val="FFFF00"/>
              </a:solidFill>
            </a:endParaRPr>
          </a:p>
        </p:txBody>
      </p:sp>
      <p:sp>
        <p:nvSpPr>
          <p:cNvPr id="34" name="Round Same Side Corner Rectangle 1">
            <a:extLst>
              <a:ext uri="{FF2B5EF4-FFF2-40B4-BE49-F238E27FC236}">
                <a16:creationId xmlns:a16="http://schemas.microsoft.com/office/drawing/2014/main" xmlns="" id="{C4A3DCBA-0EFA-0FE1-D850-BE2CB6FA75AB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7A041648-3B4B-8A4F-12D2-A95C4270AA16}"/>
              </a:ext>
            </a:extLst>
          </p:cNvPr>
          <p:cNvSpPr txBox="1"/>
          <p:nvPr/>
        </p:nvSpPr>
        <p:spPr>
          <a:xfrm>
            <a:off x="228153" y="74239"/>
            <a:ext cx="9973682" cy="505972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Dubai" panose="020B0503030403030204" pitchFamily="34" charset="-78"/>
              </a:rPr>
              <a:t>PENYELENGGARA KEGIATAN </a:t>
            </a:r>
            <a:r>
              <a:rPr lang="fi-FI" sz="2400" b="1" dirty="0">
                <a:solidFill>
                  <a:schemeClr val="bg1"/>
                </a:solidFill>
                <a:cs typeface="Dubai" panose="020B0503030403030204" pitchFamily="34" charset="-78"/>
              </a:rPr>
              <a:t>PKB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Dubai" panose="020B0503030403030204" pitchFamily="34" charset="-78"/>
            </a:endParaRPr>
          </a:p>
        </p:txBody>
      </p:sp>
      <p:pic>
        <p:nvPicPr>
          <p:cNvPr id="36" name="Picture 35" descr="lgo sigap.png">
            <a:extLst>
              <a:ext uri="{FF2B5EF4-FFF2-40B4-BE49-F238E27FC236}">
                <a16:creationId xmlns:a16="http://schemas.microsoft.com/office/drawing/2014/main" xmlns="" id="{00FFCEB5-93C9-6C86-3E16-BE23181133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8D725FBC-79EF-8477-2F4D-0273FF084E77}"/>
              </a:ext>
            </a:extLst>
          </p:cNvPr>
          <p:cNvGrpSpPr/>
          <p:nvPr/>
        </p:nvGrpSpPr>
        <p:grpSpPr>
          <a:xfrm>
            <a:off x="4104000" y="2849673"/>
            <a:ext cx="2386401" cy="2090379"/>
            <a:chOff x="2486109" y="2328056"/>
            <a:chExt cx="2589948" cy="216587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xmlns="" id="{73CDE357-E09A-E729-0A63-DC232692F100}"/>
                </a:ext>
              </a:extLst>
            </p:cNvPr>
            <p:cNvGrpSpPr/>
            <p:nvPr/>
          </p:nvGrpSpPr>
          <p:grpSpPr>
            <a:xfrm>
              <a:off x="2486109" y="2607273"/>
              <a:ext cx="2589948" cy="1886653"/>
              <a:chOff x="247435" y="2414619"/>
              <a:chExt cx="3149101" cy="2293969"/>
            </a:xfrm>
          </p:grpSpPr>
          <p:sp>
            <p:nvSpPr>
              <p:cNvPr id="40" name="Rectangle 12">
                <a:extLst>
                  <a:ext uri="{FF2B5EF4-FFF2-40B4-BE49-F238E27FC236}">
                    <a16:creationId xmlns:a16="http://schemas.microsoft.com/office/drawing/2014/main" xmlns="" id="{7EDEB0F4-5B4A-3503-3386-FF24B22614C5}"/>
                  </a:ext>
                </a:extLst>
              </p:cNvPr>
              <p:cNvSpPr/>
              <p:nvPr/>
            </p:nvSpPr>
            <p:spPr>
              <a:xfrm rot="2700000" flipH="1">
                <a:off x="1034951" y="1627103"/>
                <a:ext cx="1574070" cy="3149101"/>
              </a:xfrm>
              <a:custGeom>
                <a:avLst/>
                <a:gdLst/>
                <a:ahLst/>
                <a:cxnLst/>
                <a:rect l="l" t="t" r="r" b="b"/>
                <a:pathLst>
                  <a:path w="1574070" h="3149101">
                    <a:moveTo>
                      <a:pt x="1396232" y="177838"/>
                    </a:moveTo>
                    <a:cubicBezTo>
                      <a:pt x="1732682" y="514288"/>
                      <a:pt x="1732682" y="1059782"/>
                      <a:pt x="1396232" y="1396232"/>
                    </a:cubicBezTo>
                    <a:cubicBezTo>
                      <a:pt x="1059782" y="1732681"/>
                      <a:pt x="514289" y="1732681"/>
                      <a:pt x="177839" y="1396232"/>
                    </a:cubicBezTo>
                    <a:cubicBezTo>
                      <a:pt x="-158611" y="1059782"/>
                      <a:pt x="-158611" y="514288"/>
                      <a:pt x="177839" y="177838"/>
                    </a:cubicBezTo>
                    <a:cubicBezTo>
                      <a:pt x="514289" y="-158611"/>
                      <a:pt x="1059782" y="-158611"/>
                      <a:pt x="1396232" y="177838"/>
                    </a:cubicBezTo>
                    <a:close/>
                    <a:moveTo>
                      <a:pt x="1574070" y="0"/>
                    </a:moveTo>
                    <a:cubicBezTo>
                      <a:pt x="1139403" y="-434668"/>
                      <a:pt x="434668" y="-434668"/>
                      <a:pt x="0" y="0"/>
                    </a:cubicBezTo>
                    <a:cubicBezTo>
                      <a:pt x="-434668" y="434667"/>
                      <a:pt x="-434668" y="1139403"/>
                      <a:pt x="0" y="1574070"/>
                    </a:cubicBezTo>
                    <a:cubicBezTo>
                      <a:pt x="149565" y="1723636"/>
                      <a:pt x="331107" y="1821737"/>
                      <a:pt x="522925" y="1867116"/>
                    </a:cubicBezTo>
                    <a:lnTo>
                      <a:pt x="522925" y="3149101"/>
                    </a:lnTo>
                    <a:lnTo>
                      <a:pt x="1051145" y="3149101"/>
                    </a:lnTo>
                    <a:lnTo>
                      <a:pt x="1051145" y="1867115"/>
                    </a:lnTo>
                    <a:cubicBezTo>
                      <a:pt x="1242964" y="1821737"/>
                      <a:pt x="1424505" y="1723636"/>
                      <a:pt x="1574070" y="1574070"/>
                    </a:cubicBezTo>
                    <a:cubicBezTo>
                      <a:pt x="2008738" y="1139403"/>
                      <a:pt x="2008738" y="434667"/>
                      <a:pt x="1574070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 sz="2400" dirty="0"/>
              </a:p>
            </p:txBody>
          </p:sp>
          <p:sp>
            <p:nvSpPr>
              <p:cNvPr id="41" name="Round Same Side Corner Rectangle 8">
                <a:extLst>
                  <a:ext uri="{FF2B5EF4-FFF2-40B4-BE49-F238E27FC236}">
                    <a16:creationId xmlns:a16="http://schemas.microsoft.com/office/drawing/2014/main" xmlns="" id="{CE17779A-3309-DCF7-84A3-16C9EE612FD5}"/>
                  </a:ext>
                </a:extLst>
              </p:cNvPr>
              <p:cNvSpPr/>
              <p:nvPr/>
            </p:nvSpPr>
            <p:spPr>
              <a:xfrm rot="13500000" flipH="1">
                <a:off x="299369" y="4293587"/>
                <a:ext cx="528162" cy="301840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21920" tIns="60960" rIns="121920" bIns="6096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ko-KR" altLang="en-US" sz="2400" dirty="0"/>
              </a:p>
            </p:txBody>
          </p:sp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xmlns="" id="{6748D408-560E-F446-7746-A5568C468C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0660" y="2328056"/>
              <a:ext cx="1016888" cy="10188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58510244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1026">
            <a:extLst>
              <a:ext uri="{FF2B5EF4-FFF2-40B4-BE49-F238E27FC236}">
                <a16:creationId xmlns:a16="http://schemas.microsoft.com/office/drawing/2014/main" xmlns="" id="{6BE8A81D-F23A-F7DD-85BA-5FC8BBF682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33934" y="5017116"/>
            <a:ext cx="504182" cy="711299"/>
          </a:xfrm>
          <a:prstGeom prst="rect">
            <a:avLst/>
          </a:prstGeom>
        </p:spPr>
      </p:pic>
      <p:pic>
        <p:nvPicPr>
          <p:cNvPr id="1025" name="Picture 1024">
            <a:extLst>
              <a:ext uri="{FF2B5EF4-FFF2-40B4-BE49-F238E27FC236}">
                <a16:creationId xmlns:a16="http://schemas.microsoft.com/office/drawing/2014/main" xmlns="" id="{D39943D4-8791-D615-6769-AF8D7E2DA1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191" y="1416229"/>
            <a:ext cx="504182" cy="711299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4DFD57CF-C316-5882-1B5B-454B9A574519}"/>
              </a:ext>
            </a:extLst>
          </p:cNvPr>
          <p:cNvSpPr/>
          <p:nvPr/>
        </p:nvSpPr>
        <p:spPr>
          <a:xfrm>
            <a:off x="0" y="815805"/>
            <a:ext cx="12192000" cy="1958009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E856459-608B-5D5A-510A-202D3D2D8D1F}"/>
              </a:ext>
            </a:extLst>
          </p:cNvPr>
          <p:cNvSpPr/>
          <p:nvPr/>
        </p:nvSpPr>
        <p:spPr>
          <a:xfrm>
            <a:off x="-1" y="2775914"/>
            <a:ext cx="12192001" cy="2038626"/>
          </a:xfrm>
          <a:prstGeom prst="rect">
            <a:avLst/>
          </a:prstGeo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BAE2C418-7F88-DEF4-DE35-9383D92CADA4}"/>
              </a:ext>
            </a:extLst>
          </p:cNvPr>
          <p:cNvSpPr/>
          <p:nvPr/>
        </p:nvSpPr>
        <p:spPr>
          <a:xfrm>
            <a:off x="0" y="4802419"/>
            <a:ext cx="12192000" cy="1795474"/>
          </a:xfrm>
          <a:prstGeom prst="rect">
            <a:avLst/>
          </a:prstGeom>
          <a:solidFill>
            <a:schemeClr val="accent1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5C986132-1521-C9C0-816A-57C4AA1994A1}"/>
              </a:ext>
            </a:extLst>
          </p:cNvPr>
          <p:cNvGraphicFramePr/>
          <p:nvPr/>
        </p:nvGraphicFramePr>
        <p:xfrm>
          <a:off x="858044" y="640279"/>
          <a:ext cx="9166374" cy="62177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3EB43D0-B69F-6EAE-1A20-D2632D64F0BD}"/>
              </a:ext>
            </a:extLst>
          </p:cNvPr>
          <p:cNvSpPr txBox="1"/>
          <p:nvPr/>
        </p:nvSpPr>
        <p:spPr>
          <a:xfrm>
            <a:off x="886634" y="1199595"/>
            <a:ext cx="253947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d-ID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ttps://</a:t>
            </a:r>
            <a:r>
              <a:rPr lang="en-US" sz="1200" b="1" dirty="0" err="1">
                <a:solidFill>
                  <a:prstClr val="black"/>
                </a:solidFill>
                <a:latin typeface="Calibri" panose="020F0502020204030204"/>
              </a:rPr>
              <a:t>lpjk</a:t>
            </a:r>
            <a:r>
              <a:rPr kumimoji="0" lang="id-ID" sz="1200" b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pu.go.i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101301B-54D5-E433-2F11-A011636E7B33}"/>
              </a:ext>
            </a:extLst>
          </p:cNvPr>
          <p:cNvSpPr txBox="1"/>
          <p:nvPr/>
        </p:nvSpPr>
        <p:spPr>
          <a:xfrm>
            <a:off x="93448" y="2134347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ctagon 10">
            <a:extLst>
              <a:ext uri="{FF2B5EF4-FFF2-40B4-BE49-F238E27FC236}">
                <a16:creationId xmlns:a16="http://schemas.microsoft.com/office/drawing/2014/main" xmlns="" id="{41A3E24B-E20C-1992-84EB-5332FF1A923A}"/>
              </a:ext>
            </a:extLst>
          </p:cNvPr>
          <p:cNvSpPr/>
          <p:nvPr/>
        </p:nvSpPr>
        <p:spPr>
          <a:xfrm>
            <a:off x="1502568" y="2307205"/>
            <a:ext cx="360000" cy="276999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ctagon 11">
            <a:extLst>
              <a:ext uri="{FF2B5EF4-FFF2-40B4-BE49-F238E27FC236}">
                <a16:creationId xmlns:a16="http://schemas.microsoft.com/office/drawing/2014/main" xmlns="" id="{B8C759F2-7198-CA3B-94C3-CF81EBB12A2E}"/>
              </a:ext>
            </a:extLst>
          </p:cNvPr>
          <p:cNvSpPr/>
          <p:nvPr/>
        </p:nvSpPr>
        <p:spPr>
          <a:xfrm>
            <a:off x="4051460" y="231486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0806E9E7-DC44-710D-0417-2A16217FFBED}"/>
              </a:ext>
            </a:extLst>
          </p:cNvPr>
          <p:cNvSpPr txBox="1"/>
          <p:nvPr/>
        </p:nvSpPr>
        <p:spPr>
          <a:xfrm>
            <a:off x="3282824" y="893022"/>
            <a:ext cx="261150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ni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yelenggara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yelenggara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050" b="1" dirty="0">
                <a:solidFill>
                  <a:srgbClr val="002060"/>
                </a:solidFill>
                <a:latin typeface="Calibri" panose="020F0502020204030204"/>
              </a:rPr>
              <a:t>Data </a:t>
            </a:r>
            <a:r>
              <a:rPr lang="en-US" sz="1050" b="1" dirty="0" err="1">
                <a:solidFill>
                  <a:srgbClr val="002060"/>
                </a:solidFill>
                <a:latin typeface="Calibri" panose="020F0502020204030204"/>
              </a:rPr>
              <a:t>Penanggunga</a:t>
            </a:r>
            <a:r>
              <a:rPr lang="en-US" sz="1050" b="1" dirty="0">
                <a:solidFill>
                  <a:srgbClr val="002060"/>
                </a:solidFill>
                <a:latin typeface="Calibri" panose="020F0502020204030204"/>
              </a:rPr>
              <a:t> Jawa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AF18675-1E27-6B19-A4BA-8D405877ECBA}"/>
              </a:ext>
            </a:extLst>
          </p:cNvPr>
          <p:cNvSpPr txBox="1"/>
          <p:nvPr/>
        </p:nvSpPr>
        <p:spPr>
          <a:xfrm>
            <a:off x="10134505" y="2822295"/>
            <a:ext cx="2005775" cy="13849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asifik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n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s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sar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tama Tenaga Ahli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ka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yarat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ctagon 15">
            <a:extLst>
              <a:ext uri="{FF2B5EF4-FFF2-40B4-BE49-F238E27FC236}">
                <a16:creationId xmlns:a16="http://schemas.microsoft.com/office/drawing/2014/main" xmlns="" id="{B8DEF9FF-09D4-BF3F-7B85-5AA36CD4C86A}"/>
              </a:ext>
            </a:extLst>
          </p:cNvPr>
          <p:cNvSpPr/>
          <p:nvPr/>
        </p:nvSpPr>
        <p:spPr>
          <a:xfrm>
            <a:off x="6533796" y="230720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ctagon 16">
            <a:extLst>
              <a:ext uri="{FF2B5EF4-FFF2-40B4-BE49-F238E27FC236}">
                <a16:creationId xmlns:a16="http://schemas.microsoft.com/office/drawing/2014/main" xmlns="" id="{12A6F1F4-2912-697D-FA7B-D30156A6C034}"/>
              </a:ext>
            </a:extLst>
          </p:cNvPr>
          <p:cNvSpPr/>
          <p:nvPr/>
        </p:nvSpPr>
        <p:spPr>
          <a:xfrm>
            <a:off x="8995301" y="231486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ctagon 17">
            <a:extLst>
              <a:ext uri="{FF2B5EF4-FFF2-40B4-BE49-F238E27FC236}">
                <a16:creationId xmlns:a16="http://schemas.microsoft.com/office/drawing/2014/main" xmlns="" id="{ED58DCEB-7FF8-D31E-E306-38A8669D915B}"/>
              </a:ext>
            </a:extLst>
          </p:cNvPr>
          <p:cNvSpPr/>
          <p:nvPr/>
        </p:nvSpPr>
        <p:spPr>
          <a:xfrm>
            <a:off x="9134121" y="403617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ctagon 18">
            <a:extLst>
              <a:ext uri="{FF2B5EF4-FFF2-40B4-BE49-F238E27FC236}">
                <a16:creationId xmlns:a16="http://schemas.microsoft.com/office/drawing/2014/main" xmlns="" id="{7FCB9D98-1BFA-B4B8-E842-DDD0FD1B4191}"/>
              </a:ext>
            </a:extLst>
          </p:cNvPr>
          <p:cNvSpPr/>
          <p:nvPr/>
        </p:nvSpPr>
        <p:spPr>
          <a:xfrm>
            <a:off x="6538724" y="403617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ctagon 19">
            <a:extLst>
              <a:ext uri="{FF2B5EF4-FFF2-40B4-BE49-F238E27FC236}">
                <a16:creationId xmlns:a16="http://schemas.microsoft.com/office/drawing/2014/main" xmlns="" id="{D16712EB-E36E-167A-D56B-34A54CC8ADF9}"/>
              </a:ext>
            </a:extLst>
          </p:cNvPr>
          <p:cNvSpPr/>
          <p:nvPr/>
        </p:nvSpPr>
        <p:spPr>
          <a:xfrm>
            <a:off x="4191390" y="402784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ctagon 20">
            <a:extLst>
              <a:ext uri="{FF2B5EF4-FFF2-40B4-BE49-F238E27FC236}">
                <a16:creationId xmlns:a16="http://schemas.microsoft.com/office/drawing/2014/main" xmlns="" id="{21487F08-1D51-26E2-61B1-AD3B9D325092}"/>
              </a:ext>
            </a:extLst>
          </p:cNvPr>
          <p:cNvSpPr/>
          <p:nvPr/>
        </p:nvSpPr>
        <p:spPr>
          <a:xfrm>
            <a:off x="1627490" y="4042597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Octagon 21">
            <a:extLst>
              <a:ext uri="{FF2B5EF4-FFF2-40B4-BE49-F238E27FC236}">
                <a16:creationId xmlns:a16="http://schemas.microsoft.com/office/drawing/2014/main" xmlns="" id="{4A12B840-E07D-3A94-4173-DA9CD9F8FA13}"/>
              </a:ext>
            </a:extLst>
          </p:cNvPr>
          <p:cNvSpPr/>
          <p:nvPr/>
        </p:nvSpPr>
        <p:spPr>
          <a:xfrm>
            <a:off x="1627490" y="585722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ctagon 22">
            <a:extLst>
              <a:ext uri="{FF2B5EF4-FFF2-40B4-BE49-F238E27FC236}">
                <a16:creationId xmlns:a16="http://schemas.microsoft.com/office/drawing/2014/main" xmlns="" id="{47644C28-B928-27A9-1AC9-153908BB93DC}"/>
              </a:ext>
            </a:extLst>
          </p:cNvPr>
          <p:cNvSpPr/>
          <p:nvPr/>
        </p:nvSpPr>
        <p:spPr>
          <a:xfrm>
            <a:off x="4118231" y="588661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ctagon 23">
            <a:extLst>
              <a:ext uri="{FF2B5EF4-FFF2-40B4-BE49-F238E27FC236}">
                <a16:creationId xmlns:a16="http://schemas.microsoft.com/office/drawing/2014/main" xmlns="" id="{10B49DF4-DEFA-76D7-9DBB-D38E6D1A631F}"/>
              </a:ext>
            </a:extLst>
          </p:cNvPr>
          <p:cNvSpPr/>
          <p:nvPr/>
        </p:nvSpPr>
        <p:spPr>
          <a:xfrm>
            <a:off x="6608974" y="5857220"/>
            <a:ext cx="360000" cy="331351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  <a:endParaRPr kumimoji="0" lang="id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15C20E02-450E-7A5A-7B7E-2A7A198BC805}"/>
              </a:ext>
            </a:extLst>
          </p:cNvPr>
          <p:cNvSpPr txBox="1"/>
          <p:nvPr/>
        </p:nvSpPr>
        <p:spPr>
          <a:xfrm>
            <a:off x="8393781" y="5735286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S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2E1F4A89-816B-51BA-7942-9CA804790D1F}"/>
              </a:ext>
            </a:extLst>
          </p:cNvPr>
          <p:cNvSpPr txBox="1"/>
          <p:nvPr/>
        </p:nvSpPr>
        <p:spPr>
          <a:xfrm>
            <a:off x="3428081" y="3971918"/>
            <a:ext cx="103699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Seles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7651A472-1471-FB1C-7614-722087D47DE8}"/>
              </a:ext>
            </a:extLst>
          </p:cNvPr>
          <p:cNvSpPr txBox="1"/>
          <p:nvPr/>
        </p:nvSpPr>
        <p:spPr>
          <a:xfrm>
            <a:off x="4799250" y="4923920"/>
            <a:ext cx="958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1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ilai SKPK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3CCAFC6-69DF-190B-8275-16E388C8B7A6}"/>
              </a:ext>
            </a:extLst>
          </p:cNvPr>
          <p:cNvSpPr txBox="1"/>
          <p:nvPr/>
        </p:nvSpPr>
        <p:spPr>
          <a:xfrm>
            <a:off x="4629119" y="5646203"/>
            <a:ext cx="1828966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ita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cara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esahan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tapan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KB</a:t>
            </a:r>
            <a:endParaRPr kumimoji="0" lang="id-ID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99FAEE6F-CE16-ECB6-6510-15D7640C6C09}"/>
              </a:ext>
            </a:extLst>
          </p:cNvPr>
          <p:cNvSpPr txBox="1"/>
          <p:nvPr/>
        </p:nvSpPr>
        <p:spPr>
          <a:xfrm>
            <a:off x="4566144" y="2450994"/>
            <a:ext cx="1937694" cy="41549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tifikas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daftar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ku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etuju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lalui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mail</a:t>
            </a:r>
            <a:endParaRPr kumimoji="0" lang="id-ID" sz="10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ound Same Side Corner Rectangle 1">
            <a:extLst>
              <a:ext uri="{FF2B5EF4-FFF2-40B4-BE49-F238E27FC236}">
                <a16:creationId xmlns:a16="http://schemas.microsoft.com/office/drawing/2014/main" xmlns="" id="{2D5E9123-DBFD-23E9-C65F-A7E9A8B16080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A1D68F03-9DC7-0206-BF86-2A731D7647B1}"/>
              </a:ext>
            </a:extLst>
          </p:cNvPr>
          <p:cNvSpPr txBox="1"/>
          <p:nvPr/>
        </p:nvSpPr>
        <p:spPr>
          <a:xfrm>
            <a:off x="228153" y="74239"/>
            <a:ext cx="9973682" cy="505972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Dubai" panose="020B0503030403030204" pitchFamily="34" charset="-78"/>
              </a:rPr>
              <a:t>TAHAPAN PENYELENGGARAAN KEGIATAN </a:t>
            </a:r>
            <a:r>
              <a:rPr lang="fi-FI" sz="2400" b="1" dirty="0">
                <a:solidFill>
                  <a:schemeClr val="bg1"/>
                </a:solidFill>
                <a:cs typeface="Dubai" panose="020B0503030403030204" pitchFamily="34" charset="-78"/>
              </a:rPr>
              <a:t>PKB 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Dubai" panose="020B0503030403030204" pitchFamily="34" charset="-78"/>
              </a:rPr>
              <a:t>TERVERIFIKAS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Dubai" panose="020B0503030403030204" pitchFamily="34" charset="-78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88C7F71D-6DEE-3BCE-1A8F-3DC37679A524}"/>
              </a:ext>
            </a:extLst>
          </p:cNvPr>
          <p:cNvSpPr txBox="1"/>
          <p:nvPr/>
        </p:nvSpPr>
        <p:spPr>
          <a:xfrm>
            <a:off x="-2" y="3493453"/>
            <a:ext cx="101354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000" b="1" dirty="0">
                <a:highlight>
                  <a:srgbClr val="FF0000"/>
                </a:highlight>
              </a:rPr>
              <a:t>(14 </a:t>
            </a:r>
            <a:r>
              <a:rPr lang="en-US" sz="1000" b="1" dirty="0" err="1">
                <a:highlight>
                  <a:srgbClr val="FF0000"/>
                </a:highlight>
              </a:rPr>
              <a:t>hari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sejak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tanggal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pelaksanaan</a:t>
            </a:r>
            <a:r>
              <a:rPr lang="en-US" sz="1000" b="1" dirty="0">
                <a:highlight>
                  <a:srgbClr val="FF0000"/>
                </a:highlight>
              </a:rPr>
              <a:t>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xmlns="" id="{52DF69BB-13E1-6513-6A87-A9D2ACD10E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81004" y="6133704"/>
            <a:ext cx="1239278" cy="430444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xmlns="" id="{C4AD9680-C501-3B29-0DBB-ACBDE5F740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92887" y="4289550"/>
            <a:ext cx="1259043" cy="437309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8B6443C6-8578-87EA-92C8-21BDF2B22D34}"/>
              </a:ext>
            </a:extLst>
          </p:cNvPr>
          <p:cNvSpPr txBox="1"/>
          <p:nvPr/>
        </p:nvSpPr>
        <p:spPr>
          <a:xfrm>
            <a:off x="549774" y="4744329"/>
            <a:ext cx="27539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yarat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sur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</a:t>
            </a:r>
            <a:r>
              <a:rPr lang="en-US" sz="1050" b="1" dirty="0" err="1">
                <a:solidFill>
                  <a:prstClr val="black"/>
                </a:solidFill>
                <a:latin typeface="Calibri" panose="020F0502020204030204"/>
              </a:rPr>
              <a:t>Metode,Tingkat</a:t>
            </a:r>
            <a:r>
              <a:rPr lang="en-US" sz="1050" b="1" dirty="0">
                <a:solidFill>
                  <a:prstClr val="black"/>
                </a:solidFill>
                <a:latin typeface="Calibri" panose="020F0502020204030204"/>
              </a:rPr>
              <a:t> 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ni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xmlns="" id="{6B56D4AA-26CE-C29E-F25D-0DE6D30419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77177" y="4297113"/>
            <a:ext cx="1196248" cy="415498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xmlns="" id="{3731574E-4652-A9A5-A1A4-86232F6A7B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65370" y="4328831"/>
            <a:ext cx="1196248" cy="415498"/>
          </a:xfrm>
          <a:prstGeom prst="rect">
            <a:avLst/>
          </a:prstGeom>
        </p:spPr>
      </p:pic>
      <p:pic>
        <p:nvPicPr>
          <p:cNvPr id="1034" name="Picture 1033">
            <a:extLst>
              <a:ext uri="{FF2B5EF4-FFF2-40B4-BE49-F238E27FC236}">
                <a16:creationId xmlns:a16="http://schemas.microsoft.com/office/drawing/2014/main" xmlns="" id="{5496AFDF-392E-600C-82FF-D4141057CB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47733" y="837530"/>
            <a:ext cx="1196248" cy="415498"/>
          </a:xfrm>
          <a:prstGeom prst="rect">
            <a:avLst/>
          </a:prstGeom>
        </p:spPr>
      </p:pic>
      <p:pic>
        <p:nvPicPr>
          <p:cNvPr id="1035" name="Picture 1034">
            <a:extLst>
              <a:ext uri="{FF2B5EF4-FFF2-40B4-BE49-F238E27FC236}">
                <a16:creationId xmlns:a16="http://schemas.microsoft.com/office/drawing/2014/main" xmlns="" id="{0CB6214A-5980-C55A-EEEB-8EDFBED9491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091492" y="969426"/>
            <a:ext cx="1196248" cy="415498"/>
          </a:xfrm>
          <a:prstGeom prst="rect">
            <a:avLst/>
          </a:prstGeom>
        </p:spPr>
      </p:pic>
      <p:pic>
        <p:nvPicPr>
          <p:cNvPr id="1036" name="Picture 1035">
            <a:extLst>
              <a:ext uri="{FF2B5EF4-FFF2-40B4-BE49-F238E27FC236}">
                <a16:creationId xmlns:a16="http://schemas.microsoft.com/office/drawing/2014/main" xmlns="" id="{0E2AEEB6-03DC-A28B-99C2-3980C0F6DB7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35997" y="969426"/>
            <a:ext cx="1196248" cy="415498"/>
          </a:xfrm>
          <a:prstGeom prst="rect">
            <a:avLst/>
          </a:prstGeom>
        </p:spPr>
      </p:pic>
      <p:pic>
        <p:nvPicPr>
          <p:cNvPr id="1037" name="Picture 1036">
            <a:extLst>
              <a:ext uri="{FF2B5EF4-FFF2-40B4-BE49-F238E27FC236}">
                <a16:creationId xmlns:a16="http://schemas.microsoft.com/office/drawing/2014/main" xmlns="" id="{E172423E-085D-33FA-154C-17D8F07939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81004" y="2790187"/>
            <a:ext cx="1196248" cy="415498"/>
          </a:xfrm>
          <a:prstGeom prst="rect">
            <a:avLst/>
          </a:prstGeom>
        </p:spPr>
      </p:pic>
      <p:pic>
        <p:nvPicPr>
          <p:cNvPr id="1039" name="Picture 1038">
            <a:extLst>
              <a:ext uri="{FF2B5EF4-FFF2-40B4-BE49-F238E27FC236}">
                <a16:creationId xmlns:a16="http://schemas.microsoft.com/office/drawing/2014/main" xmlns="" id="{5256F063-525A-6032-C55C-3DE31D195A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665370" y="6175523"/>
            <a:ext cx="1133880" cy="393656"/>
          </a:xfrm>
          <a:prstGeom prst="rect">
            <a:avLst/>
          </a:prstGeom>
        </p:spPr>
      </p:pic>
      <p:sp>
        <p:nvSpPr>
          <p:cNvPr id="1040" name="Arrow: Right 1039">
            <a:extLst>
              <a:ext uri="{FF2B5EF4-FFF2-40B4-BE49-F238E27FC236}">
                <a16:creationId xmlns:a16="http://schemas.microsoft.com/office/drawing/2014/main" xmlns="" id="{8DFCE3CA-F8D8-6F86-1F79-D23E2E6E5BB2}"/>
              </a:ext>
            </a:extLst>
          </p:cNvPr>
          <p:cNvSpPr/>
          <p:nvPr/>
        </p:nvSpPr>
        <p:spPr>
          <a:xfrm>
            <a:off x="7754858" y="5234924"/>
            <a:ext cx="379379" cy="443131"/>
          </a:xfrm>
          <a:prstGeom prst="rightArrow">
            <a:avLst/>
          </a:prstGeom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xmlns="" id="{B8B64698-E865-B6C6-1742-F16B23052C84}"/>
              </a:ext>
            </a:extLst>
          </p:cNvPr>
          <p:cNvSpPr txBox="1"/>
          <p:nvPr/>
        </p:nvSpPr>
        <p:spPr>
          <a:xfrm>
            <a:off x="6931002" y="2307205"/>
            <a:ext cx="1013546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900" b="1" dirty="0">
                <a:solidFill>
                  <a:srgbClr val="002060"/>
                </a:solidFill>
                <a:highlight>
                  <a:srgbClr val="FF0000"/>
                </a:highlight>
              </a:rPr>
              <a:t>(3 </a:t>
            </a:r>
            <a:r>
              <a:rPr lang="en-US" sz="900" b="1" dirty="0" err="1">
                <a:solidFill>
                  <a:srgbClr val="002060"/>
                </a:solidFill>
                <a:highlight>
                  <a:srgbClr val="FF0000"/>
                </a:highlight>
              </a:rPr>
              <a:t>hari</a:t>
            </a:r>
            <a:r>
              <a:rPr lang="en-US" sz="900" b="1" dirty="0">
                <a:solidFill>
                  <a:srgbClr val="002060"/>
                </a:solidFill>
                <a:highlight>
                  <a:srgbClr val="FF0000"/>
                </a:highlight>
              </a:rPr>
              <a:t> </a:t>
            </a:r>
            <a:r>
              <a:rPr lang="en-US" sz="900" b="1" dirty="0" err="1">
                <a:solidFill>
                  <a:srgbClr val="002060"/>
                </a:solidFill>
                <a:highlight>
                  <a:srgbClr val="FF0000"/>
                </a:highlight>
              </a:rPr>
              <a:t>sejak</a:t>
            </a:r>
            <a:r>
              <a:rPr lang="en-US" sz="900" b="1" dirty="0">
                <a:solidFill>
                  <a:srgbClr val="002060"/>
                </a:solidFill>
                <a:highlight>
                  <a:srgbClr val="FF0000"/>
                </a:highlight>
              </a:rPr>
              <a:t> </a:t>
            </a:r>
            <a:r>
              <a:rPr lang="en-US" sz="900" b="1" dirty="0" err="1">
                <a:solidFill>
                  <a:srgbClr val="002060"/>
                </a:solidFill>
                <a:highlight>
                  <a:srgbClr val="FF0000"/>
                </a:highlight>
              </a:rPr>
              <a:t>permohonan</a:t>
            </a:r>
            <a:r>
              <a:rPr lang="en-US" sz="900" b="1" dirty="0">
                <a:solidFill>
                  <a:srgbClr val="002060"/>
                </a:solidFill>
                <a:highlight>
                  <a:srgbClr val="FF0000"/>
                </a:highlight>
              </a:rPr>
              <a:t> Masuk)</a:t>
            </a:r>
          </a:p>
        </p:txBody>
      </p:sp>
      <p:sp>
        <p:nvSpPr>
          <p:cNvPr id="1042" name="TextBox 1041">
            <a:extLst>
              <a:ext uri="{FF2B5EF4-FFF2-40B4-BE49-F238E27FC236}">
                <a16:creationId xmlns:a16="http://schemas.microsoft.com/office/drawing/2014/main" xmlns="" id="{55F5CAB7-6EA3-58B8-7744-56AB103342ED}"/>
              </a:ext>
            </a:extLst>
          </p:cNvPr>
          <p:cNvSpPr txBox="1"/>
          <p:nvPr/>
        </p:nvSpPr>
        <p:spPr>
          <a:xfrm>
            <a:off x="9823596" y="4187489"/>
            <a:ext cx="101354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000" b="1" dirty="0">
                <a:highlight>
                  <a:srgbClr val="FF0000"/>
                </a:highlight>
              </a:rPr>
              <a:t>(4 </a:t>
            </a:r>
            <a:r>
              <a:rPr lang="en-US" sz="1000" b="1" dirty="0" err="1">
                <a:highlight>
                  <a:srgbClr val="FF0000"/>
                </a:highlight>
              </a:rPr>
              <a:t>hari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sebelum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pelaksanaan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Kegiatan</a:t>
            </a:r>
            <a:endParaRPr lang="en-US" sz="1000" b="1" dirty="0">
              <a:highlight>
                <a:srgbClr val="FF0000"/>
              </a:highlight>
            </a:endParaRPr>
          </a:p>
        </p:txBody>
      </p:sp>
      <p:sp>
        <p:nvSpPr>
          <p:cNvPr id="1043" name="TextBox 1042">
            <a:extLst>
              <a:ext uri="{FF2B5EF4-FFF2-40B4-BE49-F238E27FC236}">
                <a16:creationId xmlns:a16="http://schemas.microsoft.com/office/drawing/2014/main" xmlns="" id="{E7FA5C30-914B-BCB3-9347-6F263AF38C76}"/>
              </a:ext>
            </a:extLst>
          </p:cNvPr>
          <p:cNvSpPr txBox="1"/>
          <p:nvPr/>
        </p:nvSpPr>
        <p:spPr>
          <a:xfrm>
            <a:off x="7329028" y="4199940"/>
            <a:ext cx="101354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000" b="1" dirty="0">
                <a:highlight>
                  <a:srgbClr val="FF0000"/>
                </a:highlight>
              </a:rPr>
              <a:t>(3 </a:t>
            </a:r>
            <a:r>
              <a:rPr lang="en-US" sz="1000" b="1" dirty="0" err="1">
                <a:highlight>
                  <a:srgbClr val="FF0000"/>
                </a:highlight>
              </a:rPr>
              <a:t>hari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sejak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permohonan</a:t>
            </a:r>
            <a:r>
              <a:rPr lang="en-US" sz="1000" b="1" dirty="0">
                <a:highlight>
                  <a:srgbClr val="FF0000"/>
                </a:highlight>
              </a:rPr>
              <a:t> Masuk)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xmlns="" id="{AAE331D8-ADEC-AF2E-8EC5-3FE022219073}"/>
              </a:ext>
            </a:extLst>
          </p:cNvPr>
          <p:cNvSpPr txBox="1"/>
          <p:nvPr/>
        </p:nvSpPr>
        <p:spPr>
          <a:xfrm>
            <a:off x="983" y="5456490"/>
            <a:ext cx="101354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000" b="1" dirty="0">
                <a:highlight>
                  <a:srgbClr val="FF0000"/>
                </a:highlight>
              </a:rPr>
              <a:t>(3 </a:t>
            </a:r>
            <a:r>
              <a:rPr lang="en-US" sz="1000" b="1" dirty="0" err="1">
                <a:highlight>
                  <a:srgbClr val="FF0000"/>
                </a:highlight>
              </a:rPr>
              <a:t>hari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sejak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permohonan</a:t>
            </a:r>
            <a:r>
              <a:rPr lang="en-US" sz="1000" b="1" dirty="0">
                <a:highlight>
                  <a:srgbClr val="FF0000"/>
                </a:highlight>
              </a:rPr>
              <a:t> Masuk)</a:t>
            </a:r>
          </a:p>
        </p:txBody>
      </p:sp>
      <p:cxnSp>
        <p:nvCxnSpPr>
          <p:cNvPr id="1046" name="Connector: Elbow 1045">
            <a:extLst>
              <a:ext uri="{FF2B5EF4-FFF2-40B4-BE49-F238E27FC236}">
                <a16:creationId xmlns:a16="http://schemas.microsoft.com/office/drawing/2014/main" xmlns="" id="{D4488D98-EA48-32AF-8F53-D7DA8FCD08F0}"/>
              </a:ext>
            </a:extLst>
          </p:cNvPr>
          <p:cNvCxnSpPr>
            <a:cxnSpLocks/>
            <a:stCxn id="1049" idx="0"/>
            <a:endCxn id="10" idx="2"/>
          </p:cNvCxnSpPr>
          <p:nvPr/>
        </p:nvCxnSpPr>
        <p:spPr>
          <a:xfrm rot="16200000" flipV="1">
            <a:off x="3148922" y="-253660"/>
            <a:ext cx="578205" cy="590821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9" name="TextBox 1048">
            <a:extLst>
              <a:ext uri="{FF2B5EF4-FFF2-40B4-BE49-F238E27FC236}">
                <a16:creationId xmlns:a16="http://schemas.microsoft.com/office/drawing/2014/main" xmlns="" id="{8686B099-6585-BF9D-9D3A-E3F7EC657865}"/>
              </a:ext>
            </a:extLst>
          </p:cNvPr>
          <p:cNvSpPr txBox="1"/>
          <p:nvPr/>
        </p:nvSpPr>
        <p:spPr>
          <a:xfrm>
            <a:off x="5691372" y="2989551"/>
            <a:ext cx="140151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etujui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B607905-A8C7-94C2-B7F3-0EF3244CC1D9}"/>
              </a:ext>
            </a:extLst>
          </p:cNvPr>
          <p:cNvSpPr txBox="1"/>
          <p:nvPr/>
        </p:nvSpPr>
        <p:spPr>
          <a:xfrm>
            <a:off x="9489714" y="5053204"/>
            <a:ext cx="2532221" cy="1200329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tat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ang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lakuk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lapor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yelenggar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sua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nggat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ktu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k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car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omatis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k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jad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yang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ak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verifikasi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xmlns="" id="{637329DE-009E-E710-0A3A-B8E4D71E512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822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7C2E868-DC8F-9D87-6BF3-F00B993957B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24" y="168085"/>
            <a:ext cx="1088919" cy="36297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20E7F63A-0A3F-E851-C369-81530DA632DD}"/>
              </a:ext>
            </a:extLst>
          </p:cNvPr>
          <p:cNvGrpSpPr/>
          <p:nvPr/>
        </p:nvGrpSpPr>
        <p:grpSpPr>
          <a:xfrm>
            <a:off x="11088547" y="220925"/>
            <a:ext cx="948777" cy="183509"/>
            <a:chOff x="692631" y="1073281"/>
            <a:chExt cx="2497833" cy="483124"/>
          </a:xfrm>
        </p:grpSpPr>
        <p:pic>
          <p:nvPicPr>
            <p:cNvPr id="4" name="Picture 3" descr="Text, logo&#10;&#10;Description automatically generated">
              <a:extLst>
                <a:ext uri="{FF2B5EF4-FFF2-40B4-BE49-F238E27FC236}">
                  <a16:creationId xmlns:a16="http://schemas.microsoft.com/office/drawing/2014/main" xmlns="" id="{ED326856-5EAE-23FD-66B6-0FB79A474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631" y="1073281"/>
              <a:ext cx="1270067" cy="483124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3B7B11CC-1504-2BD2-77CD-1CF7F7F872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6842" y="1126528"/>
              <a:ext cx="983622" cy="429877"/>
            </a:xfrm>
            <a:prstGeom prst="rect">
              <a:avLst/>
            </a:prstGeom>
          </p:spPr>
        </p:pic>
      </p:grpSp>
      <p:sp>
        <p:nvSpPr>
          <p:cNvPr id="6" name="Rectangle 5"/>
          <p:cNvSpPr/>
          <p:nvPr/>
        </p:nvSpPr>
        <p:spPr>
          <a:xfrm>
            <a:off x="0" y="42876"/>
            <a:ext cx="12192000" cy="125209"/>
          </a:xfrm>
          <a:prstGeom prst="rect">
            <a:avLst/>
          </a:prstGeom>
          <a:solidFill>
            <a:srgbClr val="1E3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E3368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t="66956"/>
          <a:stretch/>
        </p:blipFill>
        <p:spPr>
          <a:xfrm>
            <a:off x="9468352" y="0"/>
            <a:ext cx="1620195" cy="2215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t="66956"/>
          <a:stretch/>
        </p:blipFill>
        <p:spPr>
          <a:xfrm>
            <a:off x="139027" y="6729871"/>
            <a:ext cx="1037876" cy="14191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4DA91C8B-A9F2-1806-C3AD-13BFC8384FFE}"/>
              </a:ext>
            </a:extLst>
          </p:cNvPr>
          <p:cNvSpPr txBox="1"/>
          <p:nvPr/>
        </p:nvSpPr>
        <p:spPr>
          <a:xfrm>
            <a:off x="3005187" y="165509"/>
            <a:ext cx="6181626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SKA dan SKK-K Ahli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E3AFCDF9-5B09-3CF4-2305-C233DB0AF335}"/>
              </a:ext>
            </a:extLst>
          </p:cNvPr>
          <p:cNvSpPr/>
          <p:nvPr/>
        </p:nvSpPr>
        <p:spPr>
          <a:xfrm>
            <a:off x="6586173" y="1358180"/>
            <a:ext cx="76201" cy="1666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F2C7479-A65D-19C7-9BDA-FA608A5A0344}"/>
              </a:ext>
            </a:extLst>
          </p:cNvPr>
          <p:cNvSpPr/>
          <p:nvPr/>
        </p:nvSpPr>
        <p:spPr>
          <a:xfrm>
            <a:off x="8462598" y="1789186"/>
            <a:ext cx="76201" cy="1666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DA14C727-CE8A-8306-366A-4E3B5BC3DA0A}"/>
              </a:ext>
            </a:extLst>
          </p:cNvPr>
          <p:cNvSpPr/>
          <p:nvPr/>
        </p:nvSpPr>
        <p:spPr>
          <a:xfrm>
            <a:off x="10341404" y="2534517"/>
            <a:ext cx="76201" cy="1666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0C593DB1-BC6E-6830-174B-5FCB5DDF43F5}"/>
              </a:ext>
            </a:extLst>
          </p:cNvPr>
          <p:cNvSpPr/>
          <p:nvPr/>
        </p:nvSpPr>
        <p:spPr>
          <a:xfrm>
            <a:off x="8462598" y="4271676"/>
            <a:ext cx="76201" cy="1666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77F238A-9C51-91F1-D6E8-DE46FBB303F2}"/>
              </a:ext>
            </a:extLst>
          </p:cNvPr>
          <p:cNvSpPr/>
          <p:nvPr/>
        </p:nvSpPr>
        <p:spPr>
          <a:xfrm>
            <a:off x="9329149" y="6440896"/>
            <a:ext cx="2838450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31 Maret 2024</a:t>
            </a:r>
          </a:p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altLang="ko-KR" sz="1100" b="1" dirty="0">
                <a:solidFill>
                  <a:prstClr val="black"/>
                </a:solidFill>
                <a:latin typeface="Plus Jakarta Sans" charset="0"/>
                <a:ea typeface="Plus Jakarta Sans" charset="0"/>
                <a:cs typeface="Plus Jakarta Sans" charset="0"/>
              </a:rPr>
              <a:t>Sumber: Pengurus LPJK Bidang VI</a:t>
            </a:r>
            <a:endParaRPr kumimoji="0" lang="fi-FI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xmlns="" id="{75B33257-0D6E-0ED9-EBED-830550A32D2C}"/>
              </a:ext>
            </a:extLst>
          </p:cNvPr>
          <p:cNvSpPr/>
          <p:nvPr/>
        </p:nvSpPr>
        <p:spPr>
          <a:xfrm>
            <a:off x="381000" y="2298699"/>
            <a:ext cx="4197349" cy="1895476"/>
          </a:xfrm>
          <a:prstGeom prst="roundRect">
            <a:avLst>
              <a:gd name="adj" fmla="val 7622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xmlns="" id="{760DF05E-88F8-AC81-9D15-70DEAF793D07}"/>
              </a:ext>
            </a:extLst>
          </p:cNvPr>
          <p:cNvSpPr/>
          <p:nvPr/>
        </p:nvSpPr>
        <p:spPr>
          <a:xfrm>
            <a:off x="381000" y="4476749"/>
            <a:ext cx="4197349" cy="1895476"/>
          </a:xfrm>
          <a:prstGeom prst="roundRect">
            <a:avLst>
              <a:gd name="adj" fmla="val 5612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xmlns="" id="{711A2F96-0860-9F4C-9563-48E8FCE77BFD}"/>
              </a:ext>
            </a:extLst>
          </p:cNvPr>
          <p:cNvSpPr/>
          <p:nvPr/>
        </p:nvSpPr>
        <p:spPr>
          <a:xfrm>
            <a:off x="380999" y="960965"/>
            <a:ext cx="1954827" cy="1055159"/>
          </a:xfrm>
          <a:prstGeom prst="roundRect">
            <a:avLst/>
          </a:prstGeom>
          <a:solidFill>
            <a:srgbClr val="374774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Jumlah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 SERTIFIK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7CB4F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173.446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F7CB4F"/>
              </a:solidFill>
              <a:effectLst/>
              <a:uLnTx/>
              <a:uFillTx/>
              <a:latin typeface="Plus Jakarta Sans" pitchFamily="2" charset="0"/>
              <a:ea typeface="+mn-ea"/>
              <a:cs typeface="Plus Jakarta Sans" pitchFamily="2" charset="0"/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xmlns="" id="{FE3FE2D8-8B82-A593-2469-612B5B09479B}"/>
              </a:ext>
            </a:extLst>
          </p:cNvPr>
          <p:cNvSpPr/>
          <p:nvPr/>
        </p:nvSpPr>
        <p:spPr>
          <a:xfrm>
            <a:off x="4878334" y="960965"/>
            <a:ext cx="6894563" cy="2538885"/>
          </a:xfrm>
          <a:prstGeom prst="roundRect">
            <a:avLst>
              <a:gd name="adj" fmla="val 6913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xmlns="" id="{806F67CB-6939-E957-1907-8E558E9EFD58}"/>
              </a:ext>
            </a:extLst>
          </p:cNvPr>
          <p:cNvSpPr/>
          <p:nvPr/>
        </p:nvSpPr>
        <p:spPr>
          <a:xfrm>
            <a:off x="4878334" y="3825251"/>
            <a:ext cx="6894563" cy="2538885"/>
          </a:xfrm>
          <a:prstGeom prst="roundRect">
            <a:avLst>
              <a:gd name="adj" fmla="val 8038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xmlns="" id="{712A37A9-C8A8-757C-CB2C-3F4B112F5E2A}"/>
              </a:ext>
            </a:extLst>
          </p:cNvPr>
          <p:cNvSpPr/>
          <p:nvPr/>
        </p:nvSpPr>
        <p:spPr>
          <a:xfrm>
            <a:off x="2623522" y="960965"/>
            <a:ext cx="1954827" cy="1055159"/>
          </a:xfrm>
          <a:prstGeom prst="roundRect">
            <a:avLst/>
          </a:prstGeom>
          <a:solidFill>
            <a:srgbClr val="374774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Jumlah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 TENAGA KERJ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7CB4F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127.477</a:t>
            </a:r>
            <a:endParaRPr kumimoji="0" lang="id-ID" sz="2400" b="1" i="0" u="none" strike="noStrike" kern="1200" cap="none" spc="0" normalizeH="0" baseline="0" noProof="0" dirty="0">
              <a:ln>
                <a:noFill/>
              </a:ln>
              <a:solidFill>
                <a:srgbClr val="F7CB4F"/>
              </a:solidFill>
              <a:effectLst/>
              <a:uLnTx/>
              <a:uFillTx/>
              <a:latin typeface="Plus Jakarta Sans" pitchFamily="2" charset="0"/>
              <a:ea typeface="+mn-ea"/>
              <a:cs typeface="Plus Jakarta Sans" pitchFamily="2" charset="0"/>
            </a:endParaRP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xmlns="" id="{5AC66BEE-2925-7EFF-34C2-A8C831FC4235}"/>
              </a:ext>
            </a:extLst>
          </p:cNvPr>
          <p:cNvGraphicFramePr>
            <a:graphicFrameLocks/>
          </p:cNvGraphicFramePr>
          <p:nvPr/>
        </p:nvGraphicFramePr>
        <p:xfrm>
          <a:off x="523875" y="2343150"/>
          <a:ext cx="3911598" cy="1730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xmlns="" id="{319941E1-8CD5-BFA6-8524-8E42EE758439}"/>
              </a:ext>
            </a:extLst>
          </p:cNvPr>
          <p:cNvGraphicFramePr>
            <a:graphicFrameLocks/>
          </p:cNvGraphicFramePr>
          <p:nvPr/>
        </p:nvGraphicFramePr>
        <p:xfrm>
          <a:off x="452438" y="4560379"/>
          <a:ext cx="4054472" cy="17282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xmlns="" id="{44A8DE4C-B272-6F80-7436-FA44866C9037}"/>
              </a:ext>
            </a:extLst>
          </p:cNvPr>
          <p:cNvGraphicFramePr>
            <a:graphicFrameLocks/>
          </p:cNvGraphicFramePr>
          <p:nvPr/>
        </p:nvGraphicFramePr>
        <p:xfrm>
          <a:off x="5000625" y="1071088"/>
          <a:ext cx="6648450" cy="23293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1" name="Chart 40">
            <a:extLst>
              <a:ext uri="{FF2B5EF4-FFF2-40B4-BE49-F238E27FC236}">
                <a16:creationId xmlns:a16="http://schemas.microsoft.com/office/drawing/2014/main" xmlns="" id="{FD8E01C5-3C46-C5D3-2831-78E8F3E3FE0A}"/>
              </a:ext>
            </a:extLst>
          </p:cNvPr>
          <p:cNvGraphicFramePr>
            <a:graphicFrameLocks/>
          </p:cNvGraphicFramePr>
          <p:nvPr/>
        </p:nvGraphicFramePr>
        <p:xfrm>
          <a:off x="5000626" y="3916970"/>
          <a:ext cx="6648446" cy="2371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52529083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1026">
            <a:extLst>
              <a:ext uri="{FF2B5EF4-FFF2-40B4-BE49-F238E27FC236}">
                <a16:creationId xmlns:a16="http://schemas.microsoft.com/office/drawing/2014/main" xmlns="" id="{6BE8A81D-F23A-F7DD-85BA-5FC8BBF682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83599" y="5342404"/>
            <a:ext cx="504182" cy="711299"/>
          </a:xfrm>
          <a:prstGeom prst="rect">
            <a:avLst/>
          </a:prstGeom>
        </p:spPr>
      </p:pic>
      <p:pic>
        <p:nvPicPr>
          <p:cNvPr id="1025" name="Picture 1024">
            <a:extLst>
              <a:ext uri="{FF2B5EF4-FFF2-40B4-BE49-F238E27FC236}">
                <a16:creationId xmlns:a16="http://schemas.microsoft.com/office/drawing/2014/main" xmlns="" id="{D39943D4-8791-D615-6769-AF8D7E2DA1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191" y="1416229"/>
            <a:ext cx="504182" cy="711299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4DFD57CF-C316-5882-1B5B-454B9A574519}"/>
              </a:ext>
            </a:extLst>
          </p:cNvPr>
          <p:cNvSpPr/>
          <p:nvPr/>
        </p:nvSpPr>
        <p:spPr>
          <a:xfrm>
            <a:off x="0" y="815805"/>
            <a:ext cx="12192000" cy="195800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E856459-608B-5D5A-510A-202D3D2D8D1F}"/>
              </a:ext>
            </a:extLst>
          </p:cNvPr>
          <p:cNvSpPr/>
          <p:nvPr/>
        </p:nvSpPr>
        <p:spPr>
          <a:xfrm>
            <a:off x="-1" y="2775914"/>
            <a:ext cx="12192001" cy="2038626"/>
          </a:xfrm>
          <a:prstGeom prst="rect">
            <a:avLst/>
          </a:prstGeo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BAE2C418-7F88-DEF4-DE35-9383D92CADA4}"/>
              </a:ext>
            </a:extLst>
          </p:cNvPr>
          <p:cNvSpPr/>
          <p:nvPr/>
        </p:nvSpPr>
        <p:spPr>
          <a:xfrm>
            <a:off x="0" y="4802419"/>
            <a:ext cx="12192000" cy="1795474"/>
          </a:xfrm>
          <a:prstGeom prst="rect">
            <a:avLst/>
          </a:prstGeom>
          <a:solidFill>
            <a:schemeClr val="accent1">
              <a:lumMod val="60000"/>
              <a:lumOff val="4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5C986132-1521-C9C0-816A-57C4AA1994A1}"/>
              </a:ext>
            </a:extLst>
          </p:cNvPr>
          <p:cNvGraphicFramePr/>
          <p:nvPr/>
        </p:nvGraphicFramePr>
        <p:xfrm>
          <a:off x="1014529" y="940321"/>
          <a:ext cx="8692482" cy="55947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101301B-54D5-E433-2F11-A011636E7B33}"/>
              </a:ext>
            </a:extLst>
          </p:cNvPr>
          <p:cNvSpPr txBox="1"/>
          <p:nvPr/>
        </p:nvSpPr>
        <p:spPr>
          <a:xfrm>
            <a:off x="93448" y="2134347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ctagon 10">
            <a:extLst>
              <a:ext uri="{FF2B5EF4-FFF2-40B4-BE49-F238E27FC236}">
                <a16:creationId xmlns:a16="http://schemas.microsoft.com/office/drawing/2014/main" xmlns="" id="{41A3E24B-E20C-1992-84EB-5332FF1A923A}"/>
              </a:ext>
            </a:extLst>
          </p:cNvPr>
          <p:cNvSpPr/>
          <p:nvPr/>
        </p:nvSpPr>
        <p:spPr>
          <a:xfrm>
            <a:off x="2136713" y="1985542"/>
            <a:ext cx="360000" cy="276999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ctagon 11">
            <a:extLst>
              <a:ext uri="{FF2B5EF4-FFF2-40B4-BE49-F238E27FC236}">
                <a16:creationId xmlns:a16="http://schemas.microsoft.com/office/drawing/2014/main" xmlns="" id="{B8C759F2-7198-CA3B-94C3-CF81EBB12A2E}"/>
              </a:ext>
            </a:extLst>
          </p:cNvPr>
          <p:cNvSpPr/>
          <p:nvPr/>
        </p:nvSpPr>
        <p:spPr>
          <a:xfrm>
            <a:off x="5301600" y="1983528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BAF18675-1E27-6B19-A4BA-8D405877ECBA}"/>
              </a:ext>
            </a:extLst>
          </p:cNvPr>
          <p:cNvSpPr txBox="1"/>
          <p:nvPr/>
        </p:nvSpPr>
        <p:spPr>
          <a:xfrm>
            <a:off x="9672362" y="3090422"/>
            <a:ext cx="2005775" cy="138499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asifikas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ni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su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sara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tama Tenaga Ahli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endParaRPr lang="en-US" sz="1200" dirty="0">
              <a:solidFill>
                <a:prstClr val="black"/>
              </a:solidFill>
              <a:latin typeface="Calibri" panose="020F0502020204030204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ka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yarata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ctagon 15">
            <a:extLst>
              <a:ext uri="{FF2B5EF4-FFF2-40B4-BE49-F238E27FC236}">
                <a16:creationId xmlns:a16="http://schemas.microsoft.com/office/drawing/2014/main" xmlns="" id="{B8DEF9FF-09D4-BF3F-7B85-5AA36CD4C86A}"/>
              </a:ext>
            </a:extLst>
          </p:cNvPr>
          <p:cNvSpPr/>
          <p:nvPr/>
        </p:nvSpPr>
        <p:spPr>
          <a:xfrm>
            <a:off x="8268632" y="1964143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ctagon 16">
            <a:extLst>
              <a:ext uri="{FF2B5EF4-FFF2-40B4-BE49-F238E27FC236}">
                <a16:creationId xmlns:a16="http://schemas.microsoft.com/office/drawing/2014/main" xmlns="" id="{12A6F1F4-2912-697D-FA7B-D30156A6C034}"/>
              </a:ext>
            </a:extLst>
          </p:cNvPr>
          <p:cNvSpPr/>
          <p:nvPr/>
        </p:nvSpPr>
        <p:spPr>
          <a:xfrm>
            <a:off x="8281427" y="4185940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ctagon 17">
            <a:extLst>
              <a:ext uri="{FF2B5EF4-FFF2-40B4-BE49-F238E27FC236}">
                <a16:creationId xmlns:a16="http://schemas.microsoft.com/office/drawing/2014/main" xmlns="" id="{ED58DCEB-7FF8-D31E-E306-38A8669D915B}"/>
              </a:ext>
            </a:extLst>
          </p:cNvPr>
          <p:cNvSpPr/>
          <p:nvPr/>
        </p:nvSpPr>
        <p:spPr>
          <a:xfrm>
            <a:off x="5272366" y="4190636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ctagon 18">
            <a:extLst>
              <a:ext uri="{FF2B5EF4-FFF2-40B4-BE49-F238E27FC236}">
                <a16:creationId xmlns:a16="http://schemas.microsoft.com/office/drawing/2014/main" xmlns="" id="{7FCB9D98-1BFA-B4B8-E842-DDD0FD1B4191}"/>
              </a:ext>
            </a:extLst>
          </p:cNvPr>
          <p:cNvSpPr/>
          <p:nvPr/>
        </p:nvSpPr>
        <p:spPr>
          <a:xfrm>
            <a:off x="2152585" y="4211646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Octagon 19">
            <a:extLst>
              <a:ext uri="{FF2B5EF4-FFF2-40B4-BE49-F238E27FC236}">
                <a16:creationId xmlns:a16="http://schemas.microsoft.com/office/drawing/2014/main" xmlns="" id="{D16712EB-E36E-167A-D56B-34A54CC8ADF9}"/>
              </a:ext>
            </a:extLst>
          </p:cNvPr>
          <p:cNvSpPr/>
          <p:nvPr/>
        </p:nvSpPr>
        <p:spPr>
          <a:xfrm>
            <a:off x="2207641" y="6247115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Octagon 20">
            <a:extLst>
              <a:ext uri="{FF2B5EF4-FFF2-40B4-BE49-F238E27FC236}">
                <a16:creationId xmlns:a16="http://schemas.microsoft.com/office/drawing/2014/main" xmlns="" id="{21487F08-1D51-26E2-61B1-AD3B9D325092}"/>
              </a:ext>
            </a:extLst>
          </p:cNvPr>
          <p:cNvSpPr/>
          <p:nvPr/>
        </p:nvSpPr>
        <p:spPr>
          <a:xfrm>
            <a:off x="5272366" y="626010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15C20E02-450E-7A5A-7B7E-2A7A198BC805}"/>
              </a:ext>
            </a:extLst>
          </p:cNvPr>
          <p:cNvSpPr txBox="1"/>
          <p:nvPr/>
        </p:nvSpPr>
        <p:spPr>
          <a:xfrm>
            <a:off x="10533706" y="6132282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S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7651A472-1471-FB1C-7614-722087D47DE8}"/>
              </a:ext>
            </a:extLst>
          </p:cNvPr>
          <p:cNvSpPr txBox="1"/>
          <p:nvPr/>
        </p:nvSpPr>
        <p:spPr>
          <a:xfrm>
            <a:off x="2623713" y="6188892"/>
            <a:ext cx="95845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1" dirty="0">
                <a:solidFill>
                  <a:prstClr val="black"/>
                </a:solidFill>
                <a:highlight>
                  <a:srgbClr val="FFFF00"/>
                </a:highlight>
                <a:latin typeface="Calibri" panose="020F0502020204030204"/>
              </a:rPr>
              <a:t>Nilai SKPK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3CCAFC6-69DF-190B-8275-16E388C8B7A6}"/>
              </a:ext>
            </a:extLst>
          </p:cNvPr>
          <p:cNvSpPr txBox="1"/>
          <p:nvPr/>
        </p:nvSpPr>
        <p:spPr>
          <a:xfrm>
            <a:off x="350990" y="5917679"/>
            <a:ext cx="1828966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rita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cara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gesahan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tapan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KB</a:t>
            </a:r>
            <a:endParaRPr kumimoji="0" lang="id-ID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ound Same Side Corner Rectangle 1">
            <a:extLst>
              <a:ext uri="{FF2B5EF4-FFF2-40B4-BE49-F238E27FC236}">
                <a16:creationId xmlns:a16="http://schemas.microsoft.com/office/drawing/2014/main" xmlns="" id="{2D5E9123-DBFD-23E9-C65F-A7E9A8B16080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A1D68F03-9DC7-0206-BF86-2A731D7647B1}"/>
              </a:ext>
            </a:extLst>
          </p:cNvPr>
          <p:cNvSpPr txBox="1"/>
          <p:nvPr/>
        </p:nvSpPr>
        <p:spPr>
          <a:xfrm>
            <a:off x="228152" y="74239"/>
            <a:ext cx="10088665" cy="505972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Dubai" panose="020B0503030403030204" pitchFamily="34" charset="-78"/>
              </a:rPr>
              <a:t>TAHAPAN PENCATATAN KEGIATAN TERVERIFIKASI TENAGA AHL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Dubai" panose="020B0503030403030204" pitchFamily="34" charset="-78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88C7F71D-6DEE-3BCE-1A8F-3DC37679A524}"/>
              </a:ext>
            </a:extLst>
          </p:cNvPr>
          <p:cNvSpPr txBox="1"/>
          <p:nvPr/>
        </p:nvSpPr>
        <p:spPr>
          <a:xfrm>
            <a:off x="3509433" y="2994350"/>
            <a:ext cx="101354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000" b="1" dirty="0">
                <a:highlight>
                  <a:srgbClr val="FF0000"/>
                </a:highlight>
              </a:rPr>
              <a:t>(14 </a:t>
            </a:r>
            <a:r>
              <a:rPr lang="en-US" sz="1000" b="1" dirty="0" err="1">
                <a:highlight>
                  <a:srgbClr val="FF0000"/>
                </a:highlight>
              </a:rPr>
              <a:t>hari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sejak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tanggal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pelaksanaan</a:t>
            </a:r>
            <a:r>
              <a:rPr lang="en-US" sz="1000" b="1" dirty="0">
                <a:highlight>
                  <a:srgbClr val="FF0000"/>
                </a:highlight>
              </a:rPr>
              <a:t>)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xmlns="" id="{52DF69BB-13E1-6513-6A87-A9D2ACD10E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7085" y="5225898"/>
            <a:ext cx="1239278" cy="43044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8B6443C6-8578-87EA-92C8-21BDF2B22D34}"/>
              </a:ext>
            </a:extLst>
          </p:cNvPr>
          <p:cNvSpPr txBox="1"/>
          <p:nvPr/>
        </p:nvSpPr>
        <p:spPr>
          <a:xfrm>
            <a:off x="29727" y="3640500"/>
            <a:ext cx="168521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syaratan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sur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</a:t>
            </a:r>
            <a:r>
              <a:rPr lang="en-US" sz="1050" b="1" dirty="0" err="1">
                <a:solidFill>
                  <a:prstClr val="black"/>
                </a:solidFill>
                <a:latin typeface="Calibri" panose="020F0502020204030204"/>
              </a:rPr>
              <a:t>Metode,Tingkat</a:t>
            </a:r>
            <a:r>
              <a:rPr lang="en-US" sz="1050" b="1" dirty="0">
                <a:solidFill>
                  <a:prstClr val="black"/>
                </a:solidFill>
                <a:latin typeface="Calibri" panose="020F0502020204030204"/>
              </a:rPr>
              <a:t> dan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eni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giatan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8" name="Picture 87">
            <a:extLst>
              <a:ext uri="{FF2B5EF4-FFF2-40B4-BE49-F238E27FC236}">
                <a16:creationId xmlns:a16="http://schemas.microsoft.com/office/drawing/2014/main" xmlns="" id="{6B56D4AA-26CE-C29E-F25D-0DE6D304195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15337" y="3099479"/>
            <a:ext cx="1196248" cy="415498"/>
          </a:xfrm>
          <a:prstGeom prst="rect">
            <a:avLst/>
          </a:prstGeom>
        </p:spPr>
      </p:pic>
      <p:pic>
        <p:nvPicPr>
          <p:cNvPr id="90" name="Picture 89">
            <a:extLst>
              <a:ext uri="{FF2B5EF4-FFF2-40B4-BE49-F238E27FC236}">
                <a16:creationId xmlns:a16="http://schemas.microsoft.com/office/drawing/2014/main" xmlns="" id="{3731574E-4652-A9A5-A1A4-86232F6A7B4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80864" y="3098039"/>
            <a:ext cx="1196248" cy="415498"/>
          </a:xfrm>
          <a:prstGeom prst="rect">
            <a:avLst/>
          </a:prstGeom>
        </p:spPr>
      </p:pic>
      <p:pic>
        <p:nvPicPr>
          <p:cNvPr id="1037" name="Picture 1036">
            <a:extLst>
              <a:ext uri="{FF2B5EF4-FFF2-40B4-BE49-F238E27FC236}">
                <a16:creationId xmlns:a16="http://schemas.microsoft.com/office/drawing/2014/main" xmlns="" id="{E172423E-085D-33FA-154C-17D8F07939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4938" y="3107767"/>
            <a:ext cx="1196248" cy="415498"/>
          </a:xfrm>
          <a:prstGeom prst="rect">
            <a:avLst/>
          </a:prstGeom>
        </p:spPr>
      </p:pic>
      <p:pic>
        <p:nvPicPr>
          <p:cNvPr id="1039" name="Picture 1038">
            <a:extLst>
              <a:ext uri="{FF2B5EF4-FFF2-40B4-BE49-F238E27FC236}">
                <a16:creationId xmlns:a16="http://schemas.microsoft.com/office/drawing/2014/main" xmlns="" id="{5256F063-525A-6032-C55C-3DE31D195A5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39936" y="5250293"/>
            <a:ext cx="1133880" cy="393656"/>
          </a:xfrm>
          <a:prstGeom prst="rect">
            <a:avLst/>
          </a:prstGeom>
        </p:spPr>
      </p:pic>
      <p:sp>
        <p:nvSpPr>
          <p:cNvPr id="1040" name="Arrow: Right 1039">
            <a:extLst>
              <a:ext uri="{FF2B5EF4-FFF2-40B4-BE49-F238E27FC236}">
                <a16:creationId xmlns:a16="http://schemas.microsoft.com/office/drawing/2014/main" xmlns="" id="{8DFCE3CA-F8D8-6F86-1F79-D23E2E6E5BB2}"/>
              </a:ext>
            </a:extLst>
          </p:cNvPr>
          <p:cNvSpPr/>
          <p:nvPr/>
        </p:nvSpPr>
        <p:spPr>
          <a:xfrm>
            <a:off x="9834728" y="5614424"/>
            <a:ext cx="379379" cy="443131"/>
          </a:xfrm>
          <a:prstGeom prst="rightArrow">
            <a:avLst/>
          </a:prstGeom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xmlns="" id="{AAE331D8-ADEC-AF2E-8EC5-3FE022219073}"/>
              </a:ext>
            </a:extLst>
          </p:cNvPr>
          <p:cNvSpPr txBox="1"/>
          <p:nvPr/>
        </p:nvSpPr>
        <p:spPr>
          <a:xfrm>
            <a:off x="416282" y="3017589"/>
            <a:ext cx="101354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en-US" sz="1000" b="1" dirty="0">
                <a:highlight>
                  <a:srgbClr val="FF0000"/>
                </a:highlight>
              </a:rPr>
              <a:t>(3 </a:t>
            </a:r>
            <a:r>
              <a:rPr lang="en-US" sz="1000" b="1" dirty="0" err="1">
                <a:highlight>
                  <a:srgbClr val="FF0000"/>
                </a:highlight>
              </a:rPr>
              <a:t>hari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sejak</a:t>
            </a:r>
            <a:r>
              <a:rPr lang="en-US" sz="1000" b="1" dirty="0">
                <a:highlight>
                  <a:srgbClr val="FF0000"/>
                </a:highlight>
              </a:rPr>
              <a:t> </a:t>
            </a:r>
            <a:r>
              <a:rPr lang="en-US" sz="1000" b="1" dirty="0" err="1">
                <a:highlight>
                  <a:srgbClr val="FF0000"/>
                </a:highlight>
              </a:rPr>
              <a:t>permohonan</a:t>
            </a:r>
            <a:r>
              <a:rPr lang="en-US" sz="1000" b="1" dirty="0">
                <a:highlight>
                  <a:srgbClr val="FF0000"/>
                </a:highlight>
              </a:rPr>
              <a:t> Masuk)</a:t>
            </a:r>
          </a:p>
        </p:txBody>
      </p:sp>
      <p:sp>
        <p:nvSpPr>
          <p:cNvPr id="8" name="Octagon 7">
            <a:extLst>
              <a:ext uri="{FF2B5EF4-FFF2-40B4-BE49-F238E27FC236}">
                <a16:creationId xmlns:a16="http://schemas.microsoft.com/office/drawing/2014/main" xmlns="" id="{C7B7EF3E-AAAE-51E9-64DC-DE8217848C2E}"/>
              </a:ext>
            </a:extLst>
          </p:cNvPr>
          <p:cNvSpPr/>
          <p:nvPr/>
        </p:nvSpPr>
        <p:spPr>
          <a:xfrm>
            <a:off x="8223015" y="6267263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9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xmlns="" id="{637329DE-009E-E710-0A3A-B8E4D71E512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5260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A1D68F03-9DC7-0206-BF86-2A731D7647B1}"/>
              </a:ext>
            </a:extLst>
          </p:cNvPr>
          <p:cNvSpPr txBox="1"/>
          <p:nvPr/>
        </p:nvSpPr>
        <p:spPr>
          <a:xfrm>
            <a:off x="228152" y="74239"/>
            <a:ext cx="10088665" cy="505972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Dubai" panose="020B0503030403030204" pitchFamily="34" charset="-78"/>
              </a:rPr>
              <a:t>TAHAPAN PENCATATAN KEGIATAN TIDAK TERVERIFIKASI TENAGA AHLI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cs typeface="Dubai" panose="020B0503030403030204" pitchFamily="34" charset="-78"/>
            </a:endParaRPr>
          </a:p>
        </p:txBody>
      </p:sp>
      <p:pic>
        <p:nvPicPr>
          <p:cNvPr id="1027" name="Picture 1026">
            <a:extLst>
              <a:ext uri="{FF2B5EF4-FFF2-40B4-BE49-F238E27FC236}">
                <a16:creationId xmlns:a16="http://schemas.microsoft.com/office/drawing/2014/main" xmlns="" id="{6BE8A81D-F23A-F7DD-85BA-5FC8BBF682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3221" y="4167301"/>
            <a:ext cx="504182" cy="711299"/>
          </a:xfrm>
          <a:prstGeom prst="rect">
            <a:avLst/>
          </a:prstGeom>
        </p:spPr>
      </p:pic>
      <p:pic>
        <p:nvPicPr>
          <p:cNvPr id="1025" name="Picture 1024">
            <a:extLst>
              <a:ext uri="{FF2B5EF4-FFF2-40B4-BE49-F238E27FC236}">
                <a16:creationId xmlns:a16="http://schemas.microsoft.com/office/drawing/2014/main" xmlns="" id="{D39943D4-8791-D615-6769-AF8D7E2DA1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300" y="2108390"/>
            <a:ext cx="504182" cy="711299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4DFD57CF-C316-5882-1B5B-454B9A574519}"/>
              </a:ext>
            </a:extLst>
          </p:cNvPr>
          <p:cNvSpPr/>
          <p:nvPr/>
        </p:nvSpPr>
        <p:spPr>
          <a:xfrm>
            <a:off x="20866" y="1642658"/>
            <a:ext cx="12171134" cy="195800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xmlns="" id="{1E856459-608B-5D5A-510A-202D3D2D8D1F}"/>
              </a:ext>
            </a:extLst>
          </p:cNvPr>
          <p:cNvSpPr/>
          <p:nvPr/>
        </p:nvSpPr>
        <p:spPr>
          <a:xfrm>
            <a:off x="0" y="3602767"/>
            <a:ext cx="12192000" cy="2038626"/>
          </a:xfrm>
          <a:prstGeom prst="rect">
            <a:avLst/>
          </a:prstGeo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lgo sigap.png">
            <a:extLst>
              <a:ext uri="{FF2B5EF4-FFF2-40B4-BE49-F238E27FC236}">
                <a16:creationId xmlns:a16="http://schemas.microsoft.com/office/drawing/2014/main" xmlns="" id="{637329DE-009E-E710-0A3A-B8E4D71E51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14121" y="0"/>
            <a:ext cx="2877879" cy="1109585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5C986132-1521-C9C0-816A-57C4AA1994A1}"/>
              </a:ext>
            </a:extLst>
          </p:cNvPr>
          <p:cNvGraphicFramePr/>
          <p:nvPr/>
        </p:nvGraphicFramePr>
        <p:xfrm>
          <a:off x="2211029" y="1767175"/>
          <a:ext cx="8692482" cy="3787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101301B-54D5-E433-2F11-A011636E7B33}"/>
              </a:ext>
            </a:extLst>
          </p:cNvPr>
          <p:cNvSpPr txBox="1"/>
          <p:nvPr/>
        </p:nvSpPr>
        <p:spPr>
          <a:xfrm>
            <a:off x="285557" y="2826508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ctagon 10">
            <a:extLst>
              <a:ext uri="{FF2B5EF4-FFF2-40B4-BE49-F238E27FC236}">
                <a16:creationId xmlns:a16="http://schemas.microsoft.com/office/drawing/2014/main" xmlns="" id="{41A3E24B-E20C-1992-84EB-5332FF1A923A}"/>
              </a:ext>
            </a:extLst>
          </p:cNvPr>
          <p:cNvSpPr/>
          <p:nvPr/>
        </p:nvSpPr>
        <p:spPr>
          <a:xfrm>
            <a:off x="3195752" y="2972201"/>
            <a:ext cx="360000" cy="276999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ctagon 11">
            <a:extLst>
              <a:ext uri="{FF2B5EF4-FFF2-40B4-BE49-F238E27FC236}">
                <a16:creationId xmlns:a16="http://schemas.microsoft.com/office/drawing/2014/main" xmlns="" id="{B8C759F2-7198-CA3B-94C3-CF81EBB12A2E}"/>
              </a:ext>
            </a:extLst>
          </p:cNvPr>
          <p:cNvSpPr/>
          <p:nvPr/>
        </p:nvSpPr>
        <p:spPr>
          <a:xfrm>
            <a:off x="6484276" y="2972201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Octagon 15">
            <a:extLst>
              <a:ext uri="{FF2B5EF4-FFF2-40B4-BE49-F238E27FC236}">
                <a16:creationId xmlns:a16="http://schemas.microsoft.com/office/drawing/2014/main" xmlns="" id="{B8DEF9FF-09D4-BF3F-7B85-5AA36CD4C86A}"/>
              </a:ext>
            </a:extLst>
          </p:cNvPr>
          <p:cNvSpPr/>
          <p:nvPr/>
        </p:nvSpPr>
        <p:spPr>
          <a:xfrm>
            <a:off x="9628787" y="2950199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Octagon 16">
            <a:extLst>
              <a:ext uri="{FF2B5EF4-FFF2-40B4-BE49-F238E27FC236}">
                <a16:creationId xmlns:a16="http://schemas.microsoft.com/office/drawing/2014/main" xmlns="" id="{12A6F1F4-2912-697D-FA7B-D30156A6C034}"/>
              </a:ext>
            </a:extLst>
          </p:cNvPr>
          <p:cNvSpPr/>
          <p:nvPr/>
        </p:nvSpPr>
        <p:spPr>
          <a:xfrm>
            <a:off x="9620971" y="5275843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Octagon 17">
            <a:extLst>
              <a:ext uri="{FF2B5EF4-FFF2-40B4-BE49-F238E27FC236}">
                <a16:creationId xmlns:a16="http://schemas.microsoft.com/office/drawing/2014/main" xmlns="" id="{ED58DCEB-7FF8-D31E-E306-38A8669D915B}"/>
              </a:ext>
            </a:extLst>
          </p:cNvPr>
          <p:cNvSpPr/>
          <p:nvPr/>
        </p:nvSpPr>
        <p:spPr>
          <a:xfrm>
            <a:off x="6503899" y="5266496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Octagon 18">
            <a:extLst>
              <a:ext uri="{FF2B5EF4-FFF2-40B4-BE49-F238E27FC236}">
                <a16:creationId xmlns:a16="http://schemas.microsoft.com/office/drawing/2014/main" xmlns="" id="{7FCB9D98-1BFA-B4B8-E842-DDD0FD1B4191}"/>
              </a:ext>
            </a:extLst>
          </p:cNvPr>
          <p:cNvSpPr/>
          <p:nvPr/>
        </p:nvSpPr>
        <p:spPr>
          <a:xfrm>
            <a:off x="3195752" y="5266496"/>
            <a:ext cx="360000" cy="288000"/>
          </a:xfrm>
          <a:prstGeom prst="octag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  <a:endParaRPr kumimoji="0" lang="id-ID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15C20E02-450E-7A5A-7B7E-2A7A198BC805}"/>
              </a:ext>
            </a:extLst>
          </p:cNvPr>
          <p:cNvSpPr txBox="1"/>
          <p:nvPr/>
        </p:nvSpPr>
        <p:spPr>
          <a:xfrm>
            <a:off x="254943" y="4989497"/>
            <a:ext cx="7809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LESAI</a:t>
            </a:r>
            <a:endParaRPr kumimoji="0" lang="id-ID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ound Same Side Corner Rectangle 1">
            <a:extLst>
              <a:ext uri="{FF2B5EF4-FFF2-40B4-BE49-F238E27FC236}">
                <a16:creationId xmlns:a16="http://schemas.microsoft.com/office/drawing/2014/main" xmlns="" id="{2D5E9123-DBFD-23E9-C65F-A7E9A8B16080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40" name="Arrow: Right 1039">
            <a:extLst>
              <a:ext uri="{FF2B5EF4-FFF2-40B4-BE49-F238E27FC236}">
                <a16:creationId xmlns:a16="http://schemas.microsoft.com/office/drawing/2014/main" xmlns="" id="{8DFCE3CA-F8D8-6F86-1F79-D23E2E6E5BB2}"/>
              </a:ext>
            </a:extLst>
          </p:cNvPr>
          <p:cNvSpPr/>
          <p:nvPr/>
        </p:nvSpPr>
        <p:spPr>
          <a:xfrm rot="10800000">
            <a:off x="1351613" y="4550067"/>
            <a:ext cx="379379" cy="443131"/>
          </a:xfrm>
          <a:prstGeom prst="rightArrow">
            <a:avLst/>
          </a:prstGeom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xmlns="" id="{C5403CCF-57B2-F6BB-1DAC-7C110A70F2C4}"/>
              </a:ext>
            </a:extLst>
          </p:cNvPr>
          <p:cNvSpPr/>
          <p:nvPr/>
        </p:nvSpPr>
        <p:spPr>
          <a:xfrm>
            <a:off x="1401942" y="2354364"/>
            <a:ext cx="379379" cy="443131"/>
          </a:xfrm>
          <a:prstGeom prst="rightArrow">
            <a:avLst/>
          </a:prstGeom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8676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87C2E868-DC8F-9D87-6BF3-F00B993957B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124" y="168085"/>
            <a:ext cx="1088919" cy="362972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20E7F63A-0A3F-E851-C369-81530DA632DD}"/>
              </a:ext>
            </a:extLst>
          </p:cNvPr>
          <p:cNvGrpSpPr/>
          <p:nvPr/>
        </p:nvGrpSpPr>
        <p:grpSpPr>
          <a:xfrm>
            <a:off x="11088547" y="220925"/>
            <a:ext cx="948777" cy="183509"/>
            <a:chOff x="692631" y="1073281"/>
            <a:chExt cx="2497833" cy="483124"/>
          </a:xfrm>
        </p:grpSpPr>
        <p:pic>
          <p:nvPicPr>
            <p:cNvPr id="4" name="Picture 3" descr="Text, logo&#10;&#10;Description automatically generated">
              <a:extLst>
                <a:ext uri="{FF2B5EF4-FFF2-40B4-BE49-F238E27FC236}">
                  <a16:creationId xmlns:a16="http://schemas.microsoft.com/office/drawing/2014/main" xmlns="" id="{ED326856-5EAE-23FD-66B6-0FB79A4745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2631" y="1073281"/>
              <a:ext cx="1270067" cy="483124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xmlns="" id="{3B7B11CC-1504-2BD2-77CD-1CF7F7F872A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06842" y="1126528"/>
              <a:ext cx="983622" cy="429877"/>
            </a:xfrm>
            <a:prstGeom prst="rect">
              <a:avLst/>
            </a:prstGeom>
          </p:spPr>
        </p:pic>
      </p:grpSp>
      <p:sp>
        <p:nvSpPr>
          <p:cNvPr id="6" name="Rectangle 5"/>
          <p:cNvSpPr/>
          <p:nvPr/>
        </p:nvSpPr>
        <p:spPr>
          <a:xfrm>
            <a:off x="0" y="42876"/>
            <a:ext cx="12192000" cy="125209"/>
          </a:xfrm>
          <a:prstGeom prst="rect">
            <a:avLst/>
          </a:prstGeom>
          <a:solidFill>
            <a:srgbClr val="1E33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1E3368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/>
          <a:srcRect t="66956"/>
          <a:stretch/>
        </p:blipFill>
        <p:spPr>
          <a:xfrm>
            <a:off x="9468352" y="0"/>
            <a:ext cx="1620195" cy="2215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t="66956"/>
          <a:stretch/>
        </p:blipFill>
        <p:spPr>
          <a:xfrm>
            <a:off x="139027" y="6729871"/>
            <a:ext cx="1037876" cy="141912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4DB8715-5E9B-AE6B-E495-2EFDB358BBCC}"/>
              </a:ext>
            </a:extLst>
          </p:cNvPr>
          <p:cNvSpPr txBox="1"/>
          <p:nvPr/>
        </p:nvSpPr>
        <p:spPr>
          <a:xfrm>
            <a:off x="3005187" y="165509"/>
            <a:ext cx="6181626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SKT dan SKK-K T/A/Op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78451F9B-FCEF-B81D-7AE3-42304549031D}"/>
              </a:ext>
            </a:extLst>
          </p:cNvPr>
          <p:cNvSpPr/>
          <p:nvPr/>
        </p:nvSpPr>
        <p:spPr>
          <a:xfrm>
            <a:off x="6586173" y="1358180"/>
            <a:ext cx="76201" cy="1666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BF4CB8FB-85E8-8EB3-07B5-1FC3C9D3F55C}"/>
              </a:ext>
            </a:extLst>
          </p:cNvPr>
          <p:cNvSpPr/>
          <p:nvPr/>
        </p:nvSpPr>
        <p:spPr>
          <a:xfrm>
            <a:off x="8462598" y="1789186"/>
            <a:ext cx="76201" cy="1666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9B347DEF-36FB-5E83-CAC6-82304533CC7D}"/>
              </a:ext>
            </a:extLst>
          </p:cNvPr>
          <p:cNvSpPr/>
          <p:nvPr/>
        </p:nvSpPr>
        <p:spPr>
          <a:xfrm>
            <a:off x="10341404" y="2534517"/>
            <a:ext cx="76201" cy="1666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13F8EE34-52E9-4D6B-3519-24DD4D19A1E2}"/>
              </a:ext>
            </a:extLst>
          </p:cNvPr>
          <p:cNvSpPr/>
          <p:nvPr/>
        </p:nvSpPr>
        <p:spPr>
          <a:xfrm>
            <a:off x="8462598" y="4271676"/>
            <a:ext cx="76201" cy="1666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xmlns="" id="{5C0925A9-940D-BC13-6A08-65DC7C79BC5C}"/>
              </a:ext>
            </a:extLst>
          </p:cNvPr>
          <p:cNvSpPr/>
          <p:nvPr/>
        </p:nvSpPr>
        <p:spPr>
          <a:xfrm>
            <a:off x="381000" y="2298699"/>
            <a:ext cx="4197349" cy="1895476"/>
          </a:xfrm>
          <a:prstGeom prst="roundRect">
            <a:avLst>
              <a:gd name="adj" fmla="val 7622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xmlns="" id="{E8FF856D-719E-712E-0B98-63A0B6270F8C}"/>
              </a:ext>
            </a:extLst>
          </p:cNvPr>
          <p:cNvSpPr/>
          <p:nvPr/>
        </p:nvSpPr>
        <p:spPr>
          <a:xfrm>
            <a:off x="381000" y="4476749"/>
            <a:ext cx="4197349" cy="1895476"/>
          </a:xfrm>
          <a:prstGeom prst="roundRect">
            <a:avLst>
              <a:gd name="adj" fmla="val 5612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xmlns="" id="{0B7001E0-BB9E-A053-AA8F-C37B891A2506}"/>
              </a:ext>
            </a:extLst>
          </p:cNvPr>
          <p:cNvSpPr/>
          <p:nvPr/>
        </p:nvSpPr>
        <p:spPr>
          <a:xfrm>
            <a:off x="380999" y="960965"/>
            <a:ext cx="1954827" cy="1055159"/>
          </a:xfrm>
          <a:prstGeom prst="roundRect">
            <a:avLst/>
          </a:prstGeom>
          <a:solidFill>
            <a:srgbClr val="374774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Jumlah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 SERTIFIK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7CB4F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284.596</a:t>
            </a:r>
            <a:endParaRPr kumimoji="0" lang="id-ID" sz="2400" b="1" i="0" u="none" strike="noStrike" kern="1200" cap="none" spc="0" normalizeH="0" baseline="0" noProof="0">
              <a:ln>
                <a:noFill/>
              </a:ln>
              <a:solidFill>
                <a:srgbClr val="F7CB4F"/>
              </a:solidFill>
              <a:effectLst/>
              <a:uLnTx/>
              <a:uFillTx/>
              <a:latin typeface="Plus Jakarta Sans" pitchFamily="2" charset="0"/>
              <a:ea typeface="+mn-ea"/>
              <a:cs typeface="Plus Jakarta Sans" pitchFamily="2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xmlns="" id="{9BC541E6-3506-6EB7-BC07-61C59EE7F36E}"/>
              </a:ext>
            </a:extLst>
          </p:cNvPr>
          <p:cNvSpPr/>
          <p:nvPr/>
        </p:nvSpPr>
        <p:spPr>
          <a:xfrm>
            <a:off x="4878335" y="960965"/>
            <a:ext cx="2735318" cy="2538885"/>
          </a:xfrm>
          <a:prstGeom prst="roundRect">
            <a:avLst>
              <a:gd name="adj" fmla="val 4287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xmlns="" id="{016F45B0-F934-519C-9B13-7586A5677DAD}"/>
              </a:ext>
            </a:extLst>
          </p:cNvPr>
          <p:cNvSpPr/>
          <p:nvPr/>
        </p:nvSpPr>
        <p:spPr>
          <a:xfrm>
            <a:off x="2623522" y="960965"/>
            <a:ext cx="1954827" cy="1055159"/>
          </a:xfrm>
          <a:prstGeom prst="roundRect">
            <a:avLst/>
          </a:prstGeom>
          <a:solidFill>
            <a:srgbClr val="374774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Jumlah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 TENAGA KERJ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7CB4F"/>
                </a:solidFill>
                <a:effectLst/>
                <a:uLnTx/>
                <a:uFillTx/>
                <a:latin typeface="Plus Jakarta Sans" pitchFamily="2" charset="0"/>
                <a:ea typeface="+mn-ea"/>
                <a:cs typeface="Plus Jakarta Sans" pitchFamily="2" charset="0"/>
              </a:rPr>
              <a:t>243.224</a:t>
            </a:r>
            <a:endParaRPr kumimoji="0" lang="id-ID" sz="2400" b="1" i="0" u="none" strike="noStrike" kern="1200" cap="none" spc="0" normalizeH="0" baseline="0" noProof="0">
              <a:ln>
                <a:noFill/>
              </a:ln>
              <a:solidFill>
                <a:srgbClr val="F7CB4F"/>
              </a:solidFill>
              <a:effectLst/>
              <a:uLnTx/>
              <a:uFillTx/>
              <a:latin typeface="Plus Jakarta Sans" pitchFamily="2" charset="0"/>
              <a:ea typeface="+mn-ea"/>
              <a:cs typeface="Plus Jakarta Sans" pitchFamily="2" charset="0"/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xmlns="" id="{82CAF2D5-D485-1556-BB21-2559D9EFF57E}"/>
              </a:ext>
            </a:extLst>
          </p:cNvPr>
          <p:cNvGraphicFramePr>
            <a:graphicFrameLocks/>
          </p:cNvGraphicFramePr>
          <p:nvPr/>
        </p:nvGraphicFramePr>
        <p:xfrm>
          <a:off x="452438" y="2341525"/>
          <a:ext cx="4054472" cy="1730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xmlns="" id="{D4B83F44-A3B1-1DB4-D144-9A0B962C370C}"/>
              </a:ext>
            </a:extLst>
          </p:cNvPr>
          <p:cNvGraphicFramePr>
            <a:graphicFrameLocks/>
          </p:cNvGraphicFramePr>
          <p:nvPr/>
        </p:nvGraphicFramePr>
        <p:xfrm>
          <a:off x="452438" y="4519577"/>
          <a:ext cx="4054472" cy="1730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xmlns="" id="{13BB792E-179E-8CC0-B5B6-31D88395D13E}"/>
              </a:ext>
            </a:extLst>
          </p:cNvPr>
          <p:cNvSpPr/>
          <p:nvPr/>
        </p:nvSpPr>
        <p:spPr>
          <a:xfrm>
            <a:off x="7913639" y="960965"/>
            <a:ext cx="3859258" cy="2538885"/>
          </a:xfrm>
          <a:prstGeom prst="roundRect">
            <a:avLst>
              <a:gd name="adj" fmla="val 4287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xmlns="" id="{94C75060-FB94-3D60-52BE-9AAAF045ED05}"/>
              </a:ext>
            </a:extLst>
          </p:cNvPr>
          <p:cNvGraphicFramePr>
            <a:graphicFrameLocks/>
          </p:cNvGraphicFramePr>
          <p:nvPr/>
        </p:nvGraphicFramePr>
        <p:xfrm>
          <a:off x="4953132" y="1031816"/>
          <a:ext cx="2582656" cy="2397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xmlns="" id="{6635C5F1-8D28-B8FD-5724-3EEE7AC3B1D1}"/>
              </a:ext>
            </a:extLst>
          </p:cNvPr>
          <p:cNvSpPr/>
          <p:nvPr/>
        </p:nvSpPr>
        <p:spPr>
          <a:xfrm>
            <a:off x="4878335" y="3834207"/>
            <a:ext cx="2735318" cy="2538885"/>
          </a:xfrm>
          <a:prstGeom prst="roundRect">
            <a:avLst>
              <a:gd name="adj" fmla="val 4287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xmlns="" id="{0BC26D93-97D4-375B-456C-F70F1A39DAD2}"/>
              </a:ext>
            </a:extLst>
          </p:cNvPr>
          <p:cNvSpPr/>
          <p:nvPr/>
        </p:nvSpPr>
        <p:spPr>
          <a:xfrm>
            <a:off x="7913639" y="3834207"/>
            <a:ext cx="3859258" cy="2538885"/>
          </a:xfrm>
          <a:prstGeom prst="roundRect">
            <a:avLst>
              <a:gd name="adj" fmla="val 5037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xmlns="" id="{508DB490-30E0-69A6-AA71-D5221E0E2175}"/>
              </a:ext>
            </a:extLst>
          </p:cNvPr>
          <p:cNvGraphicFramePr>
            <a:graphicFrameLocks/>
          </p:cNvGraphicFramePr>
          <p:nvPr/>
        </p:nvGraphicFramePr>
        <p:xfrm>
          <a:off x="7972425" y="1058217"/>
          <a:ext cx="3741686" cy="2344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xmlns="" id="{61A2C4B1-61E2-793B-AA54-E55649145377}"/>
              </a:ext>
            </a:extLst>
          </p:cNvPr>
          <p:cNvGraphicFramePr>
            <a:graphicFrameLocks/>
          </p:cNvGraphicFramePr>
          <p:nvPr/>
        </p:nvGraphicFramePr>
        <p:xfrm>
          <a:off x="4949825" y="3910757"/>
          <a:ext cx="2580048" cy="2384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4" name="Chart 43">
            <a:extLst>
              <a:ext uri="{FF2B5EF4-FFF2-40B4-BE49-F238E27FC236}">
                <a16:creationId xmlns:a16="http://schemas.microsoft.com/office/drawing/2014/main" xmlns="" id="{8AC2F490-A3E1-AB0C-7609-B8AD194FFA07}"/>
              </a:ext>
            </a:extLst>
          </p:cNvPr>
          <p:cNvGraphicFramePr>
            <a:graphicFrameLocks/>
          </p:cNvGraphicFramePr>
          <p:nvPr/>
        </p:nvGraphicFramePr>
        <p:xfrm>
          <a:off x="7972425" y="3872013"/>
          <a:ext cx="3741686" cy="2461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50CBA72F-2D61-6291-B4B1-26EEEB0D4766}"/>
              </a:ext>
            </a:extLst>
          </p:cNvPr>
          <p:cNvSpPr/>
          <p:nvPr/>
        </p:nvSpPr>
        <p:spPr>
          <a:xfrm>
            <a:off x="9329149" y="6440896"/>
            <a:ext cx="2838450" cy="43088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lus Jakarta Sans" charset="0"/>
                <a:ea typeface="Plus Jakarta Sans" charset="0"/>
                <a:cs typeface="Plus Jakarta Sans" charset="0"/>
              </a:rPr>
              <a:t>Data 31 Maret 2024</a:t>
            </a:r>
          </a:p>
          <a:p>
            <a:pPr marL="0" marR="0" lvl="0" indent="0" algn="r" defTabSz="762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altLang="ko-KR" sz="1100" b="1" dirty="0">
                <a:solidFill>
                  <a:prstClr val="black"/>
                </a:solidFill>
                <a:latin typeface="Plus Jakarta Sans" charset="0"/>
                <a:ea typeface="Plus Jakarta Sans" charset="0"/>
                <a:cs typeface="Plus Jakarta Sans" charset="0"/>
              </a:rPr>
              <a:t>Sumber: Pengurus LPJK Bidang VI</a:t>
            </a:r>
            <a:endParaRPr kumimoji="0" lang="fi-FI" altLang="ko-KR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lus Jakarta Sans" charset="0"/>
              <a:ea typeface="Plus Jakarta Sans" charset="0"/>
              <a:cs typeface="Plus Jakarta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45813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611;p22">
            <a:extLst>
              <a:ext uri="{FF2B5EF4-FFF2-40B4-BE49-F238E27FC236}">
                <a16:creationId xmlns:a16="http://schemas.microsoft.com/office/drawing/2014/main" xmlns="" id="{39E37EE2-C3FE-0346-8621-68C4259F4550}"/>
              </a:ext>
            </a:extLst>
          </p:cNvPr>
          <p:cNvSpPr txBox="1">
            <a:spLocks/>
          </p:cNvSpPr>
          <p:nvPr/>
        </p:nvSpPr>
        <p:spPr>
          <a:xfrm>
            <a:off x="84873" y="-441896"/>
            <a:ext cx="10784873" cy="1071272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COME PKB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ound Same Side Corner Rectangle 1">
            <a:extLst>
              <a:ext uri="{FF2B5EF4-FFF2-40B4-BE49-F238E27FC236}">
                <a16:creationId xmlns:a16="http://schemas.microsoft.com/office/drawing/2014/main" xmlns="" id="{E25C8D31-BD46-40A6-9A29-1DB5DD35C035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 descr="lgo sigap.png">
            <a:extLst>
              <a:ext uri="{FF2B5EF4-FFF2-40B4-BE49-F238E27FC236}">
                <a16:creationId xmlns:a16="http://schemas.microsoft.com/office/drawing/2014/main" xmlns="" id="{7FF223A2-9223-4FB7-A52B-ECC2D6704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9584" y="2685"/>
            <a:ext cx="2877879" cy="110958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5230376D-8F94-0C59-BCA2-277F54B324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41" y="606194"/>
            <a:ext cx="4743910" cy="3150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xmlns="" id="{49929B22-5EF6-B339-D4BB-D3F67CBB0D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335" y="629376"/>
            <a:ext cx="5091611" cy="3127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xmlns="" id="{DA1E9F98-08EC-D6C3-B486-C8803C7A0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0222" y="3585204"/>
            <a:ext cx="5299751" cy="325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50607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611;p22">
            <a:extLst>
              <a:ext uri="{FF2B5EF4-FFF2-40B4-BE49-F238E27FC236}">
                <a16:creationId xmlns:a16="http://schemas.microsoft.com/office/drawing/2014/main" xmlns="" id="{39E37EE2-C3FE-0346-8621-68C4259F4550}"/>
              </a:ext>
            </a:extLst>
          </p:cNvPr>
          <p:cNvSpPr txBox="1">
            <a:spLocks/>
          </p:cNvSpPr>
          <p:nvPr/>
        </p:nvSpPr>
        <p:spPr>
          <a:xfrm>
            <a:off x="84873" y="-441896"/>
            <a:ext cx="10784873" cy="1071272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Pts val="1100"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UTCOME PKB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ound Same Side Corner Rectangle 1">
            <a:extLst>
              <a:ext uri="{FF2B5EF4-FFF2-40B4-BE49-F238E27FC236}">
                <a16:creationId xmlns:a16="http://schemas.microsoft.com/office/drawing/2014/main" xmlns="" id="{E25C8D31-BD46-40A6-9A29-1DB5DD35C035}"/>
              </a:ext>
            </a:extLst>
          </p:cNvPr>
          <p:cNvSpPr/>
          <p:nvPr/>
        </p:nvSpPr>
        <p:spPr>
          <a:xfrm rot="5400000">
            <a:off x="-329752" y="347646"/>
            <a:ext cx="857283" cy="156047"/>
          </a:xfrm>
          <a:prstGeom prst="round2SameRect">
            <a:avLst/>
          </a:prstGeom>
          <a:solidFill>
            <a:srgbClr val="FF0000"/>
          </a:solidFill>
          <a:ln>
            <a:solidFill>
              <a:srgbClr val="FF0000"/>
            </a:solidFill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 descr="lgo sigap.png">
            <a:extLst>
              <a:ext uri="{FF2B5EF4-FFF2-40B4-BE49-F238E27FC236}">
                <a16:creationId xmlns:a16="http://schemas.microsoft.com/office/drawing/2014/main" xmlns="" id="{7FF223A2-9223-4FB7-A52B-ECC2D6704A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09584" y="2685"/>
            <a:ext cx="2877879" cy="1109585"/>
          </a:xfrm>
          <a:prstGeom prst="rect">
            <a:avLst/>
          </a:prstGeom>
        </p:spPr>
      </p:pic>
      <p:pic>
        <p:nvPicPr>
          <p:cNvPr id="6146" name="Picture 2">
            <a:extLst>
              <a:ext uri="{FF2B5EF4-FFF2-40B4-BE49-F238E27FC236}">
                <a16:creationId xmlns:a16="http://schemas.microsoft.com/office/drawing/2014/main" xmlns="" id="{10C74C2F-3495-5FC1-7DC0-AEC93AF11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344" y="629376"/>
            <a:ext cx="4902865" cy="3256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xmlns="" id="{EF45D726-AA92-920D-0F61-CFF216288A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532" y="700857"/>
            <a:ext cx="5184843" cy="3184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>
            <a:extLst>
              <a:ext uri="{FF2B5EF4-FFF2-40B4-BE49-F238E27FC236}">
                <a16:creationId xmlns:a16="http://schemas.microsoft.com/office/drawing/2014/main" xmlns="" id="{F9FCF9B0-4FB1-557A-E5E8-6E7CEB984B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3192" y="3885405"/>
            <a:ext cx="4805616" cy="2951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79964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AEFE0F45-8233-0B31-4BE9-BDC41D60B7A7}"/>
              </a:ext>
            </a:extLst>
          </p:cNvPr>
          <p:cNvSpPr txBox="1"/>
          <p:nvPr/>
        </p:nvSpPr>
        <p:spPr>
          <a:xfrm rot="16200000">
            <a:off x="-1915823" y="1122780"/>
            <a:ext cx="4918090" cy="1015663"/>
          </a:xfrm>
          <a:prstGeom prst="rect">
            <a:avLst/>
          </a:prstGeom>
          <a:noFill/>
        </p:spPr>
        <p:txBody>
          <a:bodyPr vert="horz" wrap="square" rtlCol="0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dirty="0"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SAR PEMBENTUKAN</a:t>
            </a:r>
            <a:endParaRPr lang="id-ID" sz="3000" dirty="0">
              <a:effectLst/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41F3ED24-1E20-A33F-C587-DB12633A9BC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139" y="4080643"/>
            <a:ext cx="2439922" cy="243992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A9F9AD99-D415-E26C-B388-4154DFBC475D}"/>
              </a:ext>
            </a:extLst>
          </p:cNvPr>
          <p:cNvSpPr txBox="1"/>
          <p:nvPr/>
        </p:nvSpPr>
        <p:spPr>
          <a:xfrm>
            <a:off x="2655551" y="728224"/>
            <a:ext cx="3541544" cy="646986"/>
          </a:xfrm>
          <a:prstGeom prst="roundRect">
            <a:avLst/>
          </a:prstGeom>
          <a:solidFill>
            <a:srgbClr val="FFF3C1"/>
          </a:solidFill>
          <a:ln w="28575">
            <a:solidFill>
              <a:srgbClr val="766000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en-US" sz="1600" b="1" dirty="0">
                <a:solidFill>
                  <a:srgbClr val="766000"/>
                </a:solidFill>
                <a:latin typeface="DM Sans" pitchFamily="2" charset="0"/>
                <a:cs typeface="Times New Roman" panose="02020603050405020304" pitchFamily="18" charset="0"/>
              </a:rPr>
              <a:t>UU No. 2 </a:t>
            </a:r>
            <a:r>
              <a:rPr lang="en-US" sz="1600" b="1" dirty="0" err="1">
                <a:solidFill>
                  <a:srgbClr val="766000"/>
                </a:solidFill>
                <a:latin typeface="DM Sans" pitchFamily="2" charset="0"/>
                <a:cs typeface="Times New Roman" panose="02020603050405020304" pitchFamily="18" charset="0"/>
              </a:rPr>
              <a:t>Tahun</a:t>
            </a:r>
            <a:r>
              <a:rPr lang="en-US" sz="1600" b="1" dirty="0">
                <a:solidFill>
                  <a:srgbClr val="766000"/>
                </a:solidFill>
                <a:latin typeface="DM Sans" pitchFamily="2" charset="0"/>
                <a:cs typeface="Times New Roman" panose="02020603050405020304" pitchFamily="18" charset="0"/>
              </a:rPr>
              <a:t> 2017</a:t>
            </a:r>
          </a:p>
          <a:p>
            <a:pPr lvl="0" algn="ctr"/>
            <a:r>
              <a:rPr lang="en-US" sz="1600" b="1" dirty="0">
                <a:latin typeface="DM Sans" pitchFamily="2" charset="0"/>
                <a:cs typeface="Times New Roman" panose="02020603050405020304" pitchFamily="18" charset="0"/>
              </a:rPr>
              <a:t>(UU Jasa </a:t>
            </a:r>
            <a:r>
              <a:rPr lang="en-US" sz="1600" b="1" dirty="0" err="1">
                <a:latin typeface="DM Sans" pitchFamily="2" charset="0"/>
                <a:cs typeface="Times New Roman" panose="02020603050405020304" pitchFamily="18" charset="0"/>
              </a:rPr>
              <a:t>Konstruksi</a:t>
            </a:r>
            <a:r>
              <a:rPr lang="en-US" sz="1600" b="1" dirty="0">
                <a:latin typeface="DM Sans" pitchFamily="2" charset="0"/>
                <a:cs typeface="Times New Roman" panose="02020603050405020304" pitchFamily="18" charset="0"/>
              </a:rPr>
              <a:t>)</a:t>
            </a:r>
            <a:endParaRPr lang="id-ID" sz="1600" b="1" dirty="0">
              <a:latin typeface="DM Sans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A972A55-E742-F2E2-550E-1DDE39A2DB92}"/>
              </a:ext>
            </a:extLst>
          </p:cNvPr>
          <p:cNvSpPr txBox="1"/>
          <p:nvPr/>
        </p:nvSpPr>
        <p:spPr>
          <a:xfrm>
            <a:off x="2664864" y="1926464"/>
            <a:ext cx="3541545" cy="646986"/>
          </a:xfrm>
          <a:prstGeom prst="roundRect">
            <a:avLst/>
          </a:prstGeom>
          <a:solidFill>
            <a:srgbClr val="FFF3C1"/>
          </a:solidFill>
          <a:ln w="28575">
            <a:solidFill>
              <a:srgbClr val="766000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en-US" sz="1600" b="1" dirty="0">
                <a:solidFill>
                  <a:srgbClr val="766000"/>
                </a:solidFill>
                <a:latin typeface="DM Sans" pitchFamily="2" charset="0"/>
                <a:cs typeface="Times New Roman" panose="02020603050405020304" pitchFamily="18" charset="0"/>
              </a:rPr>
              <a:t>UU No. 6 </a:t>
            </a:r>
            <a:r>
              <a:rPr lang="en-US" sz="1600" b="1" dirty="0" err="1">
                <a:solidFill>
                  <a:srgbClr val="766000"/>
                </a:solidFill>
                <a:latin typeface="DM Sans" pitchFamily="2" charset="0"/>
                <a:cs typeface="Times New Roman" panose="02020603050405020304" pitchFamily="18" charset="0"/>
              </a:rPr>
              <a:t>Tahun</a:t>
            </a:r>
            <a:r>
              <a:rPr lang="en-US" sz="1600" b="1" dirty="0">
                <a:solidFill>
                  <a:srgbClr val="766000"/>
                </a:solidFill>
                <a:latin typeface="DM Sans" pitchFamily="2" charset="0"/>
                <a:cs typeface="Times New Roman" panose="02020603050405020304" pitchFamily="18" charset="0"/>
              </a:rPr>
              <a:t> 2023</a:t>
            </a:r>
          </a:p>
          <a:p>
            <a:pPr lvl="0" algn="ctr"/>
            <a:r>
              <a:rPr lang="en-US" sz="1600" b="1" dirty="0">
                <a:latin typeface="DM Sans" pitchFamily="2" charset="0"/>
                <a:cs typeface="Times New Roman" panose="02020603050405020304" pitchFamily="18" charset="0"/>
              </a:rPr>
              <a:t>(UU </a:t>
            </a:r>
            <a:r>
              <a:rPr lang="en-US" sz="1600" b="1" dirty="0" err="1">
                <a:latin typeface="DM Sans" pitchFamily="2" charset="0"/>
                <a:cs typeface="Times New Roman" panose="02020603050405020304" pitchFamily="18" charset="0"/>
              </a:rPr>
              <a:t>Cipta</a:t>
            </a:r>
            <a:r>
              <a:rPr lang="en-US" sz="1600" b="1" dirty="0">
                <a:latin typeface="DM Sans" pitchFamily="2" charset="0"/>
                <a:cs typeface="Times New Roman" panose="02020603050405020304" pitchFamily="18" charset="0"/>
              </a:rPr>
              <a:t> </a:t>
            </a:r>
            <a:r>
              <a:rPr lang="en-US" sz="1600" b="1" dirty="0" err="1">
                <a:latin typeface="DM Sans" pitchFamily="2" charset="0"/>
                <a:cs typeface="Times New Roman" panose="02020603050405020304" pitchFamily="18" charset="0"/>
              </a:rPr>
              <a:t>Kerja</a:t>
            </a:r>
            <a:r>
              <a:rPr lang="en-US" sz="1600" b="1" dirty="0">
                <a:latin typeface="DM Sans" pitchFamily="2" charset="0"/>
                <a:cs typeface="Times New Roman" panose="02020603050405020304" pitchFamily="18" charset="0"/>
              </a:rPr>
              <a:t>)</a:t>
            </a:r>
            <a:endParaRPr lang="id-ID" sz="1600" b="1" dirty="0">
              <a:latin typeface="DM Sans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03864AB-54AF-F451-6839-BBF6CD2FBE5B}"/>
              </a:ext>
            </a:extLst>
          </p:cNvPr>
          <p:cNvSpPr txBox="1"/>
          <p:nvPr/>
        </p:nvSpPr>
        <p:spPr>
          <a:xfrm>
            <a:off x="4312959" y="1527839"/>
            <a:ext cx="2062997" cy="3440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</a:pPr>
            <a:r>
              <a:rPr lang="en-US" sz="1200" b="1" dirty="0" err="1">
                <a:solidFill>
                  <a:schemeClr val="bg1"/>
                </a:solidFill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iubah</a:t>
            </a:r>
            <a:r>
              <a:rPr lang="en-US" sz="1200" b="1" dirty="0">
                <a:solidFill>
                  <a:schemeClr val="bg1"/>
                </a:solidFill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beberap</a:t>
            </a:r>
            <a:r>
              <a:rPr lang="en-US" sz="1200" b="1" dirty="0" err="1">
                <a:solidFill>
                  <a:schemeClr val="bg1"/>
                </a:solidFill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en-US" sz="1200" b="1" dirty="0">
                <a:solidFill>
                  <a:schemeClr val="bg1"/>
                </a:solidFill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kali</a:t>
            </a:r>
            <a:endParaRPr lang="id-ID" sz="1200" b="1" dirty="0">
              <a:solidFill>
                <a:schemeClr val="bg1"/>
              </a:solidFill>
              <a:effectLst/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xmlns="" id="{E18A42B4-2E52-87F3-E644-B9B59996C0FD}"/>
              </a:ext>
            </a:extLst>
          </p:cNvPr>
          <p:cNvSpPr/>
          <p:nvPr/>
        </p:nvSpPr>
        <p:spPr>
          <a:xfrm rot="5400000">
            <a:off x="4201518" y="1517823"/>
            <a:ext cx="449608" cy="213362"/>
          </a:xfrm>
          <a:prstGeom prst="rightArrow">
            <a:avLst/>
          </a:prstGeom>
          <a:solidFill>
            <a:srgbClr val="FFF3C1"/>
          </a:solidFill>
          <a:ln w="19050">
            <a:solidFill>
              <a:srgbClr val="766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C76B281D-741B-86BC-E27B-F81F4C8F4402}"/>
              </a:ext>
            </a:extLst>
          </p:cNvPr>
          <p:cNvSpPr txBox="1"/>
          <p:nvPr/>
        </p:nvSpPr>
        <p:spPr>
          <a:xfrm>
            <a:off x="2655550" y="3129401"/>
            <a:ext cx="3541546" cy="817245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8575">
            <a:solidFill>
              <a:schemeClr val="accent6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en-US" sz="1400" b="1" dirty="0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PP 22 </a:t>
            </a:r>
            <a:r>
              <a:rPr lang="en-US" sz="1400" b="1" dirty="0" err="1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Tahun</a:t>
            </a:r>
            <a:r>
              <a:rPr lang="en-US" sz="1400" b="1" dirty="0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 2020 dan </a:t>
            </a:r>
            <a:r>
              <a:rPr lang="en-US" sz="1400" b="1" dirty="0" err="1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perubahannya</a:t>
            </a:r>
            <a:r>
              <a:rPr lang="en-US" sz="1400" b="1" dirty="0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 PP 14 </a:t>
            </a:r>
            <a:r>
              <a:rPr lang="en-US" sz="1400" b="1" dirty="0" err="1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Tahun</a:t>
            </a:r>
            <a:r>
              <a:rPr lang="en-US" sz="1400" b="1" dirty="0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 2021</a:t>
            </a:r>
          </a:p>
          <a:p>
            <a:pPr lvl="0" algn="ctr"/>
            <a:r>
              <a:rPr lang="en-US" sz="1400" b="1" dirty="0">
                <a:latin typeface="DM Sans" pitchFamily="2" charset="0"/>
                <a:cs typeface="Times New Roman" panose="02020603050405020304" pitchFamily="18" charset="0"/>
              </a:rPr>
              <a:t>(</a:t>
            </a:r>
            <a:r>
              <a:rPr lang="en-US" sz="1400" b="1" dirty="0" err="1">
                <a:latin typeface="DM Sans" pitchFamily="2" charset="0"/>
                <a:cs typeface="Times New Roman" panose="02020603050405020304" pitchFamily="18" charset="0"/>
              </a:rPr>
              <a:t>Tentang</a:t>
            </a:r>
            <a:r>
              <a:rPr lang="en-US" sz="1400" b="1" dirty="0">
                <a:latin typeface="DM Sans" pitchFamily="2" charset="0"/>
                <a:cs typeface="Times New Roman" panose="02020603050405020304" pitchFamily="18" charset="0"/>
              </a:rPr>
              <a:t> Jasa </a:t>
            </a:r>
            <a:r>
              <a:rPr lang="en-US" sz="1400" b="1" dirty="0" err="1">
                <a:latin typeface="DM Sans" pitchFamily="2" charset="0"/>
                <a:cs typeface="Times New Roman" panose="02020603050405020304" pitchFamily="18" charset="0"/>
              </a:rPr>
              <a:t>Konstruksi</a:t>
            </a:r>
            <a:r>
              <a:rPr lang="en-US" sz="1400" b="1" dirty="0">
                <a:latin typeface="DM Sans" pitchFamily="2" charset="0"/>
                <a:cs typeface="Times New Roman" panose="02020603050405020304" pitchFamily="18" charset="0"/>
              </a:rPr>
              <a:t>)</a:t>
            </a:r>
            <a:endParaRPr lang="id-ID" sz="1400" b="1" dirty="0">
              <a:latin typeface="DM Sans" pitchFamily="2" charset="0"/>
            </a:endParaRPr>
          </a:p>
        </p:txBody>
      </p:sp>
      <p:sp>
        <p:nvSpPr>
          <p:cNvPr id="15" name="Arrow: Right 14">
            <a:extLst>
              <a:ext uri="{FF2B5EF4-FFF2-40B4-BE49-F238E27FC236}">
                <a16:creationId xmlns:a16="http://schemas.microsoft.com/office/drawing/2014/main" xmlns="" id="{4153F454-732C-1C3F-1DD3-6ED0673FC228}"/>
              </a:ext>
            </a:extLst>
          </p:cNvPr>
          <p:cNvSpPr/>
          <p:nvPr/>
        </p:nvSpPr>
        <p:spPr>
          <a:xfrm rot="5400000">
            <a:off x="4210833" y="2761490"/>
            <a:ext cx="449608" cy="213362"/>
          </a:xfrm>
          <a:prstGeom prst="rightArrow">
            <a:avLst/>
          </a:prstGeom>
          <a:solidFill>
            <a:schemeClr val="accent6">
              <a:lumMod val="40000"/>
              <a:lumOff val="60000"/>
            </a:schemeClr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1A9C5400-8047-C7FC-7042-A334CB26F036}"/>
              </a:ext>
            </a:extLst>
          </p:cNvPr>
          <p:cNvSpPr txBox="1"/>
          <p:nvPr/>
        </p:nvSpPr>
        <p:spPr>
          <a:xfrm>
            <a:off x="2655550" y="4680440"/>
            <a:ext cx="3541546" cy="85129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 w="28575"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en-US" sz="1600" b="1" dirty="0" err="1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Per.Men</a:t>
            </a:r>
            <a:r>
              <a:rPr lang="en-US" sz="1600" b="1" dirty="0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. PUPR No. 8 </a:t>
            </a:r>
            <a:r>
              <a:rPr lang="en-US" sz="1600" b="1" dirty="0" err="1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Tahun</a:t>
            </a:r>
            <a:r>
              <a:rPr lang="en-US" sz="1600" b="1" dirty="0">
                <a:solidFill>
                  <a:srgbClr val="00297A"/>
                </a:solidFill>
                <a:latin typeface="DM Sans" pitchFamily="2" charset="0"/>
                <a:cs typeface="Times New Roman" panose="02020603050405020304" pitchFamily="18" charset="0"/>
              </a:rPr>
              <a:t> 2022</a:t>
            </a:r>
          </a:p>
          <a:p>
            <a:pPr lvl="0" algn="ctr"/>
            <a:r>
              <a:rPr lang="en-US" sz="1400" b="1" i="1" dirty="0">
                <a:latin typeface="DM Sans" pitchFamily="2" charset="0"/>
                <a:cs typeface="Times New Roman" panose="02020603050405020304" pitchFamily="18" charset="0"/>
              </a:rPr>
              <a:t>Pasal 21 – Pasal 35 : </a:t>
            </a:r>
            <a:r>
              <a:rPr lang="en-US" sz="1400" b="1" i="1" dirty="0" err="1">
                <a:latin typeface="DM Sans" pitchFamily="2" charset="0"/>
                <a:cs typeface="Times New Roman" panose="02020603050405020304" pitchFamily="18" charset="0"/>
              </a:rPr>
              <a:t>Sertifikasi</a:t>
            </a:r>
            <a:r>
              <a:rPr lang="en-US" sz="1400" b="1" i="1" dirty="0">
                <a:latin typeface="DM Sans" pitchFamily="2" charset="0"/>
                <a:cs typeface="Times New Roman" panose="02020603050405020304" pitchFamily="18" charset="0"/>
              </a:rPr>
              <a:t> </a:t>
            </a:r>
            <a:r>
              <a:rPr lang="en-US" sz="1400" b="1" i="1" dirty="0" err="1">
                <a:latin typeface="DM Sans" pitchFamily="2" charset="0"/>
                <a:cs typeface="Times New Roman" panose="02020603050405020304" pitchFamily="18" charset="0"/>
              </a:rPr>
              <a:t>Kompetensi</a:t>
            </a:r>
            <a:r>
              <a:rPr lang="en-US" sz="1400" b="1" i="1" dirty="0">
                <a:latin typeface="DM Sans" pitchFamily="2" charset="0"/>
                <a:cs typeface="Times New Roman" panose="02020603050405020304" pitchFamily="18" charset="0"/>
              </a:rPr>
              <a:t> </a:t>
            </a:r>
            <a:r>
              <a:rPr lang="en-US" sz="1400" b="1" i="1" dirty="0" err="1">
                <a:latin typeface="DM Sans" pitchFamily="2" charset="0"/>
                <a:cs typeface="Times New Roman" panose="02020603050405020304" pitchFamily="18" charset="0"/>
              </a:rPr>
              <a:t>Kerja</a:t>
            </a:r>
            <a:r>
              <a:rPr lang="en-US" sz="1400" b="1" i="1" dirty="0">
                <a:latin typeface="DM Sans" pitchFamily="2" charset="0"/>
                <a:cs typeface="Times New Roman" panose="02020603050405020304" pitchFamily="18" charset="0"/>
              </a:rPr>
              <a:t> </a:t>
            </a:r>
            <a:r>
              <a:rPr lang="en-US" sz="1400" b="1" i="1" dirty="0" err="1">
                <a:latin typeface="DM Sans" pitchFamily="2" charset="0"/>
                <a:cs typeface="Times New Roman" panose="02020603050405020304" pitchFamily="18" charset="0"/>
              </a:rPr>
              <a:t>Konstruksi</a:t>
            </a:r>
            <a:endParaRPr lang="id-ID" sz="1400" b="1" i="1" dirty="0">
              <a:latin typeface="DM Sans" pitchFamily="2" charset="0"/>
            </a:endParaRPr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xmlns="" id="{AF69D0E6-8C29-4AB1-52F8-45F55CF87440}"/>
              </a:ext>
            </a:extLst>
          </p:cNvPr>
          <p:cNvSpPr/>
          <p:nvPr/>
        </p:nvSpPr>
        <p:spPr>
          <a:xfrm rot="5400000">
            <a:off x="4134105" y="4187269"/>
            <a:ext cx="593747" cy="222677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xmlns="" id="{BA161130-F7FB-F33B-5E46-CCFBA80059A6}"/>
              </a:ext>
            </a:extLst>
          </p:cNvPr>
          <p:cNvCxnSpPr>
            <a:cxnSpLocks/>
            <a:stCxn id="17" idx="2"/>
            <a:endCxn id="24" idx="1"/>
          </p:cNvCxnSpPr>
          <p:nvPr/>
        </p:nvCxnSpPr>
        <p:spPr>
          <a:xfrm rot="5400000" flipH="1" flipV="1">
            <a:off x="3880672" y="1929284"/>
            <a:ext cx="4148104" cy="3056802"/>
          </a:xfrm>
          <a:prstGeom prst="bentConnector4">
            <a:avLst>
              <a:gd name="adj1" fmla="val -5511"/>
              <a:gd name="adj2" fmla="val 78964"/>
            </a:avLst>
          </a:prstGeom>
          <a:ln w="38100">
            <a:solidFill>
              <a:srgbClr val="FFDE5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4131EF91-563B-9904-98F3-01BAC7ADF52E}"/>
              </a:ext>
            </a:extLst>
          </p:cNvPr>
          <p:cNvSpPr txBox="1"/>
          <p:nvPr/>
        </p:nvSpPr>
        <p:spPr>
          <a:xfrm>
            <a:off x="7483125" y="975010"/>
            <a:ext cx="3156834" cy="817245"/>
          </a:xfrm>
          <a:prstGeom prst="roundRect">
            <a:avLst/>
          </a:prstGeom>
          <a:solidFill>
            <a:srgbClr val="FFC000"/>
          </a:solidFill>
          <a:ln w="28575">
            <a:solidFill>
              <a:srgbClr val="FFDE59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en-US" b="1" dirty="0">
                <a:latin typeface="DM Sans" pitchFamily="2" charset="0"/>
                <a:cs typeface="Times New Roman" panose="02020603050405020304" pitchFamily="18" charset="0"/>
              </a:rPr>
              <a:t>SE LPJK No. 1 /2024</a:t>
            </a:r>
          </a:p>
          <a:p>
            <a:pPr lvl="0" algn="ctr"/>
            <a:r>
              <a:rPr lang="en-US" sz="1200" b="1" dirty="0" err="1">
                <a:latin typeface="DM Sans" pitchFamily="2" charset="0"/>
                <a:cs typeface="Times New Roman" panose="02020603050405020304" pitchFamily="18" charset="0"/>
              </a:rPr>
              <a:t>Tentang</a:t>
            </a:r>
            <a:r>
              <a:rPr lang="en-US" sz="1200" b="1" dirty="0">
                <a:latin typeface="DM Sans" pitchFamily="2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latin typeface="DM Sans" pitchFamily="2" charset="0"/>
                <a:cs typeface="Times New Roman" panose="02020603050405020304" pitchFamily="18" charset="0"/>
              </a:rPr>
              <a:t>Pedoman</a:t>
            </a:r>
            <a:r>
              <a:rPr lang="en-US" sz="1200" b="1" dirty="0">
                <a:latin typeface="DM Sans" pitchFamily="2" charset="0"/>
                <a:cs typeface="Times New Roman" panose="02020603050405020304" pitchFamily="18" charset="0"/>
              </a:rPr>
              <a:t> Teknis </a:t>
            </a:r>
            <a:r>
              <a:rPr lang="en-US" sz="1200" b="1" dirty="0" err="1">
                <a:latin typeface="DM Sans" pitchFamily="2" charset="0"/>
                <a:cs typeface="Times New Roman" panose="02020603050405020304" pitchFamily="18" charset="0"/>
              </a:rPr>
              <a:t>Sertifikasi</a:t>
            </a:r>
            <a:r>
              <a:rPr lang="en-US" sz="1200" b="1" dirty="0">
                <a:latin typeface="DM Sans" pitchFamily="2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latin typeface="DM Sans" pitchFamily="2" charset="0"/>
                <a:cs typeface="Times New Roman" panose="02020603050405020304" pitchFamily="18" charset="0"/>
              </a:rPr>
              <a:t>Kompetensi</a:t>
            </a:r>
            <a:r>
              <a:rPr lang="en-US" sz="1200" b="1" dirty="0">
                <a:latin typeface="DM Sans" pitchFamily="2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latin typeface="DM Sans" pitchFamily="2" charset="0"/>
                <a:cs typeface="Times New Roman" panose="02020603050405020304" pitchFamily="18" charset="0"/>
              </a:rPr>
              <a:t>Kerja</a:t>
            </a:r>
            <a:r>
              <a:rPr lang="en-US" sz="1200" b="1" dirty="0">
                <a:latin typeface="DM Sans" pitchFamily="2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latin typeface="DM Sans" pitchFamily="2" charset="0"/>
                <a:cs typeface="Times New Roman" panose="02020603050405020304" pitchFamily="18" charset="0"/>
              </a:rPr>
              <a:t>Konstruksi</a:t>
            </a:r>
            <a:endParaRPr lang="id-ID" sz="1200" b="1" dirty="0">
              <a:latin typeface="DM Sans" pitchFamily="2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08DA60C7-06C5-3E79-53C6-60FDEF74FDF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3247" y="1272680"/>
            <a:ext cx="659103" cy="751490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BC4316B4-53F7-C515-8747-6D7D9864D392}"/>
              </a:ext>
            </a:extLst>
          </p:cNvPr>
          <p:cNvGrpSpPr/>
          <p:nvPr/>
        </p:nvGrpSpPr>
        <p:grpSpPr>
          <a:xfrm>
            <a:off x="6959512" y="2061092"/>
            <a:ext cx="4132839" cy="4468487"/>
            <a:chOff x="2958895" y="1981883"/>
            <a:chExt cx="4132839" cy="4468487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xmlns="" id="{FE7FEDEC-F55F-F8D6-D427-F8EA50BE05FA}"/>
                </a:ext>
              </a:extLst>
            </p:cNvPr>
            <p:cNvGrpSpPr/>
            <p:nvPr/>
          </p:nvGrpSpPr>
          <p:grpSpPr>
            <a:xfrm>
              <a:off x="2958895" y="1981883"/>
              <a:ext cx="4132839" cy="4468487"/>
              <a:chOff x="6869144" y="1993651"/>
              <a:chExt cx="4132839" cy="4468487"/>
            </a:xfrm>
          </p:grpSpPr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xmlns="" id="{5CFFFFDF-5A80-ABF8-4EA4-E0DF786DC35A}"/>
                  </a:ext>
                </a:extLst>
              </p:cNvPr>
              <p:cNvGrpSpPr/>
              <p:nvPr/>
            </p:nvGrpSpPr>
            <p:grpSpPr>
              <a:xfrm>
                <a:off x="6994187" y="1993651"/>
                <a:ext cx="4007796" cy="4468487"/>
                <a:chOff x="6994187" y="1993651"/>
                <a:chExt cx="4007796" cy="4468487"/>
              </a:xfrm>
            </p:grpSpPr>
            <p:pic>
              <p:nvPicPr>
                <p:cNvPr id="40" name="Picture 39">
                  <a:extLst>
                    <a:ext uri="{FF2B5EF4-FFF2-40B4-BE49-F238E27FC236}">
                      <a16:creationId xmlns:a16="http://schemas.microsoft.com/office/drawing/2014/main" xmlns="" id="{F3818AF9-602F-FC49-43C6-2A8F772E31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3597" t="4343" r="4352" b="4248"/>
                <a:stretch/>
              </p:blipFill>
              <p:spPr>
                <a:xfrm>
                  <a:off x="6994187" y="1993651"/>
                  <a:ext cx="4007796" cy="4468487"/>
                </a:xfrm>
                <a:prstGeom prst="rect">
                  <a:avLst/>
                </a:prstGeom>
              </p:spPr>
            </p:pic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xmlns="" id="{913887C4-2648-E616-F8E8-0A41600BDB14}"/>
                    </a:ext>
                  </a:extLst>
                </p:cNvPr>
                <p:cNvSpPr txBox="1"/>
                <p:nvPr/>
              </p:nvSpPr>
              <p:spPr>
                <a:xfrm>
                  <a:off x="7269823" y="4342906"/>
                  <a:ext cx="3477223" cy="52322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lvl="0"/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Kepmen</a:t>
                  </a:r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PUPR 713/2022 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 </a:t>
                  </a:r>
                  <a:r>
                    <a:rPr lang="en-US" sz="1400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Penetapan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Besaran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Biaya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SKK-K.</a:t>
                  </a:r>
                  <a:endParaRPr lang="id-ID" sz="1400" dirty="0">
                    <a:effectLst/>
                    <a:latin typeface="DM Sans" pitchFamily="2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xmlns="" id="{3EC6D0D5-5D87-D184-25F0-D52C8D6983E7}"/>
                    </a:ext>
                  </a:extLst>
                </p:cNvPr>
                <p:cNvSpPr txBox="1"/>
                <p:nvPr/>
              </p:nvSpPr>
              <p:spPr>
                <a:xfrm>
                  <a:off x="7392757" y="2579341"/>
                  <a:ext cx="3156833" cy="374571"/>
                </a:xfrm>
                <a:prstGeom prst="roundRect">
                  <a:avLst/>
                </a:prstGeom>
                <a:solidFill>
                  <a:schemeClr val="accent2"/>
                </a:solidFill>
                <a:ln w="19050">
                  <a:solidFill>
                    <a:srgbClr val="766000"/>
                  </a:solidFill>
                  <a:prstDash val="sysDot"/>
                </a:ln>
              </p:spPr>
              <p:txBody>
                <a:bodyPr wrap="square">
                  <a:spAutoFit/>
                </a:bodyPr>
                <a:lstStyle/>
                <a:p>
                  <a:pPr lvl="0" algn="ctr"/>
                  <a:r>
                    <a:rPr lang="en-US" sz="16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Peraturan</a:t>
                  </a:r>
                  <a:r>
                    <a:rPr lang="en-US" sz="16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Lain yang </a:t>
                  </a:r>
                  <a:r>
                    <a:rPr lang="en-US" sz="16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Mengikat</a:t>
                  </a:r>
                  <a:endParaRPr lang="id-ID" sz="1600" b="1" dirty="0">
                    <a:effectLst/>
                    <a:latin typeface="DM Sans" pitchFamily="2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3" name="TextBox 42">
                  <a:extLst>
                    <a:ext uri="{FF2B5EF4-FFF2-40B4-BE49-F238E27FC236}">
                      <a16:creationId xmlns:a16="http://schemas.microsoft.com/office/drawing/2014/main" xmlns="" id="{3761B7C0-F210-B076-884D-A248AFDAD25B}"/>
                    </a:ext>
                  </a:extLst>
                </p:cNvPr>
                <p:cNvSpPr txBox="1"/>
                <p:nvPr/>
              </p:nvSpPr>
              <p:spPr>
                <a:xfrm>
                  <a:off x="7287863" y="3197560"/>
                  <a:ext cx="3477223" cy="73866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lvl="0"/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PP 22 Th. 2020 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dan </a:t>
                  </a:r>
                  <a:r>
                    <a:rPr lang="en-US" sz="1400" dirty="0" err="1"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P</a:t>
                  </a:r>
                  <a:r>
                    <a:rPr lang="en-US" sz="1400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erubahan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PP 14 Th. 2021 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 </a:t>
                  </a:r>
                  <a:r>
                    <a:rPr lang="en-US" sz="1400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Persyaratan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Pendidikan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dan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Pengalaman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Kerja</a:t>
                  </a:r>
                  <a:endParaRPr lang="id-ID" sz="1400" b="1" dirty="0">
                    <a:effectLst/>
                    <a:latin typeface="DM Sans" pitchFamily="2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xmlns="" id="{0080013A-F1CC-50B8-F012-261E6DF819D9}"/>
                    </a:ext>
                  </a:extLst>
                </p:cNvPr>
                <p:cNvSpPr txBox="1"/>
                <p:nvPr/>
              </p:nvSpPr>
              <p:spPr>
                <a:xfrm>
                  <a:off x="7296797" y="5502957"/>
                  <a:ext cx="3477223" cy="738664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lvl="0"/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SK DJBK 33/2023 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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Jabatan</a:t>
                  </a:r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Kerja</a:t>
                  </a:r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,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Syarat</a:t>
                  </a:r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Prodi,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Syarat</a:t>
                  </a:r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Asesor</a:t>
                  </a:r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b="1" dirty="0" err="1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Kompetensi</a:t>
                  </a:r>
                  <a:endParaRPr lang="id-ID" sz="1400" b="1" dirty="0">
                    <a:effectLst/>
                    <a:latin typeface="DM Sans" pitchFamily="2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xmlns="" id="{7AE5F871-03A0-1AFB-123A-B5100F78DA41}"/>
                    </a:ext>
                  </a:extLst>
                </p:cNvPr>
                <p:cNvSpPr txBox="1"/>
                <p:nvPr/>
              </p:nvSpPr>
              <p:spPr>
                <a:xfrm>
                  <a:off x="7300628" y="4919778"/>
                  <a:ext cx="3477223" cy="52322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lvl="0"/>
                  <a:r>
                    <a:rPr lang="en-US" sz="1400" b="1" dirty="0"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SE DJBK</a:t>
                  </a:r>
                  <a:r>
                    <a:rPr lang="en-US" sz="1400" b="1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59/2022 </a:t>
                  </a:r>
                  <a:r>
                    <a:rPr lang="en-US" sz="1400" dirty="0">
                      <a:effectLst/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 </a:t>
                  </a:r>
                  <a:r>
                    <a:rPr lang="en-US" sz="1400" b="1" dirty="0" err="1"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Pemberian</a:t>
                  </a:r>
                  <a:r>
                    <a:rPr lang="en-US" sz="1400" b="1" dirty="0"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b="1" dirty="0" err="1"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Kompetensi</a:t>
                  </a:r>
                  <a:r>
                    <a:rPr lang="en-US" sz="1400" b="1" dirty="0"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 </a:t>
                  </a:r>
                  <a:r>
                    <a:rPr lang="en-US" sz="1400" b="1" dirty="0" err="1">
                      <a:latin typeface="DM Sans" pitchFamily="2" charset="0"/>
                      <a:ea typeface="Calibri" panose="020F0502020204030204" pitchFamily="34" charset="0"/>
                      <a:cs typeface="Times New Roman" panose="02020603050405020304" pitchFamily="18" charset="0"/>
                      <a:sym typeface="Wingdings" panose="05000000000000000000" pitchFamily="2" charset="2"/>
                    </a:rPr>
                    <a:t>Tambahan</a:t>
                  </a:r>
                  <a:endParaRPr lang="id-ID" sz="1400" b="1" dirty="0">
                    <a:effectLst/>
                    <a:latin typeface="DM Sans" pitchFamily="2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</p:grp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xmlns="" id="{77FCBB40-C965-295F-5E60-814EECCF3260}"/>
                  </a:ext>
                </a:extLst>
              </p:cNvPr>
              <p:cNvGrpSpPr/>
              <p:nvPr/>
            </p:nvGrpSpPr>
            <p:grpSpPr>
              <a:xfrm>
                <a:off x="6869144" y="3328715"/>
                <a:ext cx="431484" cy="2688036"/>
                <a:chOff x="6869144" y="3328715"/>
                <a:chExt cx="431484" cy="2688036"/>
              </a:xfrm>
            </p:grpSpPr>
            <p:sp>
              <p:nvSpPr>
                <p:cNvPr id="48" name="Minus Sign 47">
                  <a:extLst>
                    <a:ext uri="{FF2B5EF4-FFF2-40B4-BE49-F238E27FC236}">
                      <a16:creationId xmlns:a16="http://schemas.microsoft.com/office/drawing/2014/main" xmlns="" id="{26BAC70B-59B1-5FDF-8E76-9E0F3F295730}"/>
                    </a:ext>
                  </a:extLst>
                </p:cNvPr>
                <p:cNvSpPr/>
                <p:nvPr/>
              </p:nvSpPr>
              <p:spPr>
                <a:xfrm>
                  <a:off x="6899948" y="3328715"/>
                  <a:ext cx="400680" cy="354493"/>
                </a:xfrm>
                <a:prstGeom prst="mathMinus">
                  <a:avLst/>
                </a:prstGeom>
                <a:solidFill>
                  <a:srgbClr val="FFF3C1"/>
                </a:solidFill>
                <a:ln>
                  <a:solidFill>
                    <a:srgbClr val="B08E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49" name="Minus Sign 48">
                  <a:extLst>
                    <a:ext uri="{FF2B5EF4-FFF2-40B4-BE49-F238E27FC236}">
                      <a16:creationId xmlns:a16="http://schemas.microsoft.com/office/drawing/2014/main" xmlns="" id="{4D5FCE4F-690B-71DA-3DC9-B0E32CF5A5AB}"/>
                    </a:ext>
                  </a:extLst>
                </p:cNvPr>
                <p:cNvSpPr/>
                <p:nvPr/>
              </p:nvSpPr>
              <p:spPr>
                <a:xfrm>
                  <a:off x="6883964" y="3983493"/>
                  <a:ext cx="400680" cy="354493"/>
                </a:xfrm>
                <a:prstGeom prst="mathMinus">
                  <a:avLst/>
                </a:prstGeom>
                <a:solidFill>
                  <a:srgbClr val="FFF3C1"/>
                </a:solidFill>
                <a:ln>
                  <a:solidFill>
                    <a:srgbClr val="B08E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50" name="Minus Sign 49">
                  <a:extLst>
                    <a:ext uri="{FF2B5EF4-FFF2-40B4-BE49-F238E27FC236}">
                      <a16:creationId xmlns:a16="http://schemas.microsoft.com/office/drawing/2014/main" xmlns="" id="{ADB16C50-47A9-FC57-6C4F-A2095C30A827}"/>
                    </a:ext>
                  </a:extLst>
                </p:cNvPr>
                <p:cNvSpPr/>
                <p:nvPr/>
              </p:nvSpPr>
              <p:spPr>
                <a:xfrm>
                  <a:off x="6869144" y="4427237"/>
                  <a:ext cx="400680" cy="354493"/>
                </a:xfrm>
                <a:prstGeom prst="mathMinus">
                  <a:avLst/>
                </a:prstGeom>
                <a:solidFill>
                  <a:srgbClr val="FFF3C1"/>
                </a:solidFill>
                <a:ln>
                  <a:solidFill>
                    <a:srgbClr val="B08E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51" name="Minus Sign 50">
                  <a:extLst>
                    <a:ext uri="{FF2B5EF4-FFF2-40B4-BE49-F238E27FC236}">
                      <a16:creationId xmlns:a16="http://schemas.microsoft.com/office/drawing/2014/main" xmlns="" id="{C7AD0DDC-C2AD-155F-32A9-C14CBF3D3D21}"/>
                    </a:ext>
                  </a:extLst>
                </p:cNvPr>
                <p:cNvSpPr/>
                <p:nvPr/>
              </p:nvSpPr>
              <p:spPr>
                <a:xfrm>
                  <a:off x="6869144" y="4997813"/>
                  <a:ext cx="400680" cy="354493"/>
                </a:xfrm>
                <a:prstGeom prst="mathMinus">
                  <a:avLst/>
                </a:prstGeom>
                <a:solidFill>
                  <a:srgbClr val="FFF3C1"/>
                </a:solidFill>
                <a:ln>
                  <a:solidFill>
                    <a:srgbClr val="B08E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  <p:sp>
              <p:nvSpPr>
                <p:cNvPr id="52" name="Minus Sign 51">
                  <a:extLst>
                    <a:ext uri="{FF2B5EF4-FFF2-40B4-BE49-F238E27FC236}">
                      <a16:creationId xmlns:a16="http://schemas.microsoft.com/office/drawing/2014/main" xmlns="" id="{8807039B-7124-F298-59F8-F44F33BCC2A5}"/>
                    </a:ext>
                  </a:extLst>
                </p:cNvPr>
                <p:cNvSpPr/>
                <p:nvPr/>
              </p:nvSpPr>
              <p:spPr>
                <a:xfrm>
                  <a:off x="6869144" y="5662258"/>
                  <a:ext cx="400680" cy="354493"/>
                </a:xfrm>
                <a:prstGeom prst="mathMinus">
                  <a:avLst/>
                </a:prstGeom>
                <a:solidFill>
                  <a:srgbClr val="FFF3C1"/>
                </a:solidFill>
                <a:ln>
                  <a:solidFill>
                    <a:srgbClr val="B08E00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d-ID"/>
                </a:p>
              </p:txBody>
            </p:sp>
          </p:grpSp>
        </p:grp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17C3E5F4-9E5B-59F5-7E15-C6E96B812D3C}"/>
                </a:ext>
              </a:extLst>
            </p:cNvPr>
            <p:cNvSpPr txBox="1"/>
            <p:nvPr/>
          </p:nvSpPr>
          <p:spPr>
            <a:xfrm>
              <a:off x="3367886" y="3912792"/>
              <a:ext cx="3477223" cy="3836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lvl="0">
                <a:lnSpc>
                  <a:spcPct val="150000"/>
                </a:lnSpc>
              </a:pPr>
              <a:r>
                <a:rPr lang="en-US" sz="1400" b="1" dirty="0" err="1">
                  <a:effectLst/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Permen</a:t>
              </a:r>
              <a:r>
                <a:rPr lang="en-US" sz="1400" b="1" dirty="0">
                  <a:effectLst/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 PUPR No. 12 Th</a:t>
              </a:r>
              <a:r>
                <a:rPr lang="en-US" sz="1400" b="1" dirty="0"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sz="1400" b="1" dirty="0">
                  <a:effectLst/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</a:rPr>
                <a:t>2021 </a:t>
              </a:r>
              <a:r>
                <a:rPr lang="en-US" sz="1400" dirty="0">
                  <a:effectLst/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  <a:sym typeface="Wingdings" panose="05000000000000000000" pitchFamily="2" charset="2"/>
                </a:rPr>
                <a:t> </a:t>
              </a:r>
              <a:r>
                <a:rPr lang="en-US" sz="1400" b="1" dirty="0">
                  <a:latin typeface="DM Sans" pitchFamily="2" charset="0"/>
                  <a:ea typeface="Calibri" panose="020F0502020204030204" pitchFamily="34" charset="0"/>
                  <a:cs typeface="Times New Roman" panose="02020603050405020304" pitchFamily="18" charset="0"/>
                  <a:sym typeface="Wingdings" panose="05000000000000000000" pitchFamily="2" charset="2"/>
                </a:rPr>
                <a:t>PKB</a:t>
              </a:r>
              <a:endParaRPr lang="id-ID" sz="1400" b="1" dirty="0">
                <a:effectLst/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818A3847-E865-A886-A62B-7C0D2E240A04}"/>
              </a:ext>
            </a:extLst>
          </p:cNvPr>
          <p:cNvSpPr txBox="1"/>
          <p:nvPr/>
        </p:nvSpPr>
        <p:spPr>
          <a:xfrm>
            <a:off x="10855454" y="1138353"/>
            <a:ext cx="1218358" cy="771346"/>
          </a:xfrm>
          <a:prstGeom prst="snip2DiagRect">
            <a:avLst/>
          </a:prstGeom>
          <a:solidFill>
            <a:srgbClr val="C00000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lvl="0" algn="ctr"/>
            <a:r>
              <a:rPr lang="en-US" sz="1200" b="1" i="1" dirty="0">
                <a:solidFill>
                  <a:schemeClr val="bg1"/>
                </a:solidFill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i="1" dirty="0" err="1">
                <a:solidFill>
                  <a:schemeClr val="bg1"/>
                </a:solidFill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ncabut</a:t>
            </a:r>
            <a:r>
              <a:rPr lang="en-US" sz="1200" b="1" i="1" dirty="0">
                <a:solidFill>
                  <a:schemeClr val="bg1"/>
                </a:solidFill>
                <a:latin typeface="DM Sans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SE LPJK No 16 / 2021</a:t>
            </a:r>
            <a:endParaRPr lang="id-ID" sz="1200" b="1" i="1" dirty="0">
              <a:solidFill>
                <a:schemeClr val="bg1"/>
              </a:solidFill>
              <a:latin typeface="DM Sans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8829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3puCAADTYTw7_AXZsv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kswhb9dx.vpEEI2s7E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iZugqhImJJzxH3VAYgY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98</TotalTime>
  <Words>5543</Words>
  <Application>Microsoft Office PowerPoint</Application>
  <PresentationFormat>Custom</PresentationFormat>
  <Paragraphs>1611</Paragraphs>
  <Slides>51</Slides>
  <Notes>3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4" baseType="lpstr"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engembangan Keprofesian Berkelanjutan  (PKB)</vt:lpstr>
      <vt:lpstr>Ketentuan terkait PKB  untuk Perpanjangan SKK Konstruksi Kualifikasi Ahli</vt:lpstr>
      <vt:lpstr>PowerPoint Presentation</vt:lpstr>
      <vt:lpstr>PowerPoint Presentation</vt:lpstr>
      <vt:lpstr>PowerPoint Presentation</vt:lpstr>
      <vt:lpstr>PowerPoint Presentation</vt:lpstr>
      <vt:lpstr>PENYELENGGARA KEGIATAN  PKB</vt:lpstr>
      <vt:lpstr>ALUR BESAR  PENCATATAN KEGIATAN PKB OLEH PENYELENGGARA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van Sitorus</dc:creator>
  <cp:lastModifiedBy>Sekretariat LPJK</cp:lastModifiedBy>
  <cp:revision>39</cp:revision>
  <dcterms:created xsi:type="dcterms:W3CDTF">2023-08-11T04:40:59Z</dcterms:created>
  <dcterms:modified xsi:type="dcterms:W3CDTF">2024-04-19T03:22:26Z</dcterms:modified>
</cp:coreProperties>
</file>